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8" r:id="rId2"/>
  </p:sldIdLst>
  <p:sldSz cx="7772400" cy="10058400"/>
  <p:notesSz cx="6858000" cy="9144000"/>
  <p:embeddedFontLst>
    <p:embeddedFont>
      <p:font typeface="Plus Jakarta Sans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2190" y="-31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5729E82D-69F7-D5AC-C8D9-ECD7636984BE}"/>
              </a:ext>
            </a:extLst>
          </p:cNvPr>
          <p:cNvGrpSpPr/>
          <p:nvPr/>
        </p:nvGrpSpPr>
        <p:grpSpPr>
          <a:xfrm>
            <a:off x="409411" y="403894"/>
            <a:ext cx="6953579" cy="9417127"/>
            <a:chOff x="409411" y="403894"/>
            <a:chExt cx="6953579" cy="9417127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99A0B31-0665-966C-5494-5A978970A753}"/>
                </a:ext>
              </a:extLst>
            </p:cNvPr>
            <p:cNvSpPr/>
            <p:nvPr/>
          </p:nvSpPr>
          <p:spPr>
            <a:xfrm>
              <a:off x="414880" y="403894"/>
              <a:ext cx="6942639" cy="9250612"/>
            </a:xfrm>
            <a:custGeom>
              <a:avLst/>
              <a:gdLst>
                <a:gd name="connsiteX0" fmla="*/ 6933679 w 6942639"/>
                <a:gd name="connsiteY0" fmla="*/ 9232691 h 9250612"/>
                <a:gd name="connsiteX1" fmla="*/ 6942639 w 6942639"/>
                <a:gd name="connsiteY1" fmla="*/ 9241652 h 9250612"/>
                <a:gd name="connsiteX2" fmla="*/ 6933679 w 6942639"/>
                <a:gd name="connsiteY2" fmla="*/ 9250612 h 9250612"/>
                <a:gd name="connsiteX3" fmla="*/ 6924718 w 6942639"/>
                <a:gd name="connsiteY3" fmla="*/ 9241652 h 9250612"/>
                <a:gd name="connsiteX4" fmla="*/ 6933679 w 6942639"/>
                <a:gd name="connsiteY4" fmla="*/ 9232691 h 9250612"/>
                <a:gd name="connsiteX5" fmla="*/ 6763357 w 6942639"/>
                <a:gd name="connsiteY5" fmla="*/ 9232691 h 9250612"/>
                <a:gd name="connsiteX6" fmla="*/ 6772318 w 6942639"/>
                <a:gd name="connsiteY6" fmla="*/ 9241652 h 9250612"/>
                <a:gd name="connsiteX7" fmla="*/ 6763357 w 6942639"/>
                <a:gd name="connsiteY7" fmla="*/ 9250612 h 9250612"/>
                <a:gd name="connsiteX8" fmla="*/ 6754397 w 6942639"/>
                <a:gd name="connsiteY8" fmla="*/ 9241652 h 9250612"/>
                <a:gd name="connsiteX9" fmla="*/ 6763357 w 6942639"/>
                <a:gd name="connsiteY9" fmla="*/ 9232691 h 9250612"/>
                <a:gd name="connsiteX10" fmla="*/ 6593035 w 6942639"/>
                <a:gd name="connsiteY10" fmla="*/ 9232691 h 9250612"/>
                <a:gd name="connsiteX11" fmla="*/ 6601996 w 6942639"/>
                <a:gd name="connsiteY11" fmla="*/ 9241652 h 9250612"/>
                <a:gd name="connsiteX12" fmla="*/ 6593035 w 6942639"/>
                <a:gd name="connsiteY12" fmla="*/ 9250612 h 9250612"/>
                <a:gd name="connsiteX13" fmla="*/ 6584075 w 6942639"/>
                <a:gd name="connsiteY13" fmla="*/ 9241652 h 9250612"/>
                <a:gd name="connsiteX14" fmla="*/ 6593035 w 6942639"/>
                <a:gd name="connsiteY14" fmla="*/ 9232691 h 9250612"/>
                <a:gd name="connsiteX15" fmla="*/ 6424294 w 6942639"/>
                <a:gd name="connsiteY15" fmla="*/ 9232691 h 9250612"/>
                <a:gd name="connsiteX16" fmla="*/ 6433255 w 6942639"/>
                <a:gd name="connsiteY16" fmla="*/ 9241652 h 9250612"/>
                <a:gd name="connsiteX17" fmla="*/ 6424294 w 6942639"/>
                <a:gd name="connsiteY17" fmla="*/ 9250612 h 9250612"/>
                <a:gd name="connsiteX18" fmla="*/ 6415334 w 6942639"/>
                <a:gd name="connsiteY18" fmla="*/ 9241652 h 9250612"/>
                <a:gd name="connsiteX19" fmla="*/ 6424294 w 6942639"/>
                <a:gd name="connsiteY19" fmla="*/ 9232691 h 9250612"/>
                <a:gd name="connsiteX20" fmla="*/ 6255553 w 6942639"/>
                <a:gd name="connsiteY20" fmla="*/ 9232691 h 9250612"/>
                <a:gd name="connsiteX21" fmla="*/ 6264514 w 6942639"/>
                <a:gd name="connsiteY21" fmla="*/ 9241652 h 9250612"/>
                <a:gd name="connsiteX22" fmla="*/ 6255553 w 6942639"/>
                <a:gd name="connsiteY22" fmla="*/ 9250612 h 9250612"/>
                <a:gd name="connsiteX23" fmla="*/ 6246593 w 6942639"/>
                <a:gd name="connsiteY23" fmla="*/ 9241652 h 9250612"/>
                <a:gd name="connsiteX24" fmla="*/ 6255553 w 6942639"/>
                <a:gd name="connsiteY24" fmla="*/ 9232691 h 9250612"/>
                <a:gd name="connsiteX25" fmla="*/ 6086811 w 6942639"/>
                <a:gd name="connsiteY25" fmla="*/ 9232691 h 9250612"/>
                <a:gd name="connsiteX26" fmla="*/ 6095772 w 6942639"/>
                <a:gd name="connsiteY26" fmla="*/ 9241652 h 9250612"/>
                <a:gd name="connsiteX27" fmla="*/ 6086811 w 6942639"/>
                <a:gd name="connsiteY27" fmla="*/ 9250612 h 9250612"/>
                <a:gd name="connsiteX28" fmla="*/ 6077851 w 6942639"/>
                <a:gd name="connsiteY28" fmla="*/ 9241652 h 9250612"/>
                <a:gd name="connsiteX29" fmla="*/ 6086811 w 6942639"/>
                <a:gd name="connsiteY29" fmla="*/ 9232691 h 9250612"/>
                <a:gd name="connsiteX30" fmla="*/ 5918069 w 6942639"/>
                <a:gd name="connsiteY30" fmla="*/ 9232691 h 9250612"/>
                <a:gd name="connsiteX31" fmla="*/ 5927030 w 6942639"/>
                <a:gd name="connsiteY31" fmla="*/ 9241652 h 9250612"/>
                <a:gd name="connsiteX32" fmla="*/ 5918069 w 6942639"/>
                <a:gd name="connsiteY32" fmla="*/ 9250612 h 9250612"/>
                <a:gd name="connsiteX33" fmla="*/ 5909109 w 6942639"/>
                <a:gd name="connsiteY33" fmla="*/ 9241652 h 9250612"/>
                <a:gd name="connsiteX34" fmla="*/ 5918069 w 6942639"/>
                <a:gd name="connsiteY34" fmla="*/ 9232691 h 9250612"/>
                <a:gd name="connsiteX35" fmla="*/ 5749328 w 6942639"/>
                <a:gd name="connsiteY35" fmla="*/ 9232691 h 9250612"/>
                <a:gd name="connsiteX36" fmla="*/ 5758289 w 6942639"/>
                <a:gd name="connsiteY36" fmla="*/ 9241652 h 9250612"/>
                <a:gd name="connsiteX37" fmla="*/ 5749328 w 6942639"/>
                <a:gd name="connsiteY37" fmla="*/ 9250612 h 9250612"/>
                <a:gd name="connsiteX38" fmla="*/ 5740368 w 6942639"/>
                <a:gd name="connsiteY38" fmla="*/ 9241652 h 9250612"/>
                <a:gd name="connsiteX39" fmla="*/ 5749328 w 6942639"/>
                <a:gd name="connsiteY39" fmla="*/ 9232691 h 9250612"/>
                <a:gd name="connsiteX40" fmla="*/ 5580586 w 6942639"/>
                <a:gd name="connsiteY40" fmla="*/ 9232691 h 9250612"/>
                <a:gd name="connsiteX41" fmla="*/ 5589547 w 6942639"/>
                <a:gd name="connsiteY41" fmla="*/ 9241652 h 9250612"/>
                <a:gd name="connsiteX42" fmla="*/ 5580586 w 6942639"/>
                <a:gd name="connsiteY42" fmla="*/ 9250612 h 9250612"/>
                <a:gd name="connsiteX43" fmla="*/ 5571626 w 6942639"/>
                <a:gd name="connsiteY43" fmla="*/ 9241652 h 9250612"/>
                <a:gd name="connsiteX44" fmla="*/ 5580586 w 6942639"/>
                <a:gd name="connsiteY44" fmla="*/ 9232691 h 9250612"/>
                <a:gd name="connsiteX45" fmla="*/ 5411845 w 6942639"/>
                <a:gd name="connsiteY45" fmla="*/ 9232691 h 9250612"/>
                <a:gd name="connsiteX46" fmla="*/ 5420806 w 6942639"/>
                <a:gd name="connsiteY46" fmla="*/ 9241652 h 9250612"/>
                <a:gd name="connsiteX47" fmla="*/ 5411845 w 6942639"/>
                <a:gd name="connsiteY47" fmla="*/ 9250612 h 9250612"/>
                <a:gd name="connsiteX48" fmla="*/ 5402885 w 6942639"/>
                <a:gd name="connsiteY48" fmla="*/ 9241652 h 9250612"/>
                <a:gd name="connsiteX49" fmla="*/ 5411845 w 6942639"/>
                <a:gd name="connsiteY49" fmla="*/ 9232691 h 9250612"/>
                <a:gd name="connsiteX50" fmla="*/ 5243103 w 6942639"/>
                <a:gd name="connsiteY50" fmla="*/ 9232691 h 9250612"/>
                <a:gd name="connsiteX51" fmla="*/ 5252064 w 6942639"/>
                <a:gd name="connsiteY51" fmla="*/ 9241652 h 9250612"/>
                <a:gd name="connsiteX52" fmla="*/ 5243103 w 6942639"/>
                <a:gd name="connsiteY52" fmla="*/ 9250612 h 9250612"/>
                <a:gd name="connsiteX53" fmla="*/ 5234143 w 6942639"/>
                <a:gd name="connsiteY53" fmla="*/ 9241652 h 9250612"/>
                <a:gd name="connsiteX54" fmla="*/ 5243103 w 6942639"/>
                <a:gd name="connsiteY54" fmla="*/ 9232691 h 9250612"/>
                <a:gd name="connsiteX55" fmla="*/ 5074362 w 6942639"/>
                <a:gd name="connsiteY55" fmla="*/ 9232691 h 9250612"/>
                <a:gd name="connsiteX56" fmla="*/ 5083323 w 6942639"/>
                <a:gd name="connsiteY56" fmla="*/ 9241652 h 9250612"/>
                <a:gd name="connsiteX57" fmla="*/ 5074362 w 6942639"/>
                <a:gd name="connsiteY57" fmla="*/ 9250612 h 9250612"/>
                <a:gd name="connsiteX58" fmla="*/ 5065402 w 6942639"/>
                <a:gd name="connsiteY58" fmla="*/ 9241652 h 9250612"/>
                <a:gd name="connsiteX59" fmla="*/ 5074362 w 6942639"/>
                <a:gd name="connsiteY59" fmla="*/ 9232691 h 9250612"/>
                <a:gd name="connsiteX60" fmla="*/ 4905620 w 6942639"/>
                <a:gd name="connsiteY60" fmla="*/ 9232691 h 9250612"/>
                <a:gd name="connsiteX61" fmla="*/ 4914581 w 6942639"/>
                <a:gd name="connsiteY61" fmla="*/ 9241652 h 9250612"/>
                <a:gd name="connsiteX62" fmla="*/ 4905620 w 6942639"/>
                <a:gd name="connsiteY62" fmla="*/ 9250612 h 9250612"/>
                <a:gd name="connsiteX63" fmla="*/ 4896660 w 6942639"/>
                <a:gd name="connsiteY63" fmla="*/ 9241652 h 9250612"/>
                <a:gd name="connsiteX64" fmla="*/ 4905620 w 6942639"/>
                <a:gd name="connsiteY64" fmla="*/ 9232691 h 9250612"/>
                <a:gd name="connsiteX65" fmla="*/ 4736878 w 6942639"/>
                <a:gd name="connsiteY65" fmla="*/ 9232691 h 9250612"/>
                <a:gd name="connsiteX66" fmla="*/ 4745839 w 6942639"/>
                <a:gd name="connsiteY66" fmla="*/ 9241652 h 9250612"/>
                <a:gd name="connsiteX67" fmla="*/ 4736878 w 6942639"/>
                <a:gd name="connsiteY67" fmla="*/ 9250612 h 9250612"/>
                <a:gd name="connsiteX68" fmla="*/ 4727918 w 6942639"/>
                <a:gd name="connsiteY68" fmla="*/ 9241652 h 9250612"/>
                <a:gd name="connsiteX69" fmla="*/ 4736878 w 6942639"/>
                <a:gd name="connsiteY69" fmla="*/ 9232691 h 9250612"/>
                <a:gd name="connsiteX70" fmla="*/ 4568137 w 6942639"/>
                <a:gd name="connsiteY70" fmla="*/ 9232691 h 9250612"/>
                <a:gd name="connsiteX71" fmla="*/ 4577098 w 6942639"/>
                <a:gd name="connsiteY71" fmla="*/ 9241652 h 9250612"/>
                <a:gd name="connsiteX72" fmla="*/ 4568137 w 6942639"/>
                <a:gd name="connsiteY72" fmla="*/ 9250612 h 9250612"/>
                <a:gd name="connsiteX73" fmla="*/ 4559177 w 6942639"/>
                <a:gd name="connsiteY73" fmla="*/ 9241652 h 9250612"/>
                <a:gd name="connsiteX74" fmla="*/ 4568137 w 6942639"/>
                <a:gd name="connsiteY74" fmla="*/ 9232691 h 9250612"/>
                <a:gd name="connsiteX75" fmla="*/ 4399396 w 6942639"/>
                <a:gd name="connsiteY75" fmla="*/ 9232691 h 9250612"/>
                <a:gd name="connsiteX76" fmla="*/ 4408357 w 6942639"/>
                <a:gd name="connsiteY76" fmla="*/ 9241652 h 9250612"/>
                <a:gd name="connsiteX77" fmla="*/ 4399396 w 6942639"/>
                <a:gd name="connsiteY77" fmla="*/ 9250612 h 9250612"/>
                <a:gd name="connsiteX78" fmla="*/ 4390436 w 6942639"/>
                <a:gd name="connsiteY78" fmla="*/ 9241652 h 9250612"/>
                <a:gd name="connsiteX79" fmla="*/ 4399396 w 6942639"/>
                <a:gd name="connsiteY79" fmla="*/ 9232691 h 9250612"/>
                <a:gd name="connsiteX80" fmla="*/ 4230654 w 6942639"/>
                <a:gd name="connsiteY80" fmla="*/ 9232691 h 9250612"/>
                <a:gd name="connsiteX81" fmla="*/ 4239615 w 6942639"/>
                <a:gd name="connsiteY81" fmla="*/ 9241652 h 9250612"/>
                <a:gd name="connsiteX82" fmla="*/ 4230654 w 6942639"/>
                <a:gd name="connsiteY82" fmla="*/ 9250612 h 9250612"/>
                <a:gd name="connsiteX83" fmla="*/ 4221694 w 6942639"/>
                <a:gd name="connsiteY83" fmla="*/ 9241652 h 9250612"/>
                <a:gd name="connsiteX84" fmla="*/ 4230654 w 6942639"/>
                <a:gd name="connsiteY84" fmla="*/ 9232691 h 9250612"/>
                <a:gd name="connsiteX85" fmla="*/ 4061912 w 6942639"/>
                <a:gd name="connsiteY85" fmla="*/ 9232691 h 9250612"/>
                <a:gd name="connsiteX86" fmla="*/ 4070873 w 6942639"/>
                <a:gd name="connsiteY86" fmla="*/ 9241652 h 9250612"/>
                <a:gd name="connsiteX87" fmla="*/ 4061912 w 6942639"/>
                <a:gd name="connsiteY87" fmla="*/ 9250612 h 9250612"/>
                <a:gd name="connsiteX88" fmla="*/ 4052952 w 6942639"/>
                <a:gd name="connsiteY88" fmla="*/ 9241652 h 9250612"/>
                <a:gd name="connsiteX89" fmla="*/ 4061912 w 6942639"/>
                <a:gd name="connsiteY89" fmla="*/ 9232691 h 9250612"/>
                <a:gd name="connsiteX90" fmla="*/ 3893170 w 6942639"/>
                <a:gd name="connsiteY90" fmla="*/ 9232691 h 9250612"/>
                <a:gd name="connsiteX91" fmla="*/ 3902131 w 6942639"/>
                <a:gd name="connsiteY91" fmla="*/ 9241652 h 9250612"/>
                <a:gd name="connsiteX92" fmla="*/ 3893170 w 6942639"/>
                <a:gd name="connsiteY92" fmla="*/ 9250612 h 9250612"/>
                <a:gd name="connsiteX93" fmla="*/ 3884210 w 6942639"/>
                <a:gd name="connsiteY93" fmla="*/ 9241652 h 9250612"/>
                <a:gd name="connsiteX94" fmla="*/ 3893170 w 6942639"/>
                <a:gd name="connsiteY94" fmla="*/ 9232691 h 9250612"/>
                <a:gd name="connsiteX95" fmla="*/ 3724429 w 6942639"/>
                <a:gd name="connsiteY95" fmla="*/ 9232691 h 9250612"/>
                <a:gd name="connsiteX96" fmla="*/ 3733390 w 6942639"/>
                <a:gd name="connsiteY96" fmla="*/ 9241652 h 9250612"/>
                <a:gd name="connsiteX97" fmla="*/ 3724429 w 6942639"/>
                <a:gd name="connsiteY97" fmla="*/ 9250612 h 9250612"/>
                <a:gd name="connsiteX98" fmla="*/ 3715469 w 6942639"/>
                <a:gd name="connsiteY98" fmla="*/ 9241652 h 9250612"/>
                <a:gd name="connsiteX99" fmla="*/ 3724429 w 6942639"/>
                <a:gd name="connsiteY99" fmla="*/ 9232691 h 9250612"/>
                <a:gd name="connsiteX100" fmla="*/ 3555688 w 6942639"/>
                <a:gd name="connsiteY100" fmla="*/ 9232691 h 9250612"/>
                <a:gd name="connsiteX101" fmla="*/ 3564649 w 6942639"/>
                <a:gd name="connsiteY101" fmla="*/ 9241652 h 9250612"/>
                <a:gd name="connsiteX102" fmla="*/ 3555688 w 6942639"/>
                <a:gd name="connsiteY102" fmla="*/ 9250612 h 9250612"/>
                <a:gd name="connsiteX103" fmla="*/ 3546728 w 6942639"/>
                <a:gd name="connsiteY103" fmla="*/ 9241652 h 9250612"/>
                <a:gd name="connsiteX104" fmla="*/ 3555688 w 6942639"/>
                <a:gd name="connsiteY104" fmla="*/ 9232691 h 9250612"/>
                <a:gd name="connsiteX105" fmla="*/ 3386948 w 6942639"/>
                <a:gd name="connsiteY105" fmla="*/ 9232691 h 9250612"/>
                <a:gd name="connsiteX106" fmla="*/ 3395909 w 6942639"/>
                <a:gd name="connsiteY106" fmla="*/ 9241652 h 9250612"/>
                <a:gd name="connsiteX107" fmla="*/ 3386948 w 6942639"/>
                <a:gd name="connsiteY107" fmla="*/ 9250612 h 9250612"/>
                <a:gd name="connsiteX108" fmla="*/ 3377987 w 6942639"/>
                <a:gd name="connsiteY108" fmla="*/ 9241652 h 9250612"/>
                <a:gd name="connsiteX109" fmla="*/ 3386948 w 6942639"/>
                <a:gd name="connsiteY109" fmla="*/ 9232691 h 9250612"/>
                <a:gd name="connsiteX110" fmla="*/ 3218206 w 6942639"/>
                <a:gd name="connsiteY110" fmla="*/ 9232691 h 9250612"/>
                <a:gd name="connsiteX111" fmla="*/ 3227166 w 6942639"/>
                <a:gd name="connsiteY111" fmla="*/ 9241652 h 9250612"/>
                <a:gd name="connsiteX112" fmla="*/ 3218206 w 6942639"/>
                <a:gd name="connsiteY112" fmla="*/ 9250612 h 9250612"/>
                <a:gd name="connsiteX113" fmla="*/ 3209246 w 6942639"/>
                <a:gd name="connsiteY113" fmla="*/ 9241652 h 9250612"/>
                <a:gd name="connsiteX114" fmla="*/ 3218206 w 6942639"/>
                <a:gd name="connsiteY114" fmla="*/ 9232691 h 9250612"/>
                <a:gd name="connsiteX115" fmla="*/ 3049466 w 6942639"/>
                <a:gd name="connsiteY115" fmla="*/ 9232691 h 9250612"/>
                <a:gd name="connsiteX116" fmla="*/ 3058426 w 6942639"/>
                <a:gd name="connsiteY116" fmla="*/ 9241652 h 9250612"/>
                <a:gd name="connsiteX117" fmla="*/ 3049466 w 6942639"/>
                <a:gd name="connsiteY117" fmla="*/ 9250612 h 9250612"/>
                <a:gd name="connsiteX118" fmla="*/ 3040505 w 6942639"/>
                <a:gd name="connsiteY118" fmla="*/ 9241652 h 9250612"/>
                <a:gd name="connsiteX119" fmla="*/ 3049466 w 6942639"/>
                <a:gd name="connsiteY119" fmla="*/ 9232691 h 9250612"/>
                <a:gd name="connsiteX120" fmla="*/ 2880724 w 6942639"/>
                <a:gd name="connsiteY120" fmla="*/ 9232691 h 9250612"/>
                <a:gd name="connsiteX121" fmla="*/ 2889685 w 6942639"/>
                <a:gd name="connsiteY121" fmla="*/ 9241652 h 9250612"/>
                <a:gd name="connsiteX122" fmla="*/ 2880724 w 6942639"/>
                <a:gd name="connsiteY122" fmla="*/ 9250612 h 9250612"/>
                <a:gd name="connsiteX123" fmla="*/ 2871764 w 6942639"/>
                <a:gd name="connsiteY123" fmla="*/ 9241652 h 9250612"/>
                <a:gd name="connsiteX124" fmla="*/ 2880724 w 6942639"/>
                <a:gd name="connsiteY124" fmla="*/ 9232691 h 9250612"/>
                <a:gd name="connsiteX125" fmla="*/ 2711982 w 6942639"/>
                <a:gd name="connsiteY125" fmla="*/ 9232691 h 9250612"/>
                <a:gd name="connsiteX126" fmla="*/ 2720943 w 6942639"/>
                <a:gd name="connsiteY126" fmla="*/ 9241652 h 9250612"/>
                <a:gd name="connsiteX127" fmla="*/ 2711982 w 6942639"/>
                <a:gd name="connsiteY127" fmla="*/ 9250612 h 9250612"/>
                <a:gd name="connsiteX128" fmla="*/ 2703023 w 6942639"/>
                <a:gd name="connsiteY128" fmla="*/ 9241652 h 9250612"/>
                <a:gd name="connsiteX129" fmla="*/ 2711982 w 6942639"/>
                <a:gd name="connsiteY129" fmla="*/ 9232691 h 9250612"/>
                <a:gd name="connsiteX130" fmla="*/ 2543241 w 6942639"/>
                <a:gd name="connsiteY130" fmla="*/ 9232691 h 9250612"/>
                <a:gd name="connsiteX131" fmla="*/ 2552201 w 6942639"/>
                <a:gd name="connsiteY131" fmla="*/ 9241652 h 9250612"/>
                <a:gd name="connsiteX132" fmla="*/ 2543241 w 6942639"/>
                <a:gd name="connsiteY132" fmla="*/ 9250612 h 9250612"/>
                <a:gd name="connsiteX133" fmla="*/ 2534281 w 6942639"/>
                <a:gd name="connsiteY133" fmla="*/ 9241652 h 9250612"/>
                <a:gd name="connsiteX134" fmla="*/ 2543241 w 6942639"/>
                <a:gd name="connsiteY134" fmla="*/ 9232691 h 9250612"/>
                <a:gd name="connsiteX135" fmla="*/ 2374499 w 6942639"/>
                <a:gd name="connsiteY135" fmla="*/ 9232691 h 9250612"/>
                <a:gd name="connsiteX136" fmla="*/ 2383461 w 6942639"/>
                <a:gd name="connsiteY136" fmla="*/ 9241652 h 9250612"/>
                <a:gd name="connsiteX137" fmla="*/ 2374499 w 6942639"/>
                <a:gd name="connsiteY137" fmla="*/ 9250612 h 9250612"/>
                <a:gd name="connsiteX138" fmla="*/ 2365539 w 6942639"/>
                <a:gd name="connsiteY138" fmla="*/ 9241652 h 9250612"/>
                <a:gd name="connsiteX139" fmla="*/ 2374499 w 6942639"/>
                <a:gd name="connsiteY139" fmla="*/ 9232691 h 9250612"/>
                <a:gd name="connsiteX140" fmla="*/ 2205758 w 6942639"/>
                <a:gd name="connsiteY140" fmla="*/ 9232691 h 9250612"/>
                <a:gd name="connsiteX141" fmla="*/ 2214719 w 6942639"/>
                <a:gd name="connsiteY141" fmla="*/ 9241652 h 9250612"/>
                <a:gd name="connsiteX142" fmla="*/ 2205758 w 6942639"/>
                <a:gd name="connsiteY142" fmla="*/ 9250612 h 9250612"/>
                <a:gd name="connsiteX143" fmla="*/ 2196798 w 6942639"/>
                <a:gd name="connsiteY143" fmla="*/ 9241652 h 9250612"/>
                <a:gd name="connsiteX144" fmla="*/ 2205758 w 6942639"/>
                <a:gd name="connsiteY144" fmla="*/ 9232691 h 9250612"/>
                <a:gd name="connsiteX145" fmla="*/ 2037018 w 6942639"/>
                <a:gd name="connsiteY145" fmla="*/ 9232691 h 9250612"/>
                <a:gd name="connsiteX146" fmla="*/ 2045978 w 6942639"/>
                <a:gd name="connsiteY146" fmla="*/ 9241652 h 9250612"/>
                <a:gd name="connsiteX147" fmla="*/ 2037018 w 6942639"/>
                <a:gd name="connsiteY147" fmla="*/ 9250612 h 9250612"/>
                <a:gd name="connsiteX148" fmla="*/ 2028057 w 6942639"/>
                <a:gd name="connsiteY148" fmla="*/ 9241652 h 9250612"/>
                <a:gd name="connsiteX149" fmla="*/ 2037018 w 6942639"/>
                <a:gd name="connsiteY149" fmla="*/ 9232691 h 9250612"/>
                <a:gd name="connsiteX150" fmla="*/ 1868276 w 6942639"/>
                <a:gd name="connsiteY150" fmla="*/ 9232691 h 9250612"/>
                <a:gd name="connsiteX151" fmla="*/ 1877236 w 6942639"/>
                <a:gd name="connsiteY151" fmla="*/ 9241652 h 9250612"/>
                <a:gd name="connsiteX152" fmla="*/ 1868276 w 6942639"/>
                <a:gd name="connsiteY152" fmla="*/ 9250612 h 9250612"/>
                <a:gd name="connsiteX153" fmla="*/ 1859314 w 6942639"/>
                <a:gd name="connsiteY153" fmla="*/ 9241652 h 9250612"/>
                <a:gd name="connsiteX154" fmla="*/ 1868276 w 6942639"/>
                <a:gd name="connsiteY154" fmla="*/ 9232691 h 9250612"/>
                <a:gd name="connsiteX155" fmla="*/ 1699535 w 6942639"/>
                <a:gd name="connsiteY155" fmla="*/ 9232691 h 9250612"/>
                <a:gd name="connsiteX156" fmla="*/ 1708495 w 6942639"/>
                <a:gd name="connsiteY156" fmla="*/ 9241652 h 9250612"/>
                <a:gd name="connsiteX157" fmla="*/ 1699535 w 6942639"/>
                <a:gd name="connsiteY157" fmla="*/ 9250612 h 9250612"/>
                <a:gd name="connsiteX158" fmla="*/ 1690575 w 6942639"/>
                <a:gd name="connsiteY158" fmla="*/ 9241652 h 9250612"/>
                <a:gd name="connsiteX159" fmla="*/ 1699535 w 6942639"/>
                <a:gd name="connsiteY159" fmla="*/ 9232691 h 9250612"/>
                <a:gd name="connsiteX160" fmla="*/ 1530793 w 6942639"/>
                <a:gd name="connsiteY160" fmla="*/ 9232691 h 9250612"/>
                <a:gd name="connsiteX161" fmla="*/ 1539754 w 6942639"/>
                <a:gd name="connsiteY161" fmla="*/ 9241652 h 9250612"/>
                <a:gd name="connsiteX162" fmla="*/ 1530793 w 6942639"/>
                <a:gd name="connsiteY162" fmla="*/ 9250612 h 9250612"/>
                <a:gd name="connsiteX163" fmla="*/ 1521833 w 6942639"/>
                <a:gd name="connsiteY163" fmla="*/ 9241652 h 9250612"/>
                <a:gd name="connsiteX164" fmla="*/ 1530793 w 6942639"/>
                <a:gd name="connsiteY164" fmla="*/ 9232691 h 9250612"/>
                <a:gd name="connsiteX165" fmla="*/ 1362051 w 6942639"/>
                <a:gd name="connsiteY165" fmla="*/ 9232691 h 9250612"/>
                <a:gd name="connsiteX166" fmla="*/ 1371011 w 6942639"/>
                <a:gd name="connsiteY166" fmla="*/ 9241652 h 9250612"/>
                <a:gd name="connsiteX167" fmla="*/ 1362051 w 6942639"/>
                <a:gd name="connsiteY167" fmla="*/ 9250612 h 9250612"/>
                <a:gd name="connsiteX168" fmla="*/ 1353090 w 6942639"/>
                <a:gd name="connsiteY168" fmla="*/ 9241652 h 9250612"/>
                <a:gd name="connsiteX169" fmla="*/ 1362051 w 6942639"/>
                <a:gd name="connsiteY169" fmla="*/ 9232691 h 9250612"/>
                <a:gd name="connsiteX170" fmla="*/ 1193310 w 6942639"/>
                <a:gd name="connsiteY170" fmla="*/ 9232691 h 9250612"/>
                <a:gd name="connsiteX171" fmla="*/ 1202270 w 6942639"/>
                <a:gd name="connsiteY171" fmla="*/ 9241652 h 9250612"/>
                <a:gd name="connsiteX172" fmla="*/ 1193310 w 6942639"/>
                <a:gd name="connsiteY172" fmla="*/ 9250612 h 9250612"/>
                <a:gd name="connsiteX173" fmla="*/ 1184350 w 6942639"/>
                <a:gd name="connsiteY173" fmla="*/ 9241652 h 9250612"/>
                <a:gd name="connsiteX174" fmla="*/ 1193310 w 6942639"/>
                <a:gd name="connsiteY174" fmla="*/ 9232691 h 9250612"/>
                <a:gd name="connsiteX175" fmla="*/ 1024568 w 6942639"/>
                <a:gd name="connsiteY175" fmla="*/ 9232691 h 9250612"/>
                <a:gd name="connsiteX176" fmla="*/ 1033530 w 6942639"/>
                <a:gd name="connsiteY176" fmla="*/ 9241652 h 9250612"/>
                <a:gd name="connsiteX177" fmla="*/ 1024568 w 6942639"/>
                <a:gd name="connsiteY177" fmla="*/ 9250612 h 9250612"/>
                <a:gd name="connsiteX178" fmla="*/ 1015608 w 6942639"/>
                <a:gd name="connsiteY178" fmla="*/ 9241652 h 9250612"/>
                <a:gd name="connsiteX179" fmla="*/ 1024568 w 6942639"/>
                <a:gd name="connsiteY179" fmla="*/ 9232691 h 9250612"/>
                <a:gd name="connsiteX180" fmla="*/ 855827 w 6942639"/>
                <a:gd name="connsiteY180" fmla="*/ 9232691 h 9250612"/>
                <a:gd name="connsiteX181" fmla="*/ 864788 w 6942639"/>
                <a:gd name="connsiteY181" fmla="*/ 9241652 h 9250612"/>
                <a:gd name="connsiteX182" fmla="*/ 855827 w 6942639"/>
                <a:gd name="connsiteY182" fmla="*/ 9250612 h 9250612"/>
                <a:gd name="connsiteX183" fmla="*/ 846867 w 6942639"/>
                <a:gd name="connsiteY183" fmla="*/ 9241652 h 9250612"/>
                <a:gd name="connsiteX184" fmla="*/ 855827 w 6942639"/>
                <a:gd name="connsiteY184" fmla="*/ 9232691 h 9250612"/>
                <a:gd name="connsiteX185" fmla="*/ 687085 w 6942639"/>
                <a:gd name="connsiteY185" fmla="*/ 9232691 h 9250612"/>
                <a:gd name="connsiteX186" fmla="*/ 696046 w 6942639"/>
                <a:gd name="connsiteY186" fmla="*/ 9241652 h 9250612"/>
                <a:gd name="connsiteX187" fmla="*/ 687085 w 6942639"/>
                <a:gd name="connsiteY187" fmla="*/ 9250612 h 9250612"/>
                <a:gd name="connsiteX188" fmla="*/ 678125 w 6942639"/>
                <a:gd name="connsiteY188" fmla="*/ 9241652 h 9250612"/>
                <a:gd name="connsiteX189" fmla="*/ 687085 w 6942639"/>
                <a:gd name="connsiteY189" fmla="*/ 9232691 h 9250612"/>
                <a:gd name="connsiteX190" fmla="*/ 518343 w 6942639"/>
                <a:gd name="connsiteY190" fmla="*/ 9232691 h 9250612"/>
                <a:gd name="connsiteX191" fmla="*/ 527303 w 6942639"/>
                <a:gd name="connsiteY191" fmla="*/ 9241652 h 9250612"/>
                <a:gd name="connsiteX192" fmla="*/ 518343 w 6942639"/>
                <a:gd name="connsiteY192" fmla="*/ 9250612 h 9250612"/>
                <a:gd name="connsiteX193" fmla="*/ 509382 w 6942639"/>
                <a:gd name="connsiteY193" fmla="*/ 9241652 h 9250612"/>
                <a:gd name="connsiteX194" fmla="*/ 518343 w 6942639"/>
                <a:gd name="connsiteY194" fmla="*/ 9232691 h 9250612"/>
                <a:gd name="connsiteX195" fmla="*/ 349602 w 6942639"/>
                <a:gd name="connsiteY195" fmla="*/ 9232691 h 9250612"/>
                <a:gd name="connsiteX196" fmla="*/ 358563 w 6942639"/>
                <a:gd name="connsiteY196" fmla="*/ 9241652 h 9250612"/>
                <a:gd name="connsiteX197" fmla="*/ 349602 w 6942639"/>
                <a:gd name="connsiteY197" fmla="*/ 9250612 h 9250612"/>
                <a:gd name="connsiteX198" fmla="*/ 340642 w 6942639"/>
                <a:gd name="connsiteY198" fmla="*/ 9241652 h 9250612"/>
                <a:gd name="connsiteX199" fmla="*/ 349602 w 6942639"/>
                <a:gd name="connsiteY199" fmla="*/ 9232691 h 9250612"/>
                <a:gd name="connsiteX200" fmla="*/ 179281 w 6942639"/>
                <a:gd name="connsiteY200" fmla="*/ 9232691 h 9250612"/>
                <a:gd name="connsiteX201" fmla="*/ 188242 w 6942639"/>
                <a:gd name="connsiteY201" fmla="*/ 9241652 h 9250612"/>
                <a:gd name="connsiteX202" fmla="*/ 179281 w 6942639"/>
                <a:gd name="connsiteY202" fmla="*/ 9250612 h 9250612"/>
                <a:gd name="connsiteX203" fmla="*/ 170321 w 6942639"/>
                <a:gd name="connsiteY203" fmla="*/ 9241652 h 9250612"/>
                <a:gd name="connsiteX204" fmla="*/ 179281 w 6942639"/>
                <a:gd name="connsiteY204" fmla="*/ 9232691 h 9250612"/>
                <a:gd name="connsiteX205" fmla="*/ 8960 w 6942639"/>
                <a:gd name="connsiteY205" fmla="*/ 9232691 h 9250612"/>
                <a:gd name="connsiteX206" fmla="*/ 17921 w 6942639"/>
                <a:gd name="connsiteY206" fmla="*/ 9241652 h 9250612"/>
                <a:gd name="connsiteX207" fmla="*/ 8960 w 6942639"/>
                <a:gd name="connsiteY207" fmla="*/ 9250612 h 9250612"/>
                <a:gd name="connsiteX208" fmla="*/ 0 w 6942639"/>
                <a:gd name="connsiteY208" fmla="*/ 9241652 h 9250612"/>
                <a:gd name="connsiteX209" fmla="*/ 8960 w 6942639"/>
                <a:gd name="connsiteY209" fmla="*/ 9232691 h 9250612"/>
                <a:gd name="connsiteX210" fmla="*/ 6933679 w 6942639"/>
                <a:gd name="connsiteY210" fmla="*/ 9061709 h 9250612"/>
                <a:gd name="connsiteX211" fmla="*/ 6942639 w 6942639"/>
                <a:gd name="connsiteY211" fmla="*/ 9070670 h 9250612"/>
                <a:gd name="connsiteX212" fmla="*/ 6933679 w 6942639"/>
                <a:gd name="connsiteY212" fmla="*/ 9079630 h 9250612"/>
                <a:gd name="connsiteX213" fmla="*/ 6924718 w 6942639"/>
                <a:gd name="connsiteY213" fmla="*/ 9070670 h 9250612"/>
                <a:gd name="connsiteX214" fmla="*/ 6933679 w 6942639"/>
                <a:gd name="connsiteY214" fmla="*/ 9061709 h 9250612"/>
                <a:gd name="connsiteX215" fmla="*/ 6763357 w 6942639"/>
                <a:gd name="connsiteY215" fmla="*/ 9061709 h 9250612"/>
                <a:gd name="connsiteX216" fmla="*/ 6772318 w 6942639"/>
                <a:gd name="connsiteY216" fmla="*/ 9070670 h 9250612"/>
                <a:gd name="connsiteX217" fmla="*/ 6763357 w 6942639"/>
                <a:gd name="connsiteY217" fmla="*/ 9079630 h 9250612"/>
                <a:gd name="connsiteX218" fmla="*/ 6754397 w 6942639"/>
                <a:gd name="connsiteY218" fmla="*/ 9070670 h 9250612"/>
                <a:gd name="connsiteX219" fmla="*/ 6763357 w 6942639"/>
                <a:gd name="connsiteY219" fmla="*/ 9061709 h 9250612"/>
                <a:gd name="connsiteX220" fmla="*/ 6593035 w 6942639"/>
                <a:gd name="connsiteY220" fmla="*/ 9061709 h 9250612"/>
                <a:gd name="connsiteX221" fmla="*/ 6601996 w 6942639"/>
                <a:gd name="connsiteY221" fmla="*/ 9070670 h 9250612"/>
                <a:gd name="connsiteX222" fmla="*/ 6593035 w 6942639"/>
                <a:gd name="connsiteY222" fmla="*/ 9079630 h 9250612"/>
                <a:gd name="connsiteX223" fmla="*/ 6584075 w 6942639"/>
                <a:gd name="connsiteY223" fmla="*/ 9070670 h 9250612"/>
                <a:gd name="connsiteX224" fmla="*/ 6593035 w 6942639"/>
                <a:gd name="connsiteY224" fmla="*/ 9061709 h 9250612"/>
                <a:gd name="connsiteX225" fmla="*/ 6424294 w 6942639"/>
                <a:gd name="connsiteY225" fmla="*/ 9061709 h 9250612"/>
                <a:gd name="connsiteX226" fmla="*/ 6433255 w 6942639"/>
                <a:gd name="connsiteY226" fmla="*/ 9070670 h 9250612"/>
                <a:gd name="connsiteX227" fmla="*/ 6424294 w 6942639"/>
                <a:gd name="connsiteY227" fmla="*/ 9079630 h 9250612"/>
                <a:gd name="connsiteX228" fmla="*/ 6415334 w 6942639"/>
                <a:gd name="connsiteY228" fmla="*/ 9070670 h 9250612"/>
                <a:gd name="connsiteX229" fmla="*/ 6424294 w 6942639"/>
                <a:gd name="connsiteY229" fmla="*/ 9061709 h 9250612"/>
                <a:gd name="connsiteX230" fmla="*/ 6255553 w 6942639"/>
                <a:gd name="connsiteY230" fmla="*/ 9061709 h 9250612"/>
                <a:gd name="connsiteX231" fmla="*/ 6264514 w 6942639"/>
                <a:gd name="connsiteY231" fmla="*/ 9070670 h 9250612"/>
                <a:gd name="connsiteX232" fmla="*/ 6255553 w 6942639"/>
                <a:gd name="connsiteY232" fmla="*/ 9079630 h 9250612"/>
                <a:gd name="connsiteX233" fmla="*/ 6246593 w 6942639"/>
                <a:gd name="connsiteY233" fmla="*/ 9070670 h 9250612"/>
                <a:gd name="connsiteX234" fmla="*/ 6255553 w 6942639"/>
                <a:gd name="connsiteY234" fmla="*/ 9061709 h 9250612"/>
                <a:gd name="connsiteX235" fmla="*/ 6086811 w 6942639"/>
                <a:gd name="connsiteY235" fmla="*/ 9061709 h 9250612"/>
                <a:gd name="connsiteX236" fmla="*/ 6095772 w 6942639"/>
                <a:gd name="connsiteY236" fmla="*/ 9070670 h 9250612"/>
                <a:gd name="connsiteX237" fmla="*/ 6086811 w 6942639"/>
                <a:gd name="connsiteY237" fmla="*/ 9079630 h 9250612"/>
                <a:gd name="connsiteX238" fmla="*/ 6077851 w 6942639"/>
                <a:gd name="connsiteY238" fmla="*/ 9070670 h 9250612"/>
                <a:gd name="connsiteX239" fmla="*/ 6086811 w 6942639"/>
                <a:gd name="connsiteY239" fmla="*/ 9061709 h 9250612"/>
                <a:gd name="connsiteX240" fmla="*/ 5918069 w 6942639"/>
                <a:gd name="connsiteY240" fmla="*/ 9061709 h 9250612"/>
                <a:gd name="connsiteX241" fmla="*/ 5927030 w 6942639"/>
                <a:gd name="connsiteY241" fmla="*/ 9070670 h 9250612"/>
                <a:gd name="connsiteX242" fmla="*/ 5918069 w 6942639"/>
                <a:gd name="connsiteY242" fmla="*/ 9079630 h 9250612"/>
                <a:gd name="connsiteX243" fmla="*/ 5909109 w 6942639"/>
                <a:gd name="connsiteY243" fmla="*/ 9070670 h 9250612"/>
                <a:gd name="connsiteX244" fmla="*/ 5918069 w 6942639"/>
                <a:gd name="connsiteY244" fmla="*/ 9061709 h 9250612"/>
                <a:gd name="connsiteX245" fmla="*/ 5749328 w 6942639"/>
                <a:gd name="connsiteY245" fmla="*/ 9061709 h 9250612"/>
                <a:gd name="connsiteX246" fmla="*/ 5758289 w 6942639"/>
                <a:gd name="connsiteY246" fmla="*/ 9070670 h 9250612"/>
                <a:gd name="connsiteX247" fmla="*/ 5749328 w 6942639"/>
                <a:gd name="connsiteY247" fmla="*/ 9079630 h 9250612"/>
                <a:gd name="connsiteX248" fmla="*/ 5740368 w 6942639"/>
                <a:gd name="connsiteY248" fmla="*/ 9070670 h 9250612"/>
                <a:gd name="connsiteX249" fmla="*/ 5749328 w 6942639"/>
                <a:gd name="connsiteY249" fmla="*/ 9061709 h 9250612"/>
                <a:gd name="connsiteX250" fmla="*/ 5580586 w 6942639"/>
                <a:gd name="connsiteY250" fmla="*/ 9061709 h 9250612"/>
                <a:gd name="connsiteX251" fmla="*/ 5589547 w 6942639"/>
                <a:gd name="connsiteY251" fmla="*/ 9070670 h 9250612"/>
                <a:gd name="connsiteX252" fmla="*/ 5580586 w 6942639"/>
                <a:gd name="connsiteY252" fmla="*/ 9079630 h 9250612"/>
                <a:gd name="connsiteX253" fmla="*/ 5571626 w 6942639"/>
                <a:gd name="connsiteY253" fmla="*/ 9070670 h 9250612"/>
                <a:gd name="connsiteX254" fmla="*/ 5580586 w 6942639"/>
                <a:gd name="connsiteY254" fmla="*/ 9061709 h 9250612"/>
                <a:gd name="connsiteX255" fmla="*/ 5411845 w 6942639"/>
                <a:gd name="connsiteY255" fmla="*/ 9061709 h 9250612"/>
                <a:gd name="connsiteX256" fmla="*/ 5420806 w 6942639"/>
                <a:gd name="connsiteY256" fmla="*/ 9070670 h 9250612"/>
                <a:gd name="connsiteX257" fmla="*/ 5411845 w 6942639"/>
                <a:gd name="connsiteY257" fmla="*/ 9079630 h 9250612"/>
                <a:gd name="connsiteX258" fmla="*/ 5402885 w 6942639"/>
                <a:gd name="connsiteY258" fmla="*/ 9070670 h 9250612"/>
                <a:gd name="connsiteX259" fmla="*/ 5411845 w 6942639"/>
                <a:gd name="connsiteY259" fmla="*/ 9061709 h 9250612"/>
                <a:gd name="connsiteX260" fmla="*/ 5243103 w 6942639"/>
                <a:gd name="connsiteY260" fmla="*/ 9061709 h 9250612"/>
                <a:gd name="connsiteX261" fmla="*/ 5252064 w 6942639"/>
                <a:gd name="connsiteY261" fmla="*/ 9070670 h 9250612"/>
                <a:gd name="connsiteX262" fmla="*/ 5243103 w 6942639"/>
                <a:gd name="connsiteY262" fmla="*/ 9079630 h 9250612"/>
                <a:gd name="connsiteX263" fmla="*/ 5234143 w 6942639"/>
                <a:gd name="connsiteY263" fmla="*/ 9070670 h 9250612"/>
                <a:gd name="connsiteX264" fmla="*/ 5243103 w 6942639"/>
                <a:gd name="connsiteY264" fmla="*/ 9061709 h 9250612"/>
                <a:gd name="connsiteX265" fmla="*/ 5074362 w 6942639"/>
                <a:gd name="connsiteY265" fmla="*/ 9061709 h 9250612"/>
                <a:gd name="connsiteX266" fmla="*/ 5083323 w 6942639"/>
                <a:gd name="connsiteY266" fmla="*/ 9070670 h 9250612"/>
                <a:gd name="connsiteX267" fmla="*/ 5074362 w 6942639"/>
                <a:gd name="connsiteY267" fmla="*/ 9079630 h 9250612"/>
                <a:gd name="connsiteX268" fmla="*/ 5065402 w 6942639"/>
                <a:gd name="connsiteY268" fmla="*/ 9070670 h 9250612"/>
                <a:gd name="connsiteX269" fmla="*/ 5074362 w 6942639"/>
                <a:gd name="connsiteY269" fmla="*/ 9061709 h 9250612"/>
                <a:gd name="connsiteX270" fmla="*/ 4905620 w 6942639"/>
                <a:gd name="connsiteY270" fmla="*/ 9061709 h 9250612"/>
                <a:gd name="connsiteX271" fmla="*/ 4914581 w 6942639"/>
                <a:gd name="connsiteY271" fmla="*/ 9070670 h 9250612"/>
                <a:gd name="connsiteX272" fmla="*/ 4905620 w 6942639"/>
                <a:gd name="connsiteY272" fmla="*/ 9079630 h 9250612"/>
                <a:gd name="connsiteX273" fmla="*/ 4896660 w 6942639"/>
                <a:gd name="connsiteY273" fmla="*/ 9070670 h 9250612"/>
                <a:gd name="connsiteX274" fmla="*/ 4905620 w 6942639"/>
                <a:gd name="connsiteY274" fmla="*/ 9061709 h 9250612"/>
                <a:gd name="connsiteX275" fmla="*/ 4736878 w 6942639"/>
                <a:gd name="connsiteY275" fmla="*/ 9061709 h 9250612"/>
                <a:gd name="connsiteX276" fmla="*/ 4745839 w 6942639"/>
                <a:gd name="connsiteY276" fmla="*/ 9070670 h 9250612"/>
                <a:gd name="connsiteX277" fmla="*/ 4736878 w 6942639"/>
                <a:gd name="connsiteY277" fmla="*/ 9079630 h 9250612"/>
                <a:gd name="connsiteX278" fmla="*/ 4727918 w 6942639"/>
                <a:gd name="connsiteY278" fmla="*/ 9070670 h 9250612"/>
                <a:gd name="connsiteX279" fmla="*/ 4736878 w 6942639"/>
                <a:gd name="connsiteY279" fmla="*/ 9061709 h 9250612"/>
                <a:gd name="connsiteX280" fmla="*/ 4568137 w 6942639"/>
                <a:gd name="connsiteY280" fmla="*/ 9061709 h 9250612"/>
                <a:gd name="connsiteX281" fmla="*/ 4577098 w 6942639"/>
                <a:gd name="connsiteY281" fmla="*/ 9070670 h 9250612"/>
                <a:gd name="connsiteX282" fmla="*/ 4568137 w 6942639"/>
                <a:gd name="connsiteY282" fmla="*/ 9079630 h 9250612"/>
                <a:gd name="connsiteX283" fmla="*/ 4559177 w 6942639"/>
                <a:gd name="connsiteY283" fmla="*/ 9070670 h 9250612"/>
                <a:gd name="connsiteX284" fmla="*/ 4568137 w 6942639"/>
                <a:gd name="connsiteY284" fmla="*/ 9061709 h 9250612"/>
                <a:gd name="connsiteX285" fmla="*/ 4399396 w 6942639"/>
                <a:gd name="connsiteY285" fmla="*/ 9061709 h 9250612"/>
                <a:gd name="connsiteX286" fmla="*/ 4408357 w 6942639"/>
                <a:gd name="connsiteY286" fmla="*/ 9070670 h 9250612"/>
                <a:gd name="connsiteX287" fmla="*/ 4399396 w 6942639"/>
                <a:gd name="connsiteY287" fmla="*/ 9079630 h 9250612"/>
                <a:gd name="connsiteX288" fmla="*/ 4390436 w 6942639"/>
                <a:gd name="connsiteY288" fmla="*/ 9070670 h 9250612"/>
                <a:gd name="connsiteX289" fmla="*/ 4399396 w 6942639"/>
                <a:gd name="connsiteY289" fmla="*/ 9061709 h 9250612"/>
                <a:gd name="connsiteX290" fmla="*/ 4230654 w 6942639"/>
                <a:gd name="connsiteY290" fmla="*/ 9061709 h 9250612"/>
                <a:gd name="connsiteX291" fmla="*/ 4239615 w 6942639"/>
                <a:gd name="connsiteY291" fmla="*/ 9070670 h 9250612"/>
                <a:gd name="connsiteX292" fmla="*/ 4230654 w 6942639"/>
                <a:gd name="connsiteY292" fmla="*/ 9079630 h 9250612"/>
                <a:gd name="connsiteX293" fmla="*/ 4221694 w 6942639"/>
                <a:gd name="connsiteY293" fmla="*/ 9070670 h 9250612"/>
                <a:gd name="connsiteX294" fmla="*/ 4230654 w 6942639"/>
                <a:gd name="connsiteY294" fmla="*/ 9061709 h 9250612"/>
                <a:gd name="connsiteX295" fmla="*/ 4061912 w 6942639"/>
                <a:gd name="connsiteY295" fmla="*/ 9061709 h 9250612"/>
                <a:gd name="connsiteX296" fmla="*/ 4070873 w 6942639"/>
                <a:gd name="connsiteY296" fmla="*/ 9070670 h 9250612"/>
                <a:gd name="connsiteX297" fmla="*/ 4061912 w 6942639"/>
                <a:gd name="connsiteY297" fmla="*/ 9079630 h 9250612"/>
                <a:gd name="connsiteX298" fmla="*/ 4052952 w 6942639"/>
                <a:gd name="connsiteY298" fmla="*/ 9070670 h 9250612"/>
                <a:gd name="connsiteX299" fmla="*/ 4061912 w 6942639"/>
                <a:gd name="connsiteY299" fmla="*/ 9061709 h 9250612"/>
                <a:gd name="connsiteX300" fmla="*/ 3893170 w 6942639"/>
                <a:gd name="connsiteY300" fmla="*/ 9061709 h 9250612"/>
                <a:gd name="connsiteX301" fmla="*/ 3902131 w 6942639"/>
                <a:gd name="connsiteY301" fmla="*/ 9070670 h 9250612"/>
                <a:gd name="connsiteX302" fmla="*/ 3893170 w 6942639"/>
                <a:gd name="connsiteY302" fmla="*/ 9079630 h 9250612"/>
                <a:gd name="connsiteX303" fmla="*/ 3884210 w 6942639"/>
                <a:gd name="connsiteY303" fmla="*/ 9070670 h 9250612"/>
                <a:gd name="connsiteX304" fmla="*/ 3893170 w 6942639"/>
                <a:gd name="connsiteY304" fmla="*/ 9061709 h 9250612"/>
                <a:gd name="connsiteX305" fmla="*/ 3724429 w 6942639"/>
                <a:gd name="connsiteY305" fmla="*/ 9061709 h 9250612"/>
                <a:gd name="connsiteX306" fmla="*/ 3733390 w 6942639"/>
                <a:gd name="connsiteY306" fmla="*/ 9070670 h 9250612"/>
                <a:gd name="connsiteX307" fmla="*/ 3724429 w 6942639"/>
                <a:gd name="connsiteY307" fmla="*/ 9079630 h 9250612"/>
                <a:gd name="connsiteX308" fmla="*/ 3715469 w 6942639"/>
                <a:gd name="connsiteY308" fmla="*/ 9070670 h 9250612"/>
                <a:gd name="connsiteX309" fmla="*/ 3724429 w 6942639"/>
                <a:gd name="connsiteY309" fmla="*/ 9061709 h 9250612"/>
                <a:gd name="connsiteX310" fmla="*/ 3555688 w 6942639"/>
                <a:gd name="connsiteY310" fmla="*/ 9061709 h 9250612"/>
                <a:gd name="connsiteX311" fmla="*/ 3564649 w 6942639"/>
                <a:gd name="connsiteY311" fmla="*/ 9070670 h 9250612"/>
                <a:gd name="connsiteX312" fmla="*/ 3555688 w 6942639"/>
                <a:gd name="connsiteY312" fmla="*/ 9079630 h 9250612"/>
                <a:gd name="connsiteX313" fmla="*/ 3546728 w 6942639"/>
                <a:gd name="connsiteY313" fmla="*/ 9070670 h 9250612"/>
                <a:gd name="connsiteX314" fmla="*/ 3555688 w 6942639"/>
                <a:gd name="connsiteY314" fmla="*/ 9061709 h 9250612"/>
                <a:gd name="connsiteX315" fmla="*/ 3386951 w 6942639"/>
                <a:gd name="connsiteY315" fmla="*/ 9061709 h 9250612"/>
                <a:gd name="connsiteX316" fmla="*/ 3395912 w 6942639"/>
                <a:gd name="connsiteY316" fmla="*/ 9070670 h 9250612"/>
                <a:gd name="connsiteX317" fmla="*/ 3386951 w 6942639"/>
                <a:gd name="connsiteY317" fmla="*/ 9079630 h 9250612"/>
                <a:gd name="connsiteX318" fmla="*/ 3377988 w 6942639"/>
                <a:gd name="connsiteY318" fmla="*/ 9070670 h 9250612"/>
                <a:gd name="connsiteX319" fmla="*/ 3386951 w 6942639"/>
                <a:gd name="connsiteY319" fmla="*/ 9061709 h 9250612"/>
                <a:gd name="connsiteX320" fmla="*/ 3218209 w 6942639"/>
                <a:gd name="connsiteY320" fmla="*/ 9061709 h 9250612"/>
                <a:gd name="connsiteX321" fmla="*/ 3227168 w 6942639"/>
                <a:gd name="connsiteY321" fmla="*/ 9070670 h 9250612"/>
                <a:gd name="connsiteX322" fmla="*/ 3218209 w 6942639"/>
                <a:gd name="connsiteY322" fmla="*/ 9079630 h 9250612"/>
                <a:gd name="connsiteX323" fmla="*/ 3209249 w 6942639"/>
                <a:gd name="connsiteY323" fmla="*/ 9070670 h 9250612"/>
                <a:gd name="connsiteX324" fmla="*/ 3218209 w 6942639"/>
                <a:gd name="connsiteY324" fmla="*/ 9061709 h 9250612"/>
                <a:gd name="connsiteX325" fmla="*/ 3049470 w 6942639"/>
                <a:gd name="connsiteY325" fmla="*/ 9061709 h 9250612"/>
                <a:gd name="connsiteX326" fmla="*/ 3058430 w 6942639"/>
                <a:gd name="connsiteY326" fmla="*/ 9070670 h 9250612"/>
                <a:gd name="connsiteX327" fmla="*/ 3049470 w 6942639"/>
                <a:gd name="connsiteY327" fmla="*/ 9079630 h 9250612"/>
                <a:gd name="connsiteX328" fmla="*/ 3040508 w 6942639"/>
                <a:gd name="connsiteY328" fmla="*/ 9070670 h 9250612"/>
                <a:gd name="connsiteX329" fmla="*/ 3049470 w 6942639"/>
                <a:gd name="connsiteY329" fmla="*/ 9061709 h 9250612"/>
                <a:gd name="connsiteX330" fmla="*/ 2880728 w 6942639"/>
                <a:gd name="connsiteY330" fmla="*/ 9061709 h 9250612"/>
                <a:gd name="connsiteX331" fmla="*/ 2889689 w 6942639"/>
                <a:gd name="connsiteY331" fmla="*/ 9070670 h 9250612"/>
                <a:gd name="connsiteX332" fmla="*/ 2880728 w 6942639"/>
                <a:gd name="connsiteY332" fmla="*/ 9079630 h 9250612"/>
                <a:gd name="connsiteX333" fmla="*/ 2871768 w 6942639"/>
                <a:gd name="connsiteY333" fmla="*/ 9070670 h 9250612"/>
                <a:gd name="connsiteX334" fmla="*/ 2880728 w 6942639"/>
                <a:gd name="connsiteY334" fmla="*/ 9061709 h 9250612"/>
                <a:gd name="connsiteX335" fmla="*/ 2711986 w 6942639"/>
                <a:gd name="connsiteY335" fmla="*/ 9061709 h 9250612"/>
                <a:gd name="connsiteX336" fmla="*/ 2720947 w 6942639"/>
                <a:gd name="connsiteY336" fmla="*/ 9070670 h 9250612"/>
                <a:gd name="connsiteX337" fmla="*/ 2711986 w 6942639"/>
                <a:gd name="connsiteY337" fmla="*/ 9079630 h 9250612"/>
                <a:gd name="connsiteX338" fmla="*/ 2703027 w 6942639"/>
                <a:gd name="connsiteY338" fmla="*/ 9070670 h 9250612"/>
                <a:gd name="connsiteX339" fmla="*/ 2711986 w 6942639"/>
                <a:gd name="connsiteY339" fmla="*/ 9061709 h 9250612"/>
                <a:gd name="connsiteX340" fmla="*/ 2543245 w 6942639"/>
                <a:gd name="connsiteY340" fmla="*/ 9061709 h 9250612"/>
                <a:gd name="connsiteX341" fmla="*/ 2552206 w 6942639"/>
                <a:gd name="connsiteY341" fmla="*/ 9070670 h 9250612"/>
                <a:gd name="connsiteX342" fmla="*/ 2543245 w 6942639"/>
                <a:gd name="connsiteY342" fmla="*/ 9079630 h 9250612"/>
                <a:gd name="connsiteX343" fmla="*/ 2534286 w 6942639"/>
                <a:gd name="connsiteY343" fmla="*/ 9070670 h 9250612"/>
                <a:gd name="connsiteX344" fmla="*/ 2543245 w 6942639"/>
                <a:gd name="connsiteY344" fmla="*/ 9061709 h 9250612"/>
                <a:gd name="connsiteX345" fmla="*/ 2374503 w 6942639"/>
                <a:gd name="connsiteY345" fmla="*/ 9061709 h 9250612"/>
                <a:gd name="connsiteX346" fmla="*/ 2383465 w 6942639"/>
                <a:gd name="connsiteY346" fmla="*/ 9070670 h 9250612"/>
                <a:gd name="connsiteX347" fmla="*/ 2374503 w 6942639"/>
                <a:gd name="connsiteY347" fmla="*/ 9079630 h 9250612"/>
                <a:gd name="connsiteX348" fmla="*/ 2365542 w 6942639"/>
                <a:gd name="connsiteY348" fmla="*/ 9070670 h 9250612"/>
                <a:gd name="connsiteX349" fmla="*/ 2374503 w 6942639"/>
                <a:gd name="connsiteY349" fmla="*/ 9061709 h 9250612"/>
                <a:gd name="connsiteX350" fmla="*/ 2205762 w 6942639"/>
                <a:gd name="connsiteY350" fmla="*/ 9061709 h 9250612"/>
                <a:gd name="connsiteX351" fmla="*/ 2214723 w 6942639"/>
                <a:gd name="connsiteY351" fmla="*/ 9070670 h 9250612"/>
                <a:gd name="connsiteX352" fmla="*/ 2205762 w 6942639"/>
                <a:gd name="connsiteY352" fmla="*/ 9079630 h 9250612"/>
                <a:gd name="connsiteX353" fmla="*/ 2196803 w 6942639"/>
                <a:gd name="connsiteY353" fmla="*/ 9070670 h 9250612"/>
                <a:gd name="connsiteX354" fmla="*/ 2205762 w 6942639"/>
                <a:gd name="connsiteY354" fmla="*/ 9061709 h 9250612"/>
                <a:gd name="connsiteX355" fmla="*/ 2037023 w 6942639"/>
                <a:gd name="connsiteY355" fmla="*/ 9061709 h 9250612"/>
                <a:gd name="connsiteX356" fmla="*/ 2045982 w 6942639"/>
                <a:gd name="connsiteY356" fmla="*/ 9070670 h 9250612"/>
                <a:gd name="connsiteX357" fmla="*/ 2037023 w 6942639"/>
                <a:gd name="connsiteY357" fmla="*/ 9079630 h 9250612"/>
                <a:gd name="connsiteX358" fmla="*/ 2028062 w 6942639"/>
                <a:gd name="connsiteY358" fmla="*/ 9070670 h 9250612"/>
                <a:gd name="connsiteX359" fmla="*/ 2037023 w 6942639"/>
                <a:gd name="connsiteY359" fmla="*/ 9061709 h 9250612"/>
                <a:gd name="connsiteX360" fmla="*/ 1868282 w 6942639"/>
                <a:gd name="connsiteY360" fmla="*/ 9061709 h 9250612"/>
                <a:gd name="connsiteX361" fmla="*/ 1877240 w 6942639"/>
                <a:gd name="connsiteY361" fmla="*/ 9070670 h 9250612"/>
                <a:gd name="connsiteX362" fmla="*/ 1868282 w 6942639"/>
                <a:gd name="connsiteY362" fmla="*/ 9079630 h 9250612"/>
                <a:gd name="connsiteX363" fmla="*/ 1859319 w 6942639"/>
                <a:gd name="connsiteY363" fmla="*/ 9070670 h 9250612"/>
                <a:gd name="connsiteX364" fmla="*/ 1868282 w 6942639"/>
                <a:gd name="connsiteY364" fmla="*/ 9061709 h 9250612"/>
                <a:gd name="connsiteX365" fmla="*/ 1699540 w 6942639"/>
                <a:gd name="connsiteY365" fmla="*/ 9061709 h 9250612"/>
                <a:gd name="connsiteX366" fmla="*/ 1708500 w 6942639"/>
                <a:gd name="connsiteY366" fmla="*/ 9070670 h 9250612"/>
                <a:gd name="connsiteX367" fmla="*/ 1699540 w 6942639"/>
                <a:gd name="connsiteY367" fmla="*/ 9079630 h 9250612"/>
                <a:gd name="connsiteX368" fmla="*/ 1690580 w 6942639"/>
                <a:gd name="connsiteY368" fmla="*/ 9070670 h 9250612"/>
                <a:gd name="connsiteX369" fmla="*/ 1699540 w 6942639"/>
                <a:gd name="connsiteY369" fmla="*/ 9061709 h 9250612"/>
                <a:gd name="connsiteX370" fmla="*/ 1530798 w 6942639"/>
                <a:gd name="connsiteY370" fmla="*/ 9061709 h 9250612"/>
                <a:gd name="connsiteX371" fmla="*/ 1539758 w 6942639"/>
                <a:gd name="connsiteY371" fmla="*/ 9070670 h 9250612"/>
                <a:gd name="connsiteX372" fmla="*/ 1530798 w 6942639"/>
                <a:gd name="connsiteY372" fmla="*/ 9079630 h 9250612"/>
                <a:gd name="connsiteX373" fmla="*/ 1521837 w 6942639"/>
                <a:gd name="connsiteY373" fmla="*/ 9070670 h 9250612"/>
                <a:gd name="connsiteX374" fmla="*/ 1530798 w 6942639"/>
                <a:gd name="connsiteY374" fmla="*/ 9061709 h 9250612"/>
                <a:gd name="connsiteX375" fmla="*/ 1362056 w 6942639"/>
                <a:gd name="connsiteY375" fmla="*/ 9061709 h 9250612"/>
                <a:gd name="connsiteX376" fmla="*/ 1371016 w 6942639"/>
                <a:gd name="connsiteY376" fmla="*/ 9070670 h 9250612"/>
                <a:gd name="connsiteX377" fmla="*/ 1362056 w 6942639"/>
                <a:gd name="connsiteY377" fmla="*/ 9079630 h 9250612"/>
                <a:gd name="connsiteX378" fmla="*/ 1353095 w 6942639"/>
                <a:gd name="connsiteY378" fmla="*/ 9070670 h 9250612"/>
                <a:gd name="connsiteX379" fmla="*/ 1362056 w 6942639"/>
                <a:gd name="connsiteY379" fmla="*/ 9061709 h 9250612"/>
                <a:gd name="connsiteX380" fmla="*/ 1193314 w 6942639"/>
                <a:gd name="connsiteY380" fmla="*/ 9061709 h 9250612"/>
                <a:gd name="connsiteX381" fmla="*/ 1202275 w 6942639"/>
                <a:gd name="connsiteY381" fmla="*/ 9070670 h 9250612"/>
                <a:gd name="connsiteX382" fmla="*/ 1193314 w 6942639"/>
                <a:gd name="connsiteY382" fmla="*/ 9079630 h 9250612"/>
                <a:gd name="connsiteX383" fmla="*/ 1184354 w 6942639"/>
                <a:gd name="connsiteY383" fmla="*/ 9070670 h 9250612"/>
                <a:gd name="connsiteX384" fmla="*/ 1193314 w 6942639"/>
                <a:gd name="connsiteY384" fmla="*/ 9061709 h 9250612"/>
                <a:gd name="connsiteX385" fmla="*/ 1024573 w 6942639"/>
                <a:gd name="connsiteY385" fmla="*/ 9061709 h 9250612"/>
                <a:gd name="connsiteX386" fmla="*/ 1033534 w 6942639"/>
                <a:gd name="connsiteY386" fmla="*/ 9070670 h 9250612"/>
                <a:gd name="connsiteX387" fmla="*/ 1024573 w 6942639"/>
                <a:gd name="connsiteY387" fmla="*/ 9079630 h 9250612"/>
                <a:gd name="connsiteX388" fmla="*/ 1015612 w 6942639"/>
                <a:gd name="connsiteY388" fmla="*/ 9070670 h 9250612"/>
                <a:gd name="connsiteX389" fmla="*/ 1024573 w 6942639"/>
                <a:gd name="connsiteY389" fmla="*/ 9061709 h 9250612"/>
                <a:gd name="connsiteX390" fmla="*/ 855832 w 6942639"/>
                <a:gd name="connsiteY390" fmla="*/ 9061709 h 9250612"/>
                <a:gd name="connsiteX391" fmla="*/ 864792 w 6942639"/>
                <a:gd name="connsiteY391" fmla="*/ 9070670 h 9250612"/>
                <a:gd name="connsiteX392" fmla="*/ 855832 w 6942639"/>
                <a:gd name="connsiteY392" fmla="*/ 9079630 h 9250612"/>
                <a:gd name="connsiteX393" fmla="*/ 846871 w 6942639"/>
                <a:gd name="connsiteY393" fmla="*/ 9070670 h 9250612"/>
                <a:gd name="connsiteX394" fmla="*/ 855832 w 6942639"/>
                <a:gd name="connsiteY394" fmla="*/ 9061709 h 9250612"/>
                <a:gd name="connsiteX395" fmla="*/ 687090 w 6942639"/>
                <a:gd name="connsiteY395" fmla="*/ 9061709 h 9250612"/>
                <a:gd name="connsiteX396" fmla="*/ 696051 w 6942639"/>
                <a:gd name="connsiteY396" fmla="*/ 9070670 h 9250612"/>
                <a:gd name="connsiteX397" fmla="*/ 687090 w 6942639"/>
                <a:gd name="connsiteY397" fmla="*/ 9079630 h 9250612"/>
                <a:gd name="connsiteX398" fmla="*/ 678130 w 6942639"/>
                <a:gd name="connsiteY398" fmla="*/ 9070670 h 9250612"/>
                <a:gd name="connsiteX399" fmla="*/ 687090 w 6942639"/>
                <a:gd name="connsiteY399" fmla="*/ 9061709 h 9250612"/>
                <a:gd name="connsiteX400" fmla="*/ 518347 w 6942639"/>
                <a:gd name="connsiteY400" fmla="*/ 9061709 h 9250612"/>
                <a:gd name="connsiteX401" fmla="*/ 527307 w 6942639"/>
                <a:gd name="connsiteY401" fmla="*/ 9070670 h 9250612"/>
                <a:gd name="connsiteX402" fmla="*/ 518347 w 6942639"/>
                <a:gd name="connsiteY402" fmla="*/ 9079630 h 9250612"/>
                <a:gd name="connsiteX403" fmla="*/ 509386 w 6942639"/>
                <a:gd name="connsiteY403" fmla="*/ 9070670 h 9250612"/>
                <a:gd name="connsiteX404" fmla="*/ 518347 w 6942639"/>
                <a:gd name="connsiteY404" fmla="*/ 9061709 h 9250612"/>
                <a:gd name="connsiteX405" fmla="*/ 349606 w 6942639"/>
                <a:gd name="connsiteY405" fmla="*/ 9061709 h 9250612"/>
                <a:gd name="connsiteX406" fmla="*/ 358567 w 6942639"/>
                <a:gd name="connsiteY406" fmla="*/ 9070670 h 9250612"/>
                <a:gd name="connsiteX407" fmla="*/ 349606 w 6942639"/>
                <a:gd name="connsiteY407" fmla="*/ 9079630 h 9250612"/>
                <a:gd name="connsiteX408" fmla="*/ 340646 w 6942639"/>
                <a:gd name="connsiteY408" fmla="*/ 9070670 h 9250612"/>
                <a:gd name="connsiteX409" fmla="*/ 349606 w 6942639"/>
                <a:gd name="connsiteY409" fmla="*/ 9061709 h 9250612"/>
                <a:gd name="connsiteX410" fmla="*/ 179285 w 6942639"/>
                <a:gd name="connsiteY410" fmla="*/ 9061709 h 9250612"/>
                <a:gd name="connsiteX411" fmla="*/ 188246 w 6942639"/>
                <a:gd name="connsiteY411" fmla="*/ 9070670 h 9250612"/>
                <a:gd name="connsiteX412" fmla="*/ 179285 w 6942639"/>
                <a:gd name="connsiteY412" fmla="*/ 9079630 h 9250612"/>
                <a:gd name="connsiteX413" fmla="*/ 170325 w 6942639"/>
                <a:gd name="connsiteY413" fmla="*/ 9070670 h 9250612"/>
                <a:gd name="connsiteX414" fmla="*/ 179285 w 6942639"/>
                <a:gd name="connsiteY414" fmla="*/ 9061709 h 9250612"/>
                <a:gd name="connsiteX415" fmla="*/ 8964 w 6942639"/>
                <a:gd name="connsiteY415" fmla="*/ 9061709 h 9250612"/>
                <a:gd name="connsiteX416" fmla="*/ 17925 w 6942639"/>
                <a:gd name="connsiteY416" fmla="*/ 9070670 h 9250612"/>
                <a:gd name="connsiteX417" fmla="*/ 8964 w 6942639"/>
                <a:gd name="connsiteY417" fmla="*/ 9079630 h 9250612"/>
                <a:gd name="connsiteX418" fmla="*/ 4 w 6942639"/>
                <a:gd name="connsiteY418" fmla="*/ 9070670 h 9250612"/>
                <a:gd name="connsiteX419" fmla="*/ 8964 w 6942639"/>
                <a:gd name="connsiteY419" fmla="*/ 9061709 h 9250612"/>
                <a:gd name="connsiteX420" fmla="*/ 6933679 w 6942639"/>
                <a:gd name="connsiteY420" fmla="*/ 8890728 h 9250612"/>
                <a:gd name="connsiteX421" fmla="*/ 6942639 w 6942639"/>
                <a:gd name="connsiteY421" fmla="*/ 8899688 h 9250612"/>
                <a:gd name="connsiteX422" fmla="*/ 6933679 w 6942639"/>
                <a:gd name="connsiteY422" fmla="*/ 8908649 h 9250612"/>
                <a:gd name="connsiteX423" fmla="*/ 6924718 w 6942639"/>
                <a:gd name="connsiteY423" fmla="*/ 8899688 h 9250612"/>
                <a:gd name="connsiteX424" fmla="*/ 6933679 w 6942639"/>
                <a:gd name="connsiteY424" fmla="*/ 8890728 h 9250612"/>
                <a:gd name="connsiteX425" fmla="*/ 6763357 w 6942639"/>
                <a:gd name="connsiteY425" fmla="*/ 8890728 h 9250612"/>
                <a:gd name="connsiteX426" fmla="*/ 6772318 w 6942639"/>
                <a:gd name="connsiteY426" fmla="*/ 8899688 h 9250612"/>
                <a:gd name="connsiteX427" fmla="*/ 6763357 w 6942639"/>
                <a:gd name="connsiteY427" fmla="*/ 8908649 h 9250612"/>
                <a:gd name="connsiteX428" fmla="*/ 6754397 w 6942639"/>
                <a:gd name="connsiteY428" fmla="*/ 8899688 h 9250612"/>
                <a:gd name="connsiteX429" fmla="*/ 6763357 w 6942639"/>
                <a:gd name="connsiteY429" fmla="*/ 8890728 h 9250612"/>
                <a:gd name="connsiteX430" fmla="*/ 6593035 w 6942639"/>
                <a:gd name="connsiteY430" fmla="*/ 8890728 h 9250612"/>
                <a:gd name="connsiteX431" fmla="*/ 6601996 w 6942639"/>
                <a:gd name="connsiteY431" fmla="*/ 8899688 h 9250612"/>
                <a:gd name="connsiteX432" fmla="*/ 6593035 w 6942639"/>
                <a:gd name="connsiteY432" fmla="*/ 8908649 h 9250612"/>
                <a:gd name="connsiteX433" fmla="*/ 6584075 w 6942639"/>
                <a:gd name="connsiteY433" fmla="*/ 8899688 h 9250612"/>
                <a:gd name="connsiteX434" fmla="*/ 6593035 w 6942639"/>
                <a:gd name="connsiteY434" fmla="*/ 8890728 h 9250612"/>
                <a:gd name="connsiteX435" fmla="*/ 6424294 w 6942639"/>
                <a:gd name="connsiteY435" fmla="*/ 8890728 h 9250612"/>
                <a:gd name="connsiteX436" fmla="*/ 6433255 w 6942639"/>
                <a:gd name="connsiteY436" fmla="*/ 8899688 h 9250612"/>
                <a:gd name="connsiteX437" fmla="*/ 6424294 w 6942639"/>
                <a:gd name="connsiteY437" fmla="*/ 8908649 h 9250612"/>
                <a:gd name="connsiteX438" fmla="*/ 6415334 w 6942639"/>
                <a:gd name="connsiteY438" fmla="*/ 8899688 h 9250612"/>
                <a:gd name="connsiteX439" fmla="*/ 6424294 w 6942639"/>
                <a:gd name="connsiteY439" fmla="*/ 8890728 h 9250612"/>
                <a:gd name="connsiteX440" fmla="*/ 6255553 w 6942639"/>
                <a:gd name="connsiteY440" fmla="*/ 8890728 h 9250612"/>
                <a:gd name="connsiteX441" fmla="*/ 6264514 w 6942639"/>
                <a:gd name="connsiteY441" fmla="*/ 8899688 h 9250612"/>
                <a:gd name="connsiteX442" fmla="*/ 6255553 w 6942639"/>
                <a:gd name="connsiteY442" fmla="*/ 8908649 h 9250612"/>
                <a:gd name="connsiteX443" fmla="*/ 6246593 w 6942639"/>
                <a:gd name="connsiteY443" fmla="*/ 8899688 h 9250612"/>
                <a:gd name="connsiteX444" fmla="*/ 6255553 w 6942639"/>
                <a:gd name="connsiteY444" fmla="*/ 8890728 h 9250612"/>
                <a:gd name="connsiteX445" fmla="*/ 6086811 w 6942639"/>
                <a:gd name="connsiteY445" fmla="*/ 8890728 h 9250612"/>
                <a:gd name="connsiteX446" fmla="*/ 6095772 w 6942639"/>
                <a:gd name="connsiteY446" fmla="*/ 8899688 h 9250612"/>
                <a:gd name="connsiteX447" fmla="*/ 6086811 w 6942639"/>
                <a:gd name="connsiteY447" fmla="*/ 8908649 h 9250612"/>
                <a:gd name="connsiteX448" fmla="*/ 6077851 w 6942639"/>
                <a:gd name="connsiteY448" fmla="*/ 8899688 h 9250612"/>
                <a:gd name="connsiteX449" fmla="*/ 6086811 w 6942639"/>
                <a:gd name="connsiteY449" fmla="*/ 8890728 h 9250612"/>
                <a:gd name="connsiteX450" fmla="*/ 5918069 w 6942639"/>
                <a:gd name="connsiteY450" fmla="*/ 8890728 h 9250612"/>
                <a:gd name="connsiteX451" fmla="*/ 5927030 w 6942639"/>
                <a:gd name="connsiteY451" fmla="*/ 8899688 h 9250612"/>
                <a:gd name="connsiteX452" fmla="*/ 5918069 w 6942639"/>
                <a:gd name="connsiteY452" fmla="*/ 8908649 h 9250612"/>
                <a:gd name="connsiteX453" fmla="*/ 5909109 w 6942639"/>
                <a:gd name="connsiteY453" fmla="*/ 8899688 h 9250612"/>
                <a:gd name="connsiteX454" fmla="*/ 5918069 w 6942639"/>
                <a:gd name="connsiteY454" fmla="*/ 8890728 h 9250612"/>
                <a:gd name="connsiteX455" fmla="*/ 5749328 w 6942639"/>
                <a:gd name="connsiteY455" fmla="*/ 8890728 h 9250612"/>
                <a:gd name="connsiteX456" fmla="*/ 5758289 w 6942639"/>
                <a:gd name="connsiteY456" fmla="*/ 8899688 h 9250612"/>
                <a:gd name="connsiteX457" fmla="*/ 5749328 w 6942639"/>
                <a:gd name="connsiteY457" fmla="*/ 8908649 h 9250612"/>
                <a:gd name="connsiteX458" fmla="*/ 5740368 w 6942639"/>
                <a:gd name="connsiteY458" fmla="*/ 8899688 h 9250612"/>
                <a:gd name="connsiteX459" fmla="*/ 5749328 w 6942639"/>
                <a:gd name="connsiteY459" fmla="*/ 8890728 h 9250612"/>
                <a:gd name="connsiteX460" fmla="*/ 5580586 w 6942639"/>
                <a:gd name="connsiteY460" fmla="*/ 8890728 h 9250612"/>
                <a:gd name="connsiteX461" fmla="*/ 5589547 w 6942639"/>
                <a:gd name="connsiteY461" fmla="*/ 8899688 h 9250612"/>
                <a:gd name="connsiteX462" fmla="*/ 5580586 w 6942639"/>
                <a:gd name="connsiteY462" fmla="*/ 8908649 h 9250612"/>
                <a:gd name="connsiteX463" fmla="*/ 5571626 w 6942639"/>
                <a:gd name="connsiteY463" fmla="*/ 8899688 h 9250612"/>
                <a:gd name="connsiteX464" fmla="*/ 5580586 w 6942639"/>
                <a:gd name="connsiteY464" fmla="*/ 8890728 h 9250612"/>
                <a:gd name="connsiteX465" fmla="*/ 5411845 w 6942639"/>
                <a:gd name="connsiteY465" fmla="*/ 8890728 h 9250612"/>
                <a:gd name="connsiteX466" fmla="*/ 5420806 w 6942639"/>
                <a:gd name="connsiteY466" fmla="*/ 8899688 h 9250612"/>
                <a:gd name="connsiteX467" fmla="*/ 5411845 w 6942639"/>
                <a:gd name="connsiteY467" fmla="*/ 8908649 h 9250612"/>
                <a:gd name="connsiteX468" fmla="*/ 5402885 w 6942639"/>
                <a:gd name="connsiteY468" fmla="*/ 8899688 h 9250612"/>
                <a:gd name="connsiteX469" fmla="*/ 5411845 w 6942639"/>
                <a:gd name="connsiteY469" fmla="*/ 8890728 h 9250612"/>
                <a:gd name="connsiteX470" fmla="*/ 5243103 w 6942639"/>
                <a:gd name="connsiteY470" fmla="*/ 8890728 h 9250612"/>
                <a:gd name="connsiteX471" fmla="*/ 5252064 w 6942639"/>
                <a:gd name="connsiteY471" fmla="*/ 8899688 h 9250612"/>
                <a:gd name="connsiteX472" fmla="*/ 5243103 w 6942639"/>
                <a:gd name="connsiteY472" fmla="*/ 8908649 h 9250612"/>
                <a:gd name="connsiteX473" fmla="*/ 5234143 w 6942639"/>
                <a:gd name="connsiteY473" fmla="*/ 8899688 h 9250612"/>
                <a:gd name="connsiteX474" fmla="*/ 5243103 w 6942639"/>
                <a:gd name="connsiteY474" fmla="*/ 8890728 h 9250612"/>
                <a:gd name="connsiteX475" fmla="*/ 5074362 w 6942639"/>
                <a:gd name="connsiteY475" fmla="*/ 8890728 h 9250612"/>
                <a:gd name="connsiteX476" fmla="*/ 5083323 w 6942639"/>
                <a:gd name="connsiteY476" fmla="*/ 8899688 h 9250612"/>
                <a:gd name="connsiteX477" fmla="*/ 5074362 w 6942639"/>
                <a:gd name="connsiteY477" fmla="*/ 8908649 h 9250612"/>
                <a:gd name="connsiteX478" fmla="*/ 5065402 w 6942639"/>
                <a:gd name="connsiteY478" fmla="*/ 8899688 h 9250612"/>
                <a:gd name="connsiteX479" fmla="*/ 5074362 w 6942639"/>
                <a:gd name="connsiteY479" fmla="*/ 8890728 h 9250612"/>
                <a:gd name="connsiteX480" fmla="*/ 4905620 w 6942639"/>
                <a:gd name="connsiteY480" fmla="*/ 8890728 h 9250612"/>
                <a:gd name="connsiteX481" fmla="*/ 4914581 w 6942639"/>
                <a:gd name="connsiteY481" fmla="*/ 8899688 h 9250612"/>
                <a:gd name="connsiteX482" fmla="*/ 4905620 w 6942639"/>
                <a:gd name="connsiteY482" fmla="*/ 8908649 h 9250612"/>
                <a:gd name="connsiteX483" fmla="*/ 4896660 w 6942639"/>
                <a:gd name="connsiteY483" fmla="*/ 8899688 h 9250612"/>
                <a:gd name="connsiteX484" fmla="*/ 4905620 w 6942639"/>
                <a:gd name="connsiteY484" fmla="*/ 8890728 h 9250612"/>
                <a:gd name="connsiteX485" fmla="*/ 4736878 w 6942639"/>
                <a:gd name="connsiteY485" fmla="*/ 8890728 h 9250612"/>
                <a:gd name="connsiteX486" fmla="*/ 4745839 w 6942639"/>
                <a:gd name="connsiteY486" fmla="*/ 8899688 h 9250612"/>
                <a:gd name="connsiteX487" fmla="*/ 4736878 w 6942639"/>
                <a:gd name="connsiteY487" fmla="*/ 8908649 h 9250612"/>
                <a:gd name="connsiteX488" fmla="*/ 4727918 w 6942639"/>
                <a:gd name="connsiteY488" fmla="*/ 8899688 h 9250612"/>
                <a:gd name="connsiteX489" fmla="*/ 4736878 w 6942639"/>
                <a:gd name="connsiteY489" fmla="*/ 8890728 h 9250612"/>
                <a:gd name="connsiteX490" fmla="*/ 4568137 w 6942639"/>
                <a:gd name="connsiteY490" fmla="*/ 8890728 h 9250612"/>
                <a:gd name="connsiteX491" fmla="*/ 4577098 w 6942639"/>
                <a:gd name="connsiteY491" fmla="*/ 8899688 h 9250612"/>
                <a:gd name="connsiteX492" fmla="*/ 4568137 w 6942639"/>
                <a:gd name="connsiteY492" fmla="*/ 8908649 h 9250612"/>
                <a:gd name="connsiteX493" fmla="*/ 4559177 w 6942639"/>
                <a:gd name="connsiteY493" fmla="*/ 8899688 h 9250612"/>
                <a:gd name="connsiteX494" fmla="*/ 4568137 w 6942639"/>
                <a:gd name="connsiteY494" fmla="*/ 8890728 h 9250612"/>
                <a:gd name="connsiteX495" fmla="*/ 4399396 w 6942639"/>
                <a:gd name="connsiteY495" fmla="*/ 8890728 h 9250612"/>
                <a:gd name="connsiteX496" fmla="*/ 4408357 w 6942639"/>
                <a:gd name="connsiteY496" fmla="*/ 8899688 h 9250612"/>
                <a:gd name="connsiteX497" fmla="*/ 4399396 w 6942639"/>
                <a:gd name="connsiteY497" fmla="*/ 8908649 h 9250612"/>
                <a:gd name="connsiteX498" fmla="*/ 4390436 w 6942639"/>
                <a:gd name="connsiteY498" fmla="*/ 8899688 h 9250612"/>
                <a:gd name="connsiteX499" fmla="*/ 4399396 w 6942639"/>
                <a:gd name="connsiteY499" fmla="*/ 8890728 h 9250612"/>
                <a:gd name="connsiteX500" fmla="*/ 4230654 w 6942639"/>
                <a:gd name="connsiteY500" fmla="*/ 8890728 h 9250612"/>
                <a:gd name="connsiteX501" fmla="*/ 4239615 w 6942639"/>
                <a:gd name="connsiteY501" fmla="*/ 8899688 h 9250612"/>
                <a:gd name="connsiteX502" fmla="*/ 4230654 w 6942639"/>
                <a:gd name="connsiteY502" fmla="*/ 8908649 h 9250612"/>
                <a:gd name="connsiteX503" fmla="*/ 4221694 w 6942639"/>
                <a:gd name="connsiteY503" fmla="*/ 8899688 h 9250612"/>
                <a:gd name="connsiteX504" fmla="*/ 4230654 w 6942639"/>
                <a:gd name="connsiteY504" fmla="*/ 8890728 h 9250612"/>
                <a:gd name="connsiteX505" fmla="*/ 4061912 w 6942639"/>
                <a:gd name="connsiteY505" fmla="*/ 8890728 h 9250612"/>
                <a:gd name="connsiteX506" fmla="*/ 4070873 w 6942639"/>
                <a:gd name="connsiteY506" fmla="*/ 8899688 h 9250612"/>
                <a:gd name="connsiteX507" fmla="*/ 4061912 w 6942639"/>
                <a:gd name="connsiteY507" fmla="*/ 8908649 h 9250612"/>
                <a:gd name="connsiteX508" fmla="*/ 4052952 w 6942639"/>
                <a:gd name="connsiteY508" fmla="*/ 8899688 h 9250612"/>
                <a:gd name="connsiteX509" fmla="*/ 4061912 w 6942639"/>
                <a:gd name="connsiteY509" fmla="*/ 8890728 h 9250612"/>
                <a:gd name="connsiteX510" fmla="*/ 3893170 w 6942639"/>
                <a:gd name="connsiteY510" fmla="*/ 8890728 h 9250612"/>
                <a:gd name="connsiteX511" fmla="*/ 3902131 w 6942639"/>
                <a:gd name="connsiteY511" fmla="*/ 8899688 h 9250612"/>
                <a:gd name="connsiteX512" fmla="*/ 3893170 w 6942639"/>
                <a:gd name="connsiteY512" fmla="*/ 8908649 h 9250612"/>
                <a:gd name="connsiteX513" fmla="*/ 3884210 w 6942639"/>
                <a:gd name="connsiteY513" fmla="*/ 8899688 h 9250612"/>
                <a:gd name="connsiteX514" fmla="*/ 3893170 w 6942639"/>
                <a:gd name="connsiteY514" fmla="*/ 8890728 h 9250612"/>
                <a:gd name="connsiteX515" fmla="*/ 3724429 w 6942639"/>
                <a:gd name="connsiteY515" fmla="*/ 8890728 h 9250612"/>
                <a:gd name="connsiteX516" fmla="*/ 3733390 w 6942639"/>
                <a:gd name="connsiteY516" fmla="*/ 8899688 h 9250612"/>
                <a:gd name="connsiteX517" fmla="*/ 3724429 w 6942639"/>
                <a:gd name="connsiteY517" fmla="*/ 8908649 h 9250612"/>
                <a:gd name="connsiteX518" fmla="*/ 3715469 w 6942639"/>
                <a:gd name="connsiteY518" fmla="*/ 8899688 h 9250612"/>
                <a:gd name="connsiteX519" fmla="*/ 3724429 w 6942639"/>
                <a:gd name="connsiteY519" fmla="*/ 8890728 h 9250612"/>
                <a:gd name="connsiteX520" fmla="*/ 3555688 w 6942639"/>
                <a:gd name="connsiteY520" fmla="*/ 8890728 h 9250612"/>
                <a:gd name="connsiteX521" fmla="*/ 3564649 w 6942639"/>
                <a:gd name="connsiteY521" fmla="*/ 8899688 h 9250612"/>
                <a:gd name="connsiteX522" fmla="*/ 3555688 w 6942639"/>
                <a:gd name="connsiteY522" fmla="*/ 8908649 h 9250612"/>
                <a:gd name="connsiteX523" fmla="*/ 3546728 w 6942639"/>
                <a:gd name="connsiteY523" fmla="*/ 8899688 h 9250612"/>
                <a:gd name="connsiteX524" fmla="*/ 3555688 w 6942639"/>
                <a:gd name="connsiteY524" fmla="*/ 8890728 h 9250612"/>
                <a:gd name="connsiteX525" fmla="*/ 3386954 w 6942639"/>
                <a:gd name="connsiteY525" fmla="*/ 8890728 h 9250612"/>
                <a:gd name="connsiteX526" fmla="*/ 3395915 w 6942639"/>
                <a:gd name="connsiteY526" fmla="*/ 8899688 h 9250612"/>
                <a:gd name="connsiteX527" fmla="*/ 3386954 w 6942639"/>
                <a:gd name="connsiteY527" fmla="*/ 8908649 h 9250612"/>
                <a:gd name="connsiteX528" fmla="*/ 3377990 w 6942639"/>
                <a:gd name="connsiteY528" fmla="*/ 8899688 h 9250612"/>
                <a:gd name="connsiteX529" fmla="*/ 3386954 w 6942639"/>
                <a:gd name="connsiteY529" fmla="*/ 8890728 h 9250612"/>
                <a:gd name="connsiteX530" fmla="*/ 3218212 w 6942639"/>
                <a:gd name="connsiteY530" fmla="*/ 8890728 h 9250612"/>
                <a:gd name="connsiteX531" fmla="*/ 3227171 w 6942639"/>
                <a:gd name="connsiteY531" fmla="*/ 8899688 h 9250612"/>
                <a:gd name="connsiteX532" fmla="*/ 3218212 w 6942639"/>
                <a:gd name="connsiteY532" fmla="*/ 8908649 h 9250612"/>
                <a:gd name="connsiteX533" fmla="*/ 3209252 w 6942639"/>
                <a:gd name="connsiteY533" fmla="*/ 8899688 h 9250612"/>
                <a:gd name="connsiteX534" fmla="*/ 3218212 w 6942639"/>
                <a:gd name="connsiteY534" fmla="*/ 8890728 h 9250612"/>
                <a:gd name="connsiteX535" fmla="*/ 3049475 w 6942639"/>
                <a:gd name="connsiteY535" fmla="*/ 8890728 h 9250612"/>
                <a:gd name="connsiteX536" fmla="*/ 3058433 w 6942639"/>
                <a:gd name="connsiteY536" fmla="*/ 8899688 h 9250612"/>
                <a:gd name="connsiteX537" fmla="*/ 3049475 w 6942639"/>
                <a:gd name="connsiteY537" fmla="*/ 8908649 h 9250612"/>
                <a:gd name="connsiteX538" fmla="*/ 3040511 w 6942639"/>
                <a:gd name="connsiteY538" fmla="*/ 8899688 h 9250612"/>
                <a:gd name="connsiteX539" fmla="*/ 3049475 w 6942639"/>
                <a:gd name="connsiteY539" fmla="*/ 8890728 h 9250612"/>
                <a:gd name="connsiteX540" fmla="*/ 2880732 w 6942639"/>
                <a:gd name="connsiteY540" fmla="*/ 8890728 h 9250612"/>
                <a:gd name="connsiteX541" fmla="*/ 2889693 w 6942639"/>
                <a:gd name="connsiteY541" fmla="*/ 8899688 h 9250612"/>
                <a:gd name="connsiteX542" fmla="*/ 2880732 w 6942639"/>
                <a:gd name="connsiteY542" fmla="*/ 8908649 h 9250612"/>
                <a:gd name="connsiteX543" fmla="*/ 2871772 w 6942639"/>
                <a:gd name="connsiteY543" fmla="*/ 8899688 h 9250612"/>
                <a:gd name="connsiteX544" fmla="*/ 2880732 w 6942639"/>
                <a:gd name="connsiteY544" fmla="*/ 8890728 h 9250612"/>
                <a:gd name="connsiteX545" fmla="*/ 2711990 w 6942639"/>
                <a:gd name="connsiteY545" fmla="*/ 8890728 h 9250612"/>
                <a:gd name="connsiteX546" fmla="*/ 2720952 w 6942639"/>
                <a:gd name="connsiteY546" fmla="*/ 8899688 h 9250612"/>
                <a:gd name="connsiteX547" fmla="*/ 2711990 w 6942639"/>
                <a:gd name="connsiteY547" fmla="*/ 8908649 h 9250612"/>
                <a:gd name="connsiteX548" fmla="*/ 2703031 w 6942639"/>
                <a:gd name="connsiteY548" fmla="*/ 8899688 h 9250612"/>
                <a:gd name="connsiteX549" fmla="*/ 2711990 w 6942639"/>
                <a:gd name="connsiteY549" fmla="*/ 8890728 h 9250612"/>
                <a:gd name="connsiteX550" fmla="*/ 2543250 w 6942639"/>
                <a:gd name="connsiteY550" fmla="*/ 8890728 h 9250612"/>
                <a:gd name="connsiteX551" fmla="*/ 2552210 w 6942639"/>
                <a:gd name="connsiteY551" fmla="*/ 8899688 h 9250612"/>
                <a:gd name="connsiteX552" fmla="*/ 2543250 w 6942639"/>
                <a:gd name="connsiteY552" fmla="*/ 8908649 h 9250612"/>
                <a:gd name="connsiteX553" fmla="*/ 2534290 w 6942639"/>
                <a:gd name="connsiteY553" fmla="*/ 8899688 h 9250612"/>
                <a:gd name="connsiteX554" fmla="*/ 2543250 w 6942639"/>
                <a:gd name="connsiteY554" fmla="*/ 8890728 h 9250612"/>
                <a:gd name="connsiteX555" fmla="*/ 2374506 w 6942639"/>
                <a:gd name="connsiteY555" fmla="*/ 8890728 h 9250612"/>
                <a:gd name="connsiteX556" fmla="*/ 2383470 w 6942639"/>
                <a:gd name="connsiteY556" fmla="*/ 8899688 h 9250612"/>
                <a:gd name="connsiteX557" fmla="*/ 2374506 w 6942639"/>
                <a:gd name="connsiteY557" fmla="*/ 8908649 h 9250612"/>
                <a:gd name="connsiteX558" fmla="*/ 2365545 w 6942639"/>
                <a:gd name="connsiteY558" fmla="*/ 8899688 h 9250612"/>
                <a:gd name="connsiteX559" fmla="*/ 2374506 w 6942639"/>
                <a:gd name="connsiteY559" fmla="*/ 8890728 h 9250612"/>
                <a:gd name="connsiteX560" fmla="*/ 2205766 w 6942639"/>
                <a:gd name="connsiteY560" fmla="*/ 8890728 h 9250612"/>
                <a:gd name="connsiteX561" fmla="*/ 2214728 w 6942639"/>
                <a:gd name="connsiteY561" fmla="*/ 8899688 h 9250612"/>
                <a:gd name="connsiteX562" fmla="*/ 2205766 w 6942639"/>
                <a:gd name="connsiteY562" fmla="*/ 8908649 h 9250612"/>
                <a:gd name="connsiteX563" fmla="*/ 2196807 w 6942639"/>
                <a:gd name="connsiteY563" fmla="*/ 8899688 h 9250612"/>
                <a:gd name="connsiteX564" fmla="*/ 2205766 w 6942639"/>
                <a:gd name="connsiteY564" fmla="*/ 8890728 h 9250612"/>
                <a:gd name="connsiteX565" fmla="*/ 2037025 w 6942639"/>
                <a:gd name="connsiteY565" fmla="*/ 8890728 h 9250612"/>
                <a:gd name="connsiteX566" fmla="*/ 2045986 w 6942639"/>
                <a:gd name="connsiteY566" fmla="*/ 8899688 h 9250612"/>
                <a:gd name="connsiteX567" fmla="*/ 2037025 w 6942639"/>
                <a:gd name="connsiteY567" fmla="*/ 8908649 h 9250612"/>
                <a:gd name="connsiteX568" fmla="*/ 2028066 w 6942639"/>
                <a:gd name="connsiteY568" fmla="*/ 8899688 h 9250612"/>
                <a:gd name="connsiteX569" fmla="*/ 2037025 w 6942639"/>
                <a:gd name="connsiteY569" fmla="*/ 8890728 h 9250612"/>
                <a:gd name="connsiteX570" fmla="*/ 1868286 w 6942639"/>
                <a:gd name="connsiteY570" fmla="*/ 8890728 h 9250612"/>
                <a:gd name="connsiteX571" fmla="*/ 1877245 w 6942639"/>
                <a:gd name="connsiteY571" fmla="*/ 8899688 h 9250612"/>
                <a:gd name="connsiteX572" fmla="*/ 1868286 w 6942639"/>
                <a:gd name="connsiteY572" fmla="*/ 8908649 h 9250612"/>
                <a:gd name="connsiteX573" fmla="*/ 1859324 w 6942639"/>
                <a:gd name="connsiteY573" fmla="*/ 8899688 h 9250612"/>
                <a:gd name="connsiteX574" fmla="*/ 1868286 w 6942639"/>
                <a:gd name="connsiteY574" fmla="*/ 8890728 h 9250612"/>
                <a:gd name="connsiteX575" fmla="*/ 1699545 w 6942639"/>
                <a:gd name="connsiteY575" fmla="*/ 8890728 h 9250612"/>
                <a:gd name="connsiteX576" fmla="*/ 1708505 w 6942639"/>
                <a:gd name="connsiteY576" fmla="*/ 8899688 h 9250612"/>
                <a:gd name="connsiteX577" fmla="*/ 1699545 w 6942639"/>
                <a:gd name="connsiteY577" fmla="*/ 8908649 h 9250612"/>
                <a:gd name="connsiteX578" fmla="*/ 1690584 w 6942639"/>
                <a:gd name="connsiteY578" fmla="*/ 8899688 h 9250612"/>
                <a:gd name="connsiteX579" fmla="*/ 1699545 w 6942639"/>
                <a:gd name="connsiteY579" fmla="*/ 8890728 h 9250612"/>
                <a:gd name="connsiteX580" fmla="*/ 1530803 w 6942639"/>
                <a:gd name="connsiteY580" fmla="*/ 8890728 h 9250612"/>
                <a:gd name="connsiteX581" fmla="*/ 1539763 w 6942639"/>
                <a:gd name="connsiteY581" fmla="*/ 8899688 h 9250612"/>
                <a:gd name="connsiteX582" fmla="*/ 1530803 w 6942639"/>
                <a:gd name="connsiteY582" fmla="*/ 8908649 h 9250612"/>
                <a:gd name="connsiteX583" fmla="*/ 1521842 w 6942639"/>
                <a:gd name="connsiteY583" fmla="*/ 8899688 h 9250612"/>
                <a:gd name="connsiteX584" fmla="*/ 1530803 w 6942639"/>
                <a:gd name="connsiteY584" fmla="*/ 8890728 h 9250612"/>
                <a:gd name="connsiteX585" fmla="*/ 1362060 w 6942639"/>
                <a:gd name="connsiteY585" fmla="*/ 8890728 h 9250612"/>
                <a:gd name="connsiteX586" fmla="*/ 1371020 w 6942639"/>
                <a:gd name="connsiteY586" fmla="*/ 8899688 h 9250612"/>
                <a:gd name="connsiteX587" fmla="*/ 1362060 w 6942639"/>
                <a:gd name="connsiteY587" fmla="*/ 8908649 h 9250612"/>
                <a:gd name="connsiteX588" fmla="*/ 1353099 w 6942639"/>
                <a:gd name="connsiteY588" fmla="*/ 8899688 h 9250612"/>
                <a:gd name="connsiteX589" fmla="*/ 1362060 w 6942639"/>
                <a:gd name="connsiteY589" fmla="*/ 8890728 h 9250612"/>
                <a:gd name="connsiteX590" fmla="*/ 1193319 w 6942639"/>
                <a:gd name="connsiteY590" fmla="*/ 8890728 h 9250612"/>
                <a:gd name="connsiteX591" fmla="*/ 1202279 w 6942639"/>
                <a:gd name="connsiteY591" fmla="*/ 8899688 h 9250612"/>
                <a:gd name="connsiteX592" fmla="*/ 1193319 w 6942639"/>
                <a:gd name="connsiteY592" fmla="*/ 8908649 h 9250612"/>
                <a:gd name="connsiteX593" fmla="*/ 1184359 w 6942639"/>
                <a:gd name="connsiteY593" fmla="*/ 8899688 h 9250612"/>
                <a:gd name="connsiteX594" fmla="*/ 1193319 w 6942639"/>
                <a:gd name="connsiteY594" fmla="*/ 8890728 h 9250612"/>
                <a:gd name="connsiteX595" fmla="*/ 1024577 w 6942639"/>
                <a:gd name="connsiteY595" fmla="*/ 8890728 h 9250612"/>
                <a:gd name="connsiteX596" fmla="*/ 1033538 w 6942639"/>
                <a:gd name="connsiteY596" fmla="*/ 8899688 h 9250612"/>
                <a:gd name="connsiteX597" fmla="*/ 1024577 w 6942639"/>
                <a:gd name="connsiteY597" fmla="*/ 8908649 h 9250612"/>
                <a:gd name="connsiteX598" fmla="*/ 1015617 w 6942639"/>
                <a:gd name="connsiteY598" fmla="*/ 8899688 h 9250612"/>
                <a:gd name="connsiteX599" fmla="*/ 1024577 w 6942639"/>
                <a:gd name="connsiteY599" fmla="*/ 8890728 h 9250612"/>
                <a:gd name="connsiteX600" fmla="*/ 855837 w 6942639"/>
                <a:gd name="connsiteY600" fmla="*/ 8890728 h 9250612"/>
                <a:gd name="connsiteX601" fmla="*/ 864797 w 6942639"/>
                <a:gd name="connsiteY601" fmla="*/ 8899688 h 9250612"/>
                <a:gd name="connsiteX602" fmla="*/ 855837 w 6942639"/>
                <a:gd name="connsiteY602" fmla="*/ 8908649 h 9250612"/>
                <a:gd name="connsiteX603" fmla="*/ 846876 w 6942639"/>
                <a:gd name="connsiteY603" fmla="*/ 8899688 h 9250612"/>
                <a:gd name="connsiteX604" fmla="*/ 855837 w 6942639"/>
                <a:gd name="connsiteY604" fmla="*/ 8890728 h 9250612"/>
                <a:gd name="connsiteX605" fmla="*/ 687095 w 6942639"/>
                <a:gd name="connsiteY605" fmla="*/ 8890728 h 9250612"/>
                <a:gd name="connsiteX606" fmla="*/ 696055 w 6942639"/>
                <a:gd name="connsiteY606" fmla="*/ 8899688 h 9250612"/>
                <a:gd name="connsiteX607" fmla="*/ 687095 w 6942639"/>
                <a:gd name="connsiteY607" fmla="*/ 8908649 h 9250612"/>
                <a:gd name="connsiteX608" fmla="*/ 678134 w 6942639"/>
                <a:gd name="connsiteY608" fmla="*/ 8899688 h 9250612"/>
                <a:gd name="connsiteX609" fmla="*/ 687095 w 6942639"/>
                <a:gd name="connsiteY609" fmla="*/ 8890728 h 9250612"/>
                <a:gd name="connsiteX610" fmla="*/ 518351 w 6942639"/>
                <a:gd name="connsiteY610" fmla="*/ 8890728 h 9250612"/>
                <a:gd name="connsiteX611" fmla="*/ 527311 w 6942639"/>
                <a:gd name="connsiteY611" fmla="*/ 8899688 h 9250612"/>
                <a:gd name="connsiteX612" fmla="*/ 518351 w 6942639"/>
                <a:gd name="connsiteY612" fmla="*/ 8908649 h 9250612"/>
                <a:gd name="connsiteX613" fmla="*/ 509390 w 6942639"/>
                <a:gd name="connsiteY613" fmla="*/ 8899688 h 9250612"/>
                <a:gd name="connsiteX614" fmla="*/ 518351 w 6942639"/>
                <a:gd name="connsiteY614" fmla="*/ 8890728 h 9250612"/>
                <a:gd name="connsiteX615" fmla="*/ 349610 w 6942639"/>
                <a:gd name="connsiteY615" fmla="*/ 8890728 h 9250612"/>
                <a:gd name="connsiteX616" fmla="*/ 358571 w 6942639"/>
                <a:gd name="connsiteY616" fmla="*/ 8899688 h 9250612"/>
                <a:gd name="connsiteX617" fmla="*/ 349610 w 6942639"/>
                <a:gd name="connsiteY617" fmla="*/ 8908649 h 9250612"/>
                <a:gd name="connsiteX618" fmla="*/ 340650 w 6942639"/>
                <a:gd name="connsiteY618" fmla="*/ 8899688 h 9250612"/>
                <a:gd name="connsiteX619" fmla="*/ 349610 w 6942639"/>
                <a:gd name="connsiteY619" fmla="*/ 8890728 h 9250612"/>
                <a:gd name="connsiteX620" fmla="*/ 179289 w 6942639"/>
                <a:gd name="connsiteY620" fmla="*/ 8890728 h 9250612"/>
                <a:gd name="connsiteX621" fmla="*/ 188250 w 6942639"/>
                <a:gd name="connsiteY621" fmla="*/ 8899688 h 9250612"/>
                <a:gd name="connsiteX622" fmla="*/ 179289 w 6942639"/>
                <a:gd name="connsiteY622" fmla="*/ 8908649 h 9250612"/>
                <a:gd name="connsiteX623" fmla="*/ 170329 w 6942639"/>
                <a:gd name="connsiteY623" fmla="*/ 8899688 h 9250612"/>
                <a:gd name="connsiteX624" fmla="*/ 179289 w 6942639"/>
                <a:gd name="connsiteY624" fmla="*/ 8890728 h 9250612"/>
                <a:gd name="connsiteX625" fmla="*/ 8969 w 6942639"/>
                <a:gd name="connsiteY625" fmla="*/ 8890728 h 9250612"/>
                <a:gd name="connsiteX626" fmla="*/ 17929 w 6942639"/>
                <a:gd name="connsiteY626" fmla="*/ 8899688 h 9250612"/>
                <a:gd name="connsiteX627" fmla="*/ 8969 w 6942639"/>
                <a:gd name="connsiteY627" fmla="*/ 8908649 h 9250612"/>
                <a:gd name="connsiteX628" fmla="*/ 8 w 6942639"/>
                <a:gd name="connsiteY628" fmla="*/ 8899688 h 9250612"/>
                <a:gd name="connsiteX629" fmla="*/ 8969 w 6942639"/>
                <a:gd name="connsiteY629" fmla="*/ 8890728 h 9250612"/>
                <a:gd name="connsiteX630" fmla="*/ 6933679 w 6942639"/>
                <a:gd name="connsiteY630" fmla="*/ 8719747 h 9250612"/>
                <a:gd name="connsiteX631" fmla="*/ 6942639 w 6942639"/>
                <a:gd name="connsiteY631" fmla="*/ 8728708 h 9250612"/>
                <a:gd name="connsiteX632" fmla="*/ 6933679 w 6942639"/>
                <a:gd name="connsiteY632" fmla="*/ 8737668 h 9250612"/>
                <a:gd name="connsiteX633" fmla="*/ 6924718 w 6942639"/>
                <a:gd name="connsiteY633" fmla="*/ 8728708 h 9250612"/>
                <a:gd name="connsiteX634" fmla="*/ 6933679 w 6942639"/>
                <a:gd name="connsiteY634" fmla="*/ 8719747 h 9250612"/>
                <a:gd name="connsiteX635" fmla="*/ 6763357 w 6942639"/>
                <a:gd name="connsiteY635" fmla="*/ 8719747 h 9250612"/>
                <a:gd name="connsiteX636" fmla="*/ 6772318 w 6942639"/>
                <a:gd name="connsiteY636" fmla="*/ 8728708 h 9250612"/>
                <a:gd name="connsiteX637" fmla="*/ 6763357 w 6942639"/>
                <a:gd name="connsiteY637" fmla="*/ 8737668 h 9250612"/>
                <a:gd name="connsiteX638" fmla="*/ 6754397 w 6942639"/>
                <a:gd name="connsiteY638" fmla="*/ 8728708 h 9250612"/>
                <a:gd name="connsiteX639" fmla="*/ 6763357 w 6942639"/>
                <a:gd name="connsiteY639" fmla="*/ 8719747 h 9250612"/>
                <a:gd name="connsiteX640" fmla="*/ 6593035 w 6942639"/>
                <a:gd name="connsiteY640" fmla="*/ 8719747 h 9250612"/>
                <a:gd name="connsiteX641" fmla="*/ 6601996 w 6942639"/>
                <a:gd name="connsiteY641" fmla="*/ 8728708 h 9250612"/>
                <a:gd name="connsiteX642" fmla="*/ 6593035 w 6942639"/>
                <a:gd name="connsiteY642" fmla="*/ 8737668 h 9250612"/>
                <a:gd name="connsiteX643" fmla="*/ 6584075 w 6942639"/>
                <a:gd name="connsiteY643" fmla="*/ 8728708 h 9250612"/>
                <a:gd name="connsiteX644" fmla="*/ 6593035 w 6942639"/>
                <a:gd name="connsiteY644" fmla="*/ 8719747 h 9250612"/>
                <a:gd name="connsiteX645" fmla="*/ 6424294 w 6942639"/>
                <a:gd name="connsiteY645" fmla="*/ 8719747 h 9250612"/>
                <a:gd name="connsiteX646" fmla="*/ 6433255 w 6942639"/>
                <a:gd name="connsiteY646" fmla="*/ 8728708 h 9250612"/>
                <a:gd name="connsiteX647" fmla="*/ 6424294 w 6942639"/>
                <a:gd name="connsiteY647" fmla="*/ 8737668 h 9250612"/>
                <a:gd name="connsiteX648" fmla="*/ 6415334 w 6942639"/>
                <a:gd name="connsiteY648" fmla="*/ 8728708 h 9250612"/>
                <a:gd name="connsiteX649" fmla="*/ 6424294 w 6942639"/>
                <a:gd name="connsiteY649" fmla="*/ 8719747 h 9250612"/>
                <a:gd name="connsiteX650" fmla="*/ 6255553 w 6942639"/>
                <a:gd name="connsiteY650" fmla="*/ 8719747 h 9250612"/>
                <a:gd name="connsiteX651" fmla="*/ 6264514 w 6942639"/>
                <a:gd name="connsiteY651" fmla="*/ 8728708 h 9250612"/>
                <a:gd name="connsiteX652" fmla="*/ 6255553 w 6942639"/>
                <a:gd name="connsiteY652" fmla="*/ 8737668 h 9250612"/>
                <a:gd name="connsiteX653" fmla="*/ 6246593 w 6942639"/>
                <a:gd name="connsiteY653" fmla="*/ 8728708 h 9250612"/>
                <a:gd name="connsiteX654" fmla="*/ 6255553 w 6942639"/>
                <a:gd name="connsiteY654" fmla="*/ 8719747 h 9250612"/>
                <a:gd name="connsiteX655" fmla="*/ 6086811 w 6942639"/>
                <a:gd name="connsiteY655" fmla="*/ 8719747 h 9250612"/>
                <a:gd name="connsiteX656" fmla="*/ 6095772 w 6942639"/>
                <a:gd name="connsiteY656" fmla="*/ 8728708 h 9250612"/>
                <a:gd name="connsiteX657" fmla="*/ 6086811 w 6942639"/>
                <a:gd name="connsiteY657" fmla="*/ 8737668 h 9250612"/>
                <a:gd name="connsiteX658" fmla="*/ 6077851 w 6942639"/>
                <a:gd name="connsiteY658" fmla="*/ 8728708 h 9250612"/>
                <a:gd name="connsiteX659" fmla="*/ 6086811 w 6942639"/>
                <a:gd name="connsiteY659" fmla="*/ 8719747 h 9250612"/>
                <a:gd name="connsiteX660" fmla="*/ 5918069 w 6942639"/>
                <a:gd name="connsiteY660" fmla="*/ 8719747 h 9250612"/>
                <a:gd name="connsiteX661" fmla="*/ 5927030 w 6942639"/>
                <a:gd name="connsiteY661" fmla="*/ 8728708 h 9250612"/>
                <a:gd name="connsiteX662" fmla="*/ 5918069 w 6942639"/>
                <a:gd name="connsiteY662" fmla="*/ 8737668 h 9250612"/>
                <a:gd name="connsiteX663" fmla="*/ 5909109 w 6942639"/>
                <a:gd name="connsiteY663" fmla="*/ 8728708 h 9250612"/>
                <a:gd name="connsiteX664" fmla="*/ 5918069 w 6942639"/>
                <a:gd name="connsiteY664" fmla="*/ 8719747 h 9250612"/>
                <a:gd name="connsiteX665" fmla="*/ 5749328 w 6942639"/>
                <a:gd name="connsiteY665" fmla="*/ 8719747 h 9250612"/>
                <a:gd name="connsiteX666" fmla="*/ 5758289 w 6942639"/>
                <a:gd name="connsiteY666" fmla="*/ 8728708 h 9250612"/>
                <a:gd name="connsiteX667" fmla="*/ 5749328 w 6942639"/>
                <a:gd name="connsiteY667" fmla="*/ 8737668 h 9250612"/>
                <a:gd name="connsiteX668" fmla="*/ 5740368 w 6942639"/>
                <a:gd name="connsiteY668" fmla="*/ 8728708 h 9250612"/>
                <a:gd name="connsiteX669" fmla="*/ 5749328 w 6942639"/>
                <a:gd name="connsiteY669" fmla="*/ 8719747 h 9250612"/>
                <a:gd name="connsiteX670" fmla="*/ 5580586 w 6942639"/>
                <a:gd name="connsiteY670" fmla="*/ 8719747 h 9250612"/>
                <a:gd name="connsiteX671" fmla="*/ 5589547 w 6942639"/>
                <a:gd name="connsiteY671" fmla="*/ 8728708 h 9250612"/>
                <a:gd name="connsiteX672" fmla="*/ 5580586 w 6942639"/>
                <a:gd name="connsiteY672" fmla="*/ 8737668 h 9250612"/>
                <a:gd name="connsiteX673" fmla="*/ 5571626 w 6942639"/>
                <a:gd name="connsiteY673" fmla="*/ 8728708 h 9250612"/>
                <a:gd name="connsiteX674" fmla="*/ 5580586 w 6942639"/>
                <a:gd name="connsiteY674" fmla="*/ 8719747 h 9250612"/>
                <a:gd name="connsiteX675" fmla="*/ 5411845 w 6942639"/>
                <a:gd name="connsiteY675" fmla="*/ 8719747 h 9250612"/>
                <a:gd name="connsiteX676" fmla="*/ 5420806 w 6942639"/>
                <a:gd name="connsiteY676" fmla="*/ 8728708 h 9250612"/>
                <a:gd name="connsiteX677" fmla="*/ 5411845 w 6942639"/>
                <a:gd name="connsiteY677" fmla="*/ 8737668 h 9250612"/>
                <a:gd name="connsiteX678" fmla="*/ 5402885 w 6942639"/>
                <a:gd name="connsiteY678" fmla="*/ 8728708 h 9250612"/>
                <a:gd name="connsiteX679" fmla="*/ 5411845 w 6942639"/>
                <a:gd name="connsiteY679" fmla="*/ 8719747 h 9250612"/>
                <a:gd name="connsiteX680" fmla="*/ 5243103 w 6942639"/>
                <a:gd name="connsiteY680" fmla="*/ 8719747 h 9250612"/>
                <a:gd name="connsiteX681" fmla="*/ 5252064 w 6942639"/>
                <a:gd name="connsiteY681" fmla="*/ 8728708 h 9250612"/>
                <a:gd name="connsiteX682" fmla="*/ 5243103 w 6942639"/>
                <a:gd name="connsiteY682" fmla="*/ 8737668 h 9250612"/>
                <a:gd name="connsiteX683" fmla="*/ 5234143 w 6942639"/>
                <a:gd name="connsiteY683" fmla="*/ 8728708 h 9250612"/>
                <a:gd name="connsiteX684" fmla="*/ 5243103 w 6942639"/>
                <a:gd name="connsiteY684" fmla="*/ 8719747 h 9250612"/>
                <a:gd name="connsiteX685" fmla="*/ 5074362 w 6942639"/>
                <a:gd name="connsiteY685" fmla="*/ 8719747 h 9250612"/>
                <a:gd name="connsiteX686" fmla="*/ 5083323 w 6942639"/>
                <a:gd name="connsiteY686" fmla="*/ 8728708 h 9250612"/>
                <a:gd name="connsiteX687" fmla="*/ 5074362 w 6942639"/>
                <a:gd name="connsiteY687" fmla="*/ 8737668 h 9250612"/>
                <a:gd name="connsiteX688" fmla="*/ 5065402 w 6942639"/>
                <a:gd name="connsiteY688" fmla="*/ 8728708 h 9250612"/>
                <a:gd name="connsiteX689" fmla="*/ 5074362 w 6942639"/>
                <a:gd name="connsiteY689" fmla="*/ 8719747 h 9250612"/>
                <a:gd name="connsiteX690" fmla="*/ 4905620 w 6942639"/>
                <a:gd name="connsiteY690" fmla="*/ 8719747 h 9250612"/>
                <a:gd name="connsiteX691" fmla="*/ 4914581 w 6942639"/>
                <a:gd name="connsiteY691" fmla="*/ 8728708 h 9250612"/>
                <a:gd name="connsiteX692" fmla="*/ 4905620 w 6942639"/>
                <a:gd name="connsiteY692" fmla="*/ 8737668 h 9250612"/>
                <a:gd name="connsiteX693" fmla="*/ 4896660 w 6942639"/>
                <a:gd name="connsiteY693" fmla="*/ 8728708 h 9250612"/>
                <a:gd name="connsiteX694" fmla="*/ 4905620 w 6942639"/>
                <a:gd name="connsiteY694" fmla="*/ 8719747 h 9250612"/>
                <a:gd name="connsiteX695" fmla="*/ 4736878 w 6942639"/>
                <a:gd name="connsiteY695" fmla="*/ 8719747 h 9250612"/>
                <a:gd name="connsiteX696" fmla="*/ 4745839 w 6942639"/>
                <a:gd name="connsiteY696" fmla="*/ 8728708 h 9250612"/>
                <a:gd name="connsiteX697" fmla="*/ 4736878 w 6942639"/>
                <a:gd name="connsiteY697" fmla="*/ 8737668 h 9250612"/>
                <a:gd name="connsiteX698" fmla="*/ 4727918 w 6942639"/>
                <a:gd name="connsiteY698" fmla="*/ 8728708 h 9250612"/>
                <a:gd name="connsiteX699" fmla="*/ 4736878 w 6942639"/>
                <a:gd name="connsiteY699" fmla="*/ 8719747 h 9250612"/>
                <a:gd name="connsiteX700" fmla="*/ 4568137 w 6942639"/>
                <a:gd name="connsiteY700" fmla="*/ 8719747 h 9250612"/>
                <a:gd name="connsiteX701" fmla="*/ 4577098 w 6942639"/>
                <a:gd name="connsiteY701" fmla="*/ 8728708 h 9250612"/>
                <a:gd name="connsiteX702" fmla="*/ 4568137 w 6942639"/>
                <a:gd name="connsiteY702" fmla="*/ 8737668 h 9250612"/>
                <a:gd name="connsiteX703" fmla="*/ 4559177 w 6942639"/>
                <a:gd name="connsiteY703" fmla="*/ 8728708 h 9250612"/>
                <a:gd name="connsiteX704" fmla="*/ 4568137 w 6942639"/>
                <a:gd name="connsiteY704" fmla="*/ 8719747 h 9250612"/>
                <a:gd name="connsiteX705" fmla="*/ 4399396 w 6942639"/>
                <a:gd name="connsiteY705" fmla="*/ 8719747 h 9250612"/>
                <a:gd name="connsiteX706" fmla="*/ 4408357 w 6942639"/>
                <a:gd name="connsiteY706" fmla="*/ 8728708 h 9250612"/>
                <a:gd name="connsiteX707" fmla="*/ 4399396 w 6942639"/>
                <a:gd name="connsiteY707" fmla="*/ 8737668 h 9250612"/>
                <a:gd name="connsiteX708" fmla="*/ 4390436 w 6942639"/>
                <a:gd name="connsiteY708" fmla="*/ 8728708 h 9250612"/>
                <a:gd name="connsiteX709" fmla="*/ 4399396 w 6942639"/>
                <a:gd name="connsiteY709" fmla="*/ 8719747 h 9250612"/>
                <a:gd name="connsiteX710" fmla="*/ 4230654 w 6942639"/>
                <a:gd name="connsiteY710" fmla="*/ 8719747 h 9250612"/>
                <a:gd name="connsiteX711" fmla="*/ 4239615 w 6942639"/>
                <a:gd name="connsiteY711" fmla="*/ 8728708 h 9250612"/>
                <a:gd name="connsiteX712" fmla="*/ 4230654 w 6942639"/>
                <a:gd name="connsiteY712" fmla="*/ 8737668 h 9250612"/>
                <a:gd name="connsiteX713" fmla="*/ 4221694 w 6942639"/>
                <a:gd name="connsiteY713" fmla="*/ 8728708 h 9250612"/>
                <a:gd name="connsiteX714" fmla="*/ 4230654 w 6942639"/>
                <a:gd name="connsiteY714" fmla="*/ 8719747 h 9250612"/>
                <a:gd name="connsiteX715" fmla="*/ 4061912 w 6942639"/>
                <a:gd name="connsiteY715" fmla="*/ 8719747 h 9250612"/>
                <a:gd name="connsiteX716" fmla="*/ 4070873 w 6942639"/>
                <a:gd name="connsiteY716" fmla="*/ 8728708 h 9250612"/>
                <a:gd name="connsiteX717" fmla="*/ 4061912 w 6942639"/>
                <a:gd name="connsiteY717" fmla="*/ 8737668 h 9250612"/>
                <a:gd name="connsiteX718" fmla="*/ 4052952 w 6942639"/>
                <a:gd name="connsiteY718" fmla="*/ 8728708 h 9250612"/>
                <a:gd name="connsiteX719" fmla="*/ 4061912 w 6942639"/>
                <a:gd name="connsiteY719" fmla="*/ 8719747 h 9250612"/>
                <a:gd name="connsiteX720" fmla="*/ 3893170 w 6942639"/>
                <a:gd name="connsiteY720" fmla="*/ 8719747 h 9250612"/>
                <a:gd name="connsiteX721" fmla="*/ 3902131 w 6942639"/>
                <a:gd name="connsiteY721" fmla="*/ 8728708 h 9250612"/>
                <a:gd name="connsiteX722" fmla="*/ 3893170 w 6942639"/>
                <a:gd name="connsiteY722" fmla="*/ 8737668 h 9250612"/>
                <a:gd name="connsiteX723" fmla="*/ 3884210 w 6942639"/>
                <a:gd name="connsiteY723" fmla="*/ 8728708 h 9250612"/>
                <a:gd name="connsiteX724" fmla="*/ 3893170 w 6942639"/>
                <a:gd name="connsiteY724" fmla="*/ 8719747 h 9250612"/>
                <a:gd name="connsiteX725" fmla="*/ 3724429 w 6942639"/>
                <a:gd name="connsiteY725" fmla="*/ 8719747 h 9250612"/>
                <a:gd name="connsiteX726" fmla="*/ 3733390 w 6942639"/>
                <a:gd name="connsiteY726" fmla="*/ 8728708 h 9250612"/>
                <a:gd name="connsiteX727" fmla="*/ 3724429 w 6942639"/>
                <a:gd name="connsiteY727" fmla="*/ 8737668 h 9250612"/>
                <a:gd name="connsiteX728" fmla="*/ 3715469 w 6942639"/>
                <a:gd name="connsiteY728" fmla="*/ 8728708 h 9250612"/>
                <a:gd name="connsiteX729" fmla="*/ 3724429 w 6942639"/>
                <a:gd name="connsiteY729" fmla="*/ 8719747 h 9250612"/>
                <a:gd name="connsiteX730" fmla="*/ 3555688 w 6942639"/>
                <a:gd name="connsiteY730" fmla="*/ 8719747 h 9250612"/>
                <a:gd name="connsiteX731" fmla="*/ 3564649 w 6942639"/>
                <a:gd name="connsiteY731" fmla="*/ 8728708 h 9250612"/>
                <a:gd name="connsiteX732" fmla="*/ 3555688 w 6942639"/>
                <a:gd name="connsiteY732" fmla="*/ 8737668 h 9250612"/>
                <a:gd name="connsiteX733" fmla="*/ 3546728 w 6942639"/>
                <a:gd name="connsiteY733" fmla="*/ 8728708 h 9250612"/>
                <a:gd name="connsiteX734" fmla="*/ 3555688 w 6942639"/>
                <a:gd name="connsiteY734" fmla="*/ 8719747 h 9250612"/>
                <a:gd name="connsiteX735" fmla="*/ 3386957 w 6942639"/>
                <a:gd name="connsiteY735" fmla="*/ 8719747 h 9250612"/>
                <a:gd name="connsiteX736" fmla="*/ 3395918 w 6942639"/>
                <a:gd name="connsiteY736" fmla="*/ 8728708 h 9250612"/>
                <a:gd name="connsiteX737" fmla="*/ 3386957 w 6942639"/>
                <a:gd name="connsiteY737" fmla="*/ 8737668 h 9250612"/>
                <a:gd name="connsiteX738" fmla="*/ 3377991 w 6942639"/>
                <a:gd name="connsiteY738" fmla="*/ 8728708 h 9250612"/>
                <a:gd name="connsiteX739" fmla="*/ 3386957 w 6942639"/>
                <a:gd name="connsiteY739" fmla="*/ 8719747 h 9250612"/>
                <a:gd name="connsiteX740" fmla="*/ 3218215 w 6942639"/>
                <a:gd name="connsiteY740" fmla="*/ 8719747 h 9250612"/>
                <a:gd name="connsiteX741" fmla="*/ 3227174 w 6942639"/>
                <a:gd name="connsiteY741" fmla="*/ 8728708 h 9250612"/>
                <a:gd name="connsiteX742" fmla="*/ 3218215 w 6942639"/>
                <a:gd name="connsiteY742" fmla="*/ 8737668 h 9250612"/>
                <a:gd name="connsiteX743" fmla="*/ 3209255 w 6942639"/>
                <a:gd name="connsiteY743" fmla="*/ 8728708 h 9250612"/>
                <a:gd name="connsiteX744" fmla="*/ 3218215 w 6942639"/>
                <a:gd name="connsiteY744" fmla="*/ 8719747 h 9250612"/>
                <a:gd name="connsiteX745" fmla="*/ 3049479 w 6942639"/>
                <a:gd name="connsiteY745" fmla="*/ 8719747 h 9250612"/>
                <a:gd name="connsiteX746" fmla="*/ 3058436 w 6942639"/>
                <a:gd name="connsiteY746" fmla="*/ 8728708 h 9250612"/>
                <a:gd name="connsiteX747" fmla="*/ 3049479 w 6942639"/>
                <a:gd name="connsiteY747" fmla="*/ 8737668 h 9250612"/>
                <a:gd name="connsiteX748" fmla="*/ 3040514 w 6942639"/>
                <a:gd name="connsiteY748" fmla="*/ 8728708 h 9250612"/>
                <a:gd name="connsiteX749" fmla="*/ 3049479 w 6942639"/>
                <a:gd name="connsiteY749" fmla="*/ 8719747 h 9250612"/>
                <a:gd name="connsiteX750" fmla="*/ 2880736 w 6942639"/>
                <a:gd name="connsiteY750" fmla="*/ 8719747 h 9250612"/>
                <a:gd name="connsiteX751" fmla="*/ 2889697 w 6942639"/>
                <a:gd name="connsiteY751" fmla="*/ 8728708 h 9250612"/>
                <a:gd name="connsiteX752" fmla="*/ 2880736 w 6942639"/>
                <a:gd name="connsiteY752" fmla="*/ 8737668 h 9250612"/>
                <a:gd name="connsiteX753" fmla="*/ 2871776 w 6942639"/>
                <a:gd name="connsiteY753" fmla="*/ 8728708 h 9250612"/>
                <a:gd name="connsiteX754" fmla="*/ 2880736 w 6942639"/>
                <a:gd name="connsiteY754" fmla="*/ 8719747 h 9250612"/>
                <a:gd name="connsiteX755" fmla="*/ 2711993 w 6942639"/>
                <a:gd name="connsiteY755" fmla="*/ 8719747 h 9250612"/>
                <a:gd name="connsiteX756" fmla="*/ 2720956 w 6942639"/>
                <a:gd name="connsiteY756" fmla="*/ 8728708 h 9250612"/>
                <a:gd name="connsiteX757" fmla="*/ 2711993 w 6942639"/>
                <a:gd name="connsiteY757" fmla="*/ 8737668 h 9250612"/>
                <a:gd name="connsiteX758" fmla="*/ 2703035 w 6942639"/>
                <a:gd name="connsiteY758" fmla="*/ 8728708 h 9250612"/>
                <a:gd name="connsiteX759" fmla="*/ 2711993 w 6942639"/>
                <a:gd name="connsiteY759" fmla="*/ 8719747 h 9250612"/>
                <a:gd name="connsiteX760" fmla="*/ 2543254 w 6942639"/>
                <a:gd name="connsiteY760" fmla="*/ 8719747 h 9250612"/>
                <a:gd name="connsiteX761" fmla="*/ 2552215 w 6942639"/>
                <a:gd name="connsiteY761" fmla="*/ 8728708 h 9250612"/>
                <a:gd name="connsiteX762" fmla="*/ 2543254 w 6942639"/>
                <a:gd name="connsiteY762" fmla="*/ 8737668 h 9250612"/>
                <a:gd name="connsiteX763" fmla="*/ 2534295 w 6942639"/>
                <a:gd name="connsiteY763" fmla="*/ 8728708 h 9250612"/>
                <a:gd name="connsiteX764" fmla="*/ 2543254 w 6942639"/>
                <a:gd name="connsiteY764" fmla="*/ 8719747 h 9250612"/>
                <a:gd name="connsiteX765" fmla="*/ 2374510 w 6942639"/>
                <a:gd name="connsiteY765" fmla="*/ 8719747 h 9250612"/>
                <a:gd name="connsiteX766" fmla="*/ 2383474 w 6942639"/>
                <a:gd name="connsiteY766" fmla="*/ 8728708 h 9250612"/>
                <a:gd name="connsiteX767" fmla="*/ 2374510 w 6942639"/>
                <a:gd name="connsiteY767" fmla="*/ 8737668 h 9250612"/>
                <a:gd name="connsiteX768" fmla="*/ 2365548 w 6942639"/>
                <a:gd name="connsiteY768" fmla="*/ 8728708 h 9250612"/>
                <a:gd name="connsiteX769" fmla="*/ 2374510 w 6942639"/>
                <a:gd name="connsiteY769" fmla="*/ 8719747 h 9250612"/>
                <a:gd name="connsiteX770" fmla="*/ 2205770 w 6942639"/>
                <a:gd name="connsiteY770" fmla="*/ 8719747 h 9250612"/>
                <a:gd name="connsiteX771" fmla="*/ 2214732 w 6942639"/>
                <a:gd name="connsiteY771" fmla="*/ 8728708 h 9250612"/>
                <a:gd name="connsiteX772" fmla="*/ 2205770 w 6942639"/>
                <a:gd name="connsiteY772" fmla="*/ 8737668 h 9250612"/>
                <a:gd name="connsiteX773" fmla="*/ 2196812 w 6942639"/>
                <a:gd name="connsiteY773" fmla="*/ 8728708 h 9250612"/>
                <a:gd name="connsiteX774" fmla="*/ 2205770 w 6942639"/>
                <a:gd name="connsiteY774" fmla="*/ 8719747 h 9250612"/>
                <a:gd name="connsiteX775" fmla="*/ 2037030 w 6942639"/>
                <a:gd name="connsiteY775" fmla="*/ 8719747 h 9250612"/>
                <a:gd name="connsiteX776" fmla="*/ 2045989 w 6942639"/>
                <a:gd name="connsiteY776" fmla="*/ 8728708 h 9250612"/>
                <a:gd name="connsiteX777" fmla="*/ 2037030 w 6942639"/>
                <a:gd name="connsiteY777" fmla="*/ 8737668 h 9250612"/>
                <a:gd name="connsiteX778" fmla="*/ 2028071 w 6942639"/>
                <a:gd name="connsiteY778" fmla="*/ 8728708 h 9250612"/>
                <a:gd name="connsiteX779" fmla="*/ 2037030 w 6942639"/>
                <a:gd name="connsiteY779" fmla="*/ 8719747 h 9250612"/>
                <a:gd name="connsiteX780" fmla="*/ 1868292 w 6942639"/>
                <a:gd name="connsiteY780" fmla="*/ 8719747 h 9250612"/>
                <a:gd name="connsiteX781" fmla="*/ 1877250 w 6942639"/>
                <a:gd name="connsiteY781" fmla="*/ 8728708 h 9250612"/>
                <a:gd name="connsiteX782" fmla="*/ 1868292 w 6942639"/>
                <a:gd name="connsiteY782" fmla="*/ 8737668 h 9250612"/>
                <a:gd name="connsiteX783" fmla="*/ 1859329 w 6942639"/>
                <a:gd name="connsiteY783" fmla="*/ 8728708 h 9250612"/>
                <a:gd name="connsiteX784" fmla="*/ 1868292 w 6942639"/>
                <a:gd name="connsiteY784" fmla="*/ 8719747 h 9250612"/>
                <a:gd name="connsiteX785" fmla="*/ 1699550 w 6942639"/>
                <a:gd name="connsiteY785" fmla="*/ 8719747 h 9250612"/>
                <a:gd name="connsiteX786" fmla="*/ 1708510 w 6942639"/>
                <a:gd name="connsiteY786" fmla="*/ 8728708 h 9250612"/>
                <a:gd name="connsiteX787" fmla="*/ 1699550 w 6942639"/>
                <a:gd name="connsiteY787" fmla="*/ 8737668 h 9250612"/>
                <a:gd name="connsiteX788" fmla="*/ 1690589 w 6942639"/>
                <a:gd name="connsiteY788" fmla="*/ 8728708 h 9250612"/>
                <a:gd name="connsiteX789" fmla="*/ 1699550 w 6942639"/>
                <a:gd name="connsiteY789" fmla="*/ 8719747 h 9250612"/>
                <a:gd name="connsiteX790" fmla="*/ 1530807 w 6942639"/>
                <a:gd name="connsiteY790" fmla="*/ 8719747 h 9250612"/>
                <a:gd name="connsiteX791" fmla="*/ 1539768 w 6942639"/>
                <a:gd name="connsiteY791" fmla="*/ 8728708 h 9250612"/>
                <a:gd name="connsiteX792" fmla="*/ 1530807 w 6942639"/>
                <a:gd name="connsiteY792" fmla="*/ 8737668 h 9250612"/>
                <a:gd name="connsiteX793" fmla="*/ 1521847 w 6942639"/>
                <a:gd name="connsiteY793" fmla="*/ 8728708 h 9250612"/>
                <a:gd name="connsiteX794" fmla="*/ 1530807 w 6942639"/>
                <a:gd name="connsiteY794" fmla="*/ 8719747 h 9250612"/>
                <a:gd name="connsiteX795" fmla="*/ 1362065 w 6942639"/>
                <a:gd name="connsiteY795" fmla="*/ 8719747 h 9250612"/>
                <a:gd name="connsiteX796" fmla="*/ 1371025 w 6942639"/>
                <a:gd name="connsiteY796" fmla="*/ 8728708 h 9250612"/>
                <a:gd name="connsiteX797" fmla="*/ 1362065 w 6942639"/>
                <a:gd name="connsiteY797" fmla="*/ 8737668 h 9250612"/>
                <a:gd name="connsiteX798" fmla="*/ 1353104 w 6942639"/>
                <a:gd name="connsiteY798" fmla="*/ 8728708 h 9250612"/>
                <a:gd name="connsiteX799" fmla="*/ 1362065 w 6942639"/>
                <a:gd name="connsiteY799" fmla="*/ 8719747 h 9250612"/>
                <a:gd name="connsiteX800" fmla="*/ 1193323 w 6942639"/>
                <a:gd name="connsiteY800" fmla="*/ 8719747 h 9250612"/>
                <a:gd name="connsiteX801" fmla="*/ 1202284 w 6942639"/>
                <a:gd name="connsiteY801" fmla="*/ 8728708 h 9250612"/>
                <a:gd name="connsiteX802" fmla="*/ 1193323 w 6942639"/>
                <a:gd name="connsiteY802" fmla="*/ 8737668 h 9250612"/>
                <a:gd name="connsiteX803" fmla="*/ 1184363 w 6942639"/>
                <a:gd name="connsiteY803" fmla="*/ 8728708 h 9250612"/>
                <a:gd name="connsiteX804" fmla="*/ 1193323 w 6942639"/>
                <a:gd name="connsiteY804" fmla="*/ 8719747 h 9250612"/>
                <a:gd name="connsiteX805" fmla="*/ 1024581 w 6942639"/>
                <a:gd name="connsiteY805" fmla="*/ 8719747 h 9250612"/>
                <a:gd name="connsiteX806" fmla="*/ 1033543 w 6942639"/>
                <a:gd name="connsiteY806" fmla="*/ 8728708 h 9250612"/>
                <a:gd name="connsiteX807" fmla="*/ 1024581 w 6942639"/>
                <a:gd name="connsiteY807" fmla="*/ 8737668 h 9250612"/>
                <a:gd name="connsiteX808" fmla="*/ 1015621 w 6942639"/>
                <a:gd name="connsiteY808" fmla="*/ 8728708 h 9250612"/>
                <a:gd name="connsiteX809" fmla="*/ 1024581 w 6942639"/>
                <a:gd name="connsiteY809" fmla="*/ 8719747 h 9250612"/>
                <a:gd name="connsiteX810" fmla="*/ 855841 w 6942639"/>
                <a:gd name="connsiteY810" fmla="*/ 8719747 h 9250612"/>
                <a:gd name="connsiteX811" fmla="*/ 864801 w 6942639"/>
                <a:gd name="connsiteY811" fmla="*/ 8728708 h 9250612"/>
                <a:gd name="connsiteX812" fmla="*/ 855841 w 6942639"/>
                <a:gd name="connsiteY812" fmla="*/ 8737668 h 9250612"/>
                <a:gd name="connsiteX813" fmla="*/ 846880 w 6942639"/>
                <a:gd name="connsiteY813" fmla="*/ 8728708 h 9250612"/>
                <a:gd name="connsiteX814" fmla="*/ 855841 w 6942639"/>
                <a:gd name="connsiteY814" fmla="*/ 8719747 h 9250612"/>
                <a:gd name="connsiteX815" fmla="*/ 687099 w 6942639"/>
                <a:gd name="connsiteY815" fmla="*/ 8719747 h 9250612"/>
                <a:gd name="connsiteX816" fmla="*/ 696060 w 6942639"/>
                <a:gd name="connsiteY816" fmla="*/ 8728708 h 9250612"/>
                <a:gd name="connsiteX817" fmla="*/ 687099 w 6942639"/>
                <a:gd name="connsiteY817" fmla="*/ 8737668 h 9250612"/>
                <a:gd name="connsiteX818" fmla="*/ 678139 w 6942639"/>
                <a:gd name="connsiteY818" fmla="*/ 8728708 h 9250612"/>
                <a:gd name="connsiteX819" fmla="*/ 687099 w 6942639"/>
                <a:gd name="connsiteY819" fmla="*/ 8719747 h 9250612"/>
                <a:gd name="connsiteX820" fmla="*/ 518354 w 6942639"/>
                <a:gd name="connsiteY820" fmla="*/ 8719747 h 9250612"/>
                <a:gd name="connsiteX821" fmla="*/ 527315 w 6942639"/>
                <a:gd name="connsiteY821" fmla="*/ 8728708 h 9250612"/>
                <a:gd name="connsiteX822" fmla="*/ 518354 w 6942639"/>
                <a:gd name="connsiteY822" fmla="*/ 8737668 h 9250612"/>
                <a:gd name="connsiteX823" fmla="*/ 509394 w 6942639"/>
                <a:gd name="connsiteY823" fmla="*/ 8728708 h 9250612"/>
                <a:gd name="connsiteX824" fmla="*/ 518354 w 6942639"/>
                <a:gd name="connsiteY824" fmla="*/ 8719747 h 9250612"/>
                <a:gd name="connsiteX825" fmla="*/ 349614 w 6942639"/>
                <a:gd name="connsiteY825" fmla="*/ 8719747 h 9250612"/>
                <a:gd name="connsiteX826" fmla="*/ 358575 w 6942639"/>
                <a:gd name="connsiteY826" fmla="*/ 8728708 h 9250612"/>
                <a:gd name="connsiteX827" fmla="*/ 349614 w 6942639"/>
                <a:gd name="connsiteY827" fmla="*/ 8737668 h 9250612"/>
                <a:gd name="connsiteX828" fmla="*/ 340654 w 6942639"/>
                <a:gd name="connsiteY828" fmla="*/ 8728708 h 9250612"/>
                <a:gd name="connsiteX829" fmla="*/ 349614 w 6942639"/>
                <a:gd name="connsiteY829" fmla="*/ 8719747 h 9250612"/>
                <a:gd name="connsiteX830" fmla="*/ 179293 w 6942639"/>
                <a:gd name="connsiteY830" fmla="*/ 8719747 h 9250612"/>
                <a:gd name="connsiteX831" fmla="*/ 188254 w 6942639"/>
                <a:gd name="connsiteY831" fmla="*/ 8728708 h 9250612"/>
                <a:gd name="connsiteX832" fmla="*/ 179293 w 6942639"/>
                <a:gd name="connsiteY832" fmla="*/ 8737668 h 9250612"/>
                <a:gd name="connsiteX833" fmla="*/ 170333 w 6942639"/>
                <a:gd name="connsiteY833" fmla="*/ 8728708 h 9250612"/>
                <a:gd name="connsiteX834" fmla="*/ 179293 w 6942639"/>
                <a:gd name="connsiteY834" fmla="*/ 8719747 h 9250612"/>
                <a:gd name="connsiteX835" fmla="*/ 8973 w 6942639"/>
                <a:gd name="connsiteY835" fmla="*/ 8719747 h 9250612"/>
                <a:gd name="connsiteX836" fmla="*/ 17933 w 6942639"/>
                <a:gd name="connsiteY836" fmla="*/ 8728708 h 9250612"/>
                <a:gd name="connsiteX837" fmla="*/ 8973 w 6942639"/>
                <a:gd name="connsiteY837" fmla="*/ 8737668 h 9250612"/>
                <a:gd name="connsiteX838" fmla="*/ 12 w 6942639"/>
                <a:gd name="connsiteY838" fmla="*/ 8728708 h 9250612"/>
                <a:gd name="connsiteX839" fmla="*/ 8973 w 6942639"/>
                <a:gd name="connsiteY839" fmla="*/ 8719747 h 9250612"/>
                <a:gd name="connsiteX840" fmla="*/ 6933679 w 6942639"/>
                <a:gd name="connsiteY840" fmla="*/ 8548766 h 9250612"/>
                <a:gd name="connsiteX841" fmla="*/ 6942639 w 6942639"/>
                <a:gd name="connsiteY841" fmla="*/ 8557726 h 9250612"/>
                <a:gd name="connsiteX842" fmla="*/ 6933679 w 6942639"/>
                <a:gd name="connsiteY842" fmla="*/ 8566687 h 9250612"/>
                <a:gd name="connsiteX843" fmla="*/ 6924718 w 6942639"/>
                <a:gd name="connsiteY843" fmla="*/ 8557726 h 9250612"/>
                <a:gd name="connsiteX844" fmla="*/ 6933679 w 6942639"/>
                <a:gd name="connsiteY844" fmla="*/ 8548766 h 9250612"/>
                <a:gd name="connsiteX845" fmla="*/ 6763357 w 6942639"/>
                <a:gd name="connsiteY845" fmla="*/ 8548766 h 9250612"/>
                <a:gd name="connsiteX846" fmla="*/ 6772318 w 6942639"/>
                <a:gd name="connsiteY846" fmla="*/ 8557726 h 9250612"/>
                <a:gd name="connsiteX847" fmla="*/ 6763357 w 6942639"/>
                <a:gd name="connsiteY847" fmla="*/ 8566687 h 9250612"/>
                <a:gd name="connsiteX848" fmla="*/ 6754397 w 6942639"/>
                <a:gd name="connsiteY848" fmla="*/ 8557726 h 9250612"/>
                <a:gd name="connsiteX849" fmla="*/ 6763357 w 6942639"/>
                <a:gd name="connsiteY849" fmla="*/ 8548766 h 9250612"/>
                <a:gd name="connsiteX850" fmla="*/ 6593035 w 6942639"/>
                <a:gd name="connsiteY850" fmla="*/ 8548766 h 9250612"/>
                <a:gd name="connsiteX851" fmla="*/ 6601996 w 6942639"/>
                <a:gd name="connsiteY851" fmla="*/ 8557726 h 9250612"/>
                <a:gd name="connsiteX852" fmla="*/ 6593035 w 6942639"/>
                <a:gd name="connsiteY852" fmla="*/ 8566687 h 9250612"/>
                <a:gd name="connsiteX853" fmla="*/ 6584075 w 6942639"/>
                <a:gd name="connsiteY853" fmla="*/ 8557726 h 9250612"/>
                <a:gd name="connsiteX854" fmla="*/ 6593035 w 6942639"/>
                <a:gd name="connsiteY854" fmla="*/ 8548766 h 9250612"/>
                <a:gd name="connsiteX855" fmla="*/ 6424294 w 6942639"/>
                <a:gd name="connsiteY855" fmla="*/ 8548766 h 9250612"/>
                <a:gd name="connsiteX856" fmla="*/ 6433255 w 6942639"/>
                <a:gd name="connsiteY856" fmla="*/ 8557726 h 9250612"/>
                <a:gd name="connsiteX857" fmla="*/ 6424294 w 6942639"/>
                <a:gd name="connsiteY857" fmla="*/ 8566687 h 9250612"/>
                <a:gd name="connsiteX858" fmla="*/ 6415334 w 6942639"/>
                <a:gd name="connsiteY858" fmla="*/ 8557726 h 9250612"/>
                <a:gd name="connsiteX859" fmla="*/ 6424294 w 6942639"/>
                <a:gd name="connsiteY859" fmla="*/ 8548766 h 9250612"/>
                <a:gd name="connsiteX860" fmla="*/ 6255553 w 6942639"/>
                <a:gd name="connsiteY860" fmla="*/ 8548766 h 9250612"/>
                <a:gd name="connsiteX861" fmla="*/ 6264514 w 6942639"/>
                <a:gd name="connsiteY861" fmla="*/ 8557726 h 9250612"/>
                <a:gd name="connsiteX862" fmla="*/ 6255553 w 6942639"/>
                <a:gd name="connsiteY862" fmla="*/ 8566687 h 9250612"/>
                <a:gd name="connsiteX863" fmla="*/ 6246593 w 6942639"/>
                <a:gd name="connsiteY863" fmla="*/ 8557726 h 9250612"/>
                <a:gd name="connsiteX864" fmla="*/ 6255553 w 6942639"/>
                <a:gd name="connsiteY864" fmla="*/ 8548766 h 9250612"/>
                <a:gd name="connsiteX865" fmla="*/ 6086811 w 6942639"/>
                <a:gd name="connsiteY865" fmla="*/ 8548766 h 9250612"/>
                <a:gd name="connsiteX866" fmla="*/ 6095772 w 6942639"/>
                <a:gd name="connsiteY866" fmla="*/ 8557726 h 9250612"/>
                <a:gd name="connsiteX867" fmla="*/ 6086811 w 6942639"/>
                <a:gd name="connsiteY867" fmla="*/ 8566687 h 9250612"/>
                <a:gd name="connsiteX868" fmla="*/ 6077851 w 6942639"/>
                <a:gd name="connsiteY868" fmla="*/ 8557726 h 9250612"/>
                <a:gd name="connsiteX869" fmla="*/ 6086811 w 6942639"/>
                <a:gd name="connsiteY869" fmla="*/ 8548766 h 9250612"/>
                <a:gd name="connsiteX870" fmla="*/ 5918069 w 6942639"/>
                <a:gd name="connsiteY870" fmla="*/ 8548766 h 9250612"/>
                <a:gd name="connsiteX871" fmla="*/ 5927030 w 6942639"/>
                <a:gd name="connsiteY871" fmla="*/ 8557726 h 9250612"/>
                <a:gd name="connsiteX872" fmla="*/ 5918069 w 6942639"/>
                <a:gd name="connsiteY872" fmla="*/ 8566687 h 9250612"/>
                <a:gd name="connsiteX873" fmla="*/ 5909109 w 6942639"/>
                <a:gd name="connsiteY873" fmla="*/ 8557726 h 9250612"/>
                <a:gd name="connsiteX874" fmla="*/ 5918069 w 6942639"/>
                <a:gd name="connsiteY874" fmla="*/ 8548766 h 9250612"/>
                <a:gd name="connsiteX875" fmla="*/ 5749328 w 6942639"/>
                <a:gd name="connsiteY875" fmla="*/ 8548766 h 9250612"/>
                <a:gd name="connsiteX876" fmla="*/ 5758289 w 6942639"/>
                <a:gd name="connsiteY876" fmla="*/ 8557726 h 9250612"/>
                <a:gd name="connsiteX877" fmla="*/ 5749328 w 6942639"/>
                <a:gd name="connsiteY877" fmla="*/ 8566687 h 9250612"/>
                <a:gd name="connsiteX878" fmla="*/ 5740368 w 6942639"/>
                <a:gd name="connsiteY878" fmla="*/ 8557726 h 9250612"/>
                <a:gd name="connsiteX879" fmla="*/ 5749328 w 6942639"/>
                <a:gd name="connsiteY879" fmla="*/ 8548766 h 9250612"/>
                <a:gd name="connsiteX880" fmla="*/ 5580586 w 6942639"/>
                <a:gd name="connsiteY880" fmla="*/ 8548766 h 9250612"/>
                <a:gd name="connsiteX881" fmla="*/ 5589547 w 6942639"/>
                <a:gd name="connsiteY881" fmla="*/ 8557726 h 9250612"/>
                <a:gd name="connsiteX882" fmla="*/ 5580586 w 6942639"/>
                <a:gd name="connsiteY882" fmla="*/ 8566687 h 9250612"/>
                <a:gd name="connsiteX883" fmla="*/ 5571626 w 6942639"/>
                <a:gd name="connsiteY883" fmla="*/ 8557726 h 9250612"/>
                <a:gd name="connsiteX884" fmla="*/ 5580586 w 6942639"/>
                <a:gd name="connsiteY884" fmla="*/ 8548766 h 9250612"/>
                <a:gd name="connsiteX885" fmla="*/ 5411845 w 6942639"/>
                <a:gd name="connsiteY885" fmla="*/ 8548766 h 9250612"/>
                <a:gd name="connsiteX886" fmla="*/ 5420806 w 6942639"/>
                <a:gd name="connsiteY886" fmla="*/ 8557726 h 9250612"/>
                <a:gd name="connsiteX887" fmla="*/ 5411845 w 6942639"/>
                <a:gd name="connsiteY887" fmla="*/ 8566687 h 9250612"/>
                <a:gd name="connsiteX888" fmla="*/ 5402885 w 6942639"/>
                <a:gd name="connsiteY888" fmla="*/ 8557726 h 9250612"/>
                <a:gd name="connsiteX889" fmla="*/ 5411845 w 6942639"/>
                <a:gd name="connsiteY889" fmla="*/ 8548766 h 9250612"/>
                <a:gd name="connsiteX890" fmla="*/ 5243103 w 6942639"/>
                <a:gd name="connsiteY890" fmla="*/ 8548766 h 9250612"/>
                <a:gd name="connsiteX891" fmla="*/ 5252064 w 6942639"/>
                <a:gd name="connsiteY891" fmla="*/ 8557726 h 9250612"/>
                <a:gd name="connsiteX892" fmla="*/ 5243103 w 6942639"/>
                <a:gd name="connsiteY892" fmla="*/ 8566687 h 9250612"/>
                <a:gd name="connsiteX893" fmla="*/ 5234143 w 6942639"/>
                <a:gd name="connsiteY893" fmla="*/ 8557726 h 9250612"/>
                <a:gd name="connsiteX894" fmla="*/ 5243103 w 6942639"/>
                <a:gd name="connsiteY894" fmla="*/ 8548766 h 9250612"/>
                <a:gd name="connsiteX895" fmla="*/ 5074362 w 6942639"/>
                <a:gd name="connsiteY895" fmla="*/ 8548766 h 9250612"/>
                <a:gd name="connsiteX896" fmla="*/ 5083323 w 6942639"/>
                <a:gd name="connsiteY896" fmla="*/ 8557726 h 9250612"/>
                <a:gd name="connsiteX897" fmla="*/ 5074362 w 6942639"/>
                <a:gd name="connsiteY897" fmla="*/ 8566687 h 9250612"/>
                <a:gd name="connsiteX898" fmla="*/ 5065402 w 6942639"/>
                <a:gd name="connsiteY898" fmla="*/ 8557726 h 9250612"/>
                <a:gd name="connsiteX899" fmla="*/ 5074362 w 6942639"/>
                <a:gd name="connsiteY899" fmla="*/ 8548766 h 9250612"/>
                <a:gd name="connsiteX900" fmla="*/ 4905620 w 6942639"/>
                <a:gd name="connsiteY900" fmla="*/ 8548766 h 9250612"/>
                <a:gd name="connsiteX901" fmla="*/ 4914581 w 6942639"/>
                <a:gd name="connsiteY901" fmla="*/ 8557726 h 9250612"/>
                <a:gd name="connsiteX902" fmla="*/ 4905620 w 6942639"/>
                <a:gd name="connsiteY902" fmla="*/ 8566687 h 9250612"/>
                <a:gd name="connsiteX903" fmla="*/ 4896660 w 6942639"/>
                <a:gd name="connsiteY903" fmla="*/ 8557726 h 9250612"/>
                <a:gd name="connsiteX904" fmla="*/ 4905620 w 6942639"/>
                <a:gd name="connsiteY904" fmla="*/ 8548766 h 9250612"/>
                <a:gd name="connsiteX905" fmla="*/ 4736878 w 6942639"/>
                <a:gd name="connsiteY905" fmla="*/ 8548766 h 9250612"/>
                <a:gd name="connsiteX906" fmla="*/ 4745839 w 6942639"/>
                <a:gd name="connsiteY906" fmla="*/ 8557726 h 9250612"/>
                <a:gd name="connsiteX907" fmla="*/ 4736878 w 6942639"/>
                <a:gd name="connsiteY907" fmla="*/ 8566687 h 9250612"/>
                <a:gd name="connsiteX908" fmla="*/ 4727918 w 6942639"/>
                <a:gd name="connsiteY908" fmla="*/ 8557726 h 9250612"/>
                <a:gd name="connsiteX909" fmla="*/ 4736878 w 6942639"/>
                <a:gd name="connsiteY909" fmla="*/ 8548766 h 9250612"/>
                <a:gd name="connsiteX910" fmla="*/ 4568137 w 6942639"/>
                <a:gd name="connsiteY910" fmla="*/ 8548766 h 9250612"/>
                <a:gd name="connsiteX911" fmla="*/ 4577098 w 6942639"/>
                <a:gd name="connsiteY911" fmla="*/ 8557726 h 9250612"/>
                <a:gd name="connsiteX912" fmla="*/ 4568137 w 6942639"/>
                <a:gd name="connsiteY912" fmla="*/ 8566687 h 9250612"/>
                <a:gd name="connsiteX913" fmla="*/ 4559177 w 6942639"/>
                <a:gd name="connsiteY913" fmla="*/ 8557726 h 9250612"/>
                <a:gd name="connsiteX914" fmla="*/ 4568137 w 6942639"/>
                <a:gd name="connsiteY914" fmla="*/ 8548766 h 9250612"/>
                <a:gd name="connsiteX915" fmla="*/ 4399396 w 6942639"/>
                <a:gd name="connsiteY915" fmla="*/ 8548766 h 9250612"/>
                <a:gd name="connsiteX916" fmla="*/ 4408357 w 6942639"/>
                <a:gd name="connsiteY916" fmla="*/ 8557726 h 9250612"/>
                <a:gd name="connsiteX917" fmla="*/ 4399396 w 6942639"/>
                <a:gd name="connsiteY917" fmla="*/ 8566687 h 9250612"/>
                <a:gd name="connsiteX918" fmla="*/ 4390436 w 6942639"/>
                <a:gd name="connsiteY918" fmla="*/ 8557726 h 9250612"/>
                <a:gd name="connsiteX919" fmla="*/ 4399396 w 6942639"/>
                <a:gd name="connsiteY919" fmla="*/ 8548766 h 9250612"/>
                <a:gd name="connsiteX920" fmla="*/ 4230654 w 6942639"/>
                <a:gd name="connsiteY920" fmla="*/ 8548766 h 9250612"/>
                <a:gd name="connsiteX921" fmla="*/ 4239615 w 6942639"/>
                <a:gd name="connsiteY921" fmla="*/ 8557726 h 9250612"/>
                <a:gd name="connsiteX922" fmla="*/ 4230654 w 6942639"/>
                <a:gd name="connsiteY922" fmla="*/ 8566687 h 9250612"/>
                <a:gd name="connsiteX923" fmla="*/ 4221694 w 6942639"/>
                <a:gd name="connsiteY923" fmla="*/ 8557726 h 9250612"/>
                <a:gd name="connsiteX924" fmla="*/ 4230654 w 6942639"/>
                <a:gd name="connsiteY924" fmla="*/ 8548766 h 9250612"/>
                <a:gd name="connsiteX925" fmla="*/ 4061912 w 6942639"/>
                <a:gd name="connsiteY925" fmla="*/ 8548766 h 9250612"/>
                <a:gd name="connsiteX926" fmla="*/ 4070873 w 6942639"/>
                <a:gd name="connsiteY926" fmla="*/ 8557726 h 9250612"/>
                <a:gd name="connsiteX927" fmla="*/ 4061912 w 6942639"/>
                <a:gd name="connsiteY927" fmla="*/ 8566687 h 9250612"/>
                <a:gd name="connsiteX928" fmla="*/ 4052952 w 6942639"/>
                <a:gd name="connsiteY928" fmla="*/ 8557726 h 9250612"/>
                <a:gd name="connsiteX929" fmla="*/ 4061912 w 6942639"/>
                <a:gd name="connsiteY929" fmla="*/ 8548766 h 9250612"/>
                <a:gd name="connsiteX930" fmla="*/ 3893170 w 6942639"/>
                <a:gd name="connsiteY930" fmla="*/ 8548766 h 9250612"/>
                <a:gd name="connsiteX931" fmla="*/ 3902131 w 6942639"/>
                <a:gd name="connsiteY931" fmla="*/ 8557726 h 9250612"/>
                <a:gd name="connsiteX932" fmla="*/ 3893170 w 6942639"/>
                <a:gd name="connsiteY932" fmla="*/ 8566687 h 9250612"/>
                <a:gd name="connsiteX933" fmla="*/ 3884210 w 6942639"/>
                <a:gd name="connsiteY933" fmla="*/ 8557726 h 9250612"/>
                <a:gd name="connsiteX934" fmla="*/ 3893170 w 6942639"/>
                <a:gd name="connsiteY934" fmla="*/ 8548766 h 9250612"/>
                <a:gd name="connsiteX935" fmla="*/ 3724429 w 6942639"/>
                <a:gd name="connsiteY935" fmla="*/ 8548766 h 9250612"/>
                <a:gd name="connsiteX936" fmla="*/ 3733390 w 6942639"/>
                <a:gd name="connsiteY936" fmla="*/ 8557726 h 9250612"/>
                <a:gd name="connsiteX937" fmla="*/ 3724429 w 6942639"/>
                <a:gd name="connsiteY937" fmla="*/ 8566687 h 9250612"/>
                <a:gd name="connsiteX938" fmla="*/ 3715469 w 6942639"/>
                <a:gd name="connsiteY938" fmla="*/ 8557726 h 9250612"/>
                <a:gd name="connsiteX939" fmla="*/ 3724429 w 6942639"/>
                <a:gd name="connsiteY939" fmla="*/ 8548766 h 9250612"/>
                <a:gd name="connsiteX940" fmla="*/ 3555688 w 6942639"/>
                <a:gd name="connsiteY940" fmla="*/ 8548766 h 9250612"/>
                <a:gd name="connsiteX941" fmla="*/ 3564649 w 6942639"/>
                <a:gd name="connsiteY941" fmla="*/ 8557726 h 9250612"/>
                <a:gd name="connsiteX942" fmla="*/ 3555688 w 6942639"/>
                <a:gd name="connsiteY942" fmla="*/ 8566687 h 9250612"/>
                <a:gd name="connsiteX943" fmla="*/ 3546728 w 6942639"/>
                <a:gd name="connsiteY943" fmla="*/ 8557726 h 9250612"/>
                <a:gd name="connsiteX944" fmla="*/ 3555688 w 6942639"/>
                <a:gd name="connsiteY944" fmla="*/ 8548766 h 9250612"/>
                <a:gd name="connsiteX945" fmla="*/ 3386960 w 6942639"/>
                <a:gd name="connsiteY945" fmla="*/ 8548766 h 9250612"/>
                <a:gd name="connsiteX946" fmla="*/ 3395921 w 6942639"/>
                <a:gd name="connsiteY946" fmla="*/ 8557726 h 9250612"/>
                <a:gd name="connsiteX947" fmla="*/ 3386960 w 6942639"/>
                <a:gd name="connsiteY947" fmla="*/ 8566687 h 9250612"/>
                <a:gd name="connsiteX948" fmla="*/ 3377993 w 6942639"/>
                <a:gd name="connsiteY948" fmla="*/ 8557726 h 9250612"/>
                <a:gd name="connsiteX949" fmla="*/ 3386960 w 6942639"/>
                <a:gd name="connsiteY949" fmla="*/ 8548766 h 9250612"/>
                <a:gd name="connsiteX950" fmla="*/ 3218217 w 6942639"/>
                <a:gd name="connsiteY950" fmla="*/ 8548766 h 9250612"/>
                <a:gd name="connsiteX951" fmla="*/ 3227177 w 6942639"/>
                <a:gd name="connsiteY951" fmla="*/ 8557726 h 9250612"/>
                <a:gd name="connsiteX952" fmla="*/ 3218217 w 6942639"/>
                <a:gd name="connsiteY952" fmla="*/ 8566687 h 9250612"/>
                <a:gd name="connsiteX953" fmla="*/ 3209257 w 6942639"/>
                <a:gd name="connsiteY953" fmla="*/ 8557726 h 9250612"/>
                <a:gd name="connsiteX954" fmla="*/ 3218217 w 6942639"/>
                <a:gd name="connsiteY954" fmla="*/ 8548766 h 9250612"/>
                <a:gd name="connsiteX955" fmla="*/ 3049484 w 6942639"/>
                <a:gd name="connsiteY955" fmla="*/ 8548766 h 9250612"/>
                <a:gd name="connsiteX956" fmla="*/ 3058439 w 6942639"/>
                <a:gd name="connsiteY956" fmla="*/ 8557726 h 9250612"/>
                <a:gd name="connsiteX957" fmla="*/ 3049484 w 6942639"/>
                <a:gd name="connsiteY957" fmla="*/ 8566687 h 9250612"/>
                <a:gd name="connsiteX958" fmla="*/ 3040517 w 6942639"/>
                <a:gd name="connsiteY958" fmla="*/ 8557726 h 9250612"/>
                <a:gd name="connsiteX959" fmla="*/ 3049484 w 6942639"/>
                <a:gd name="connsiteY959" fmla="*/ 8548766 h 9250612"/>
                <a:gd name="connsiteX960" fmla="*/ 2880740 w 6942639"/>
                <a:gd name="connsiteY960" fmla="*/ 8548766 h 9250612"/>
                <a:gd name="connsiteX961" fmla="*/ 2889700 w 6942639"/>
                <a:gd name="connsiteY961" fmla="*/ 8557726 h 9250612"/>
                <a:gd name="connsiteX962" fmla="*/ 2880740 w 6942639"/>
                <a:gd name="connsiteY962" fmla="*/ 8566687 h 9250612"/>
                <a:gd name="connsiteX963" fmla="*/ 2871780 w 6942639"/>
                <a:gd name="connsiteY963" fmla="*/ 8557726 h 9250612"/>
                <a:gd name="connsiteX964" fmla="*/ 2880740 w 6942639"/>
                <a:gd name="connsiteY964" fmla="*/ 8548766 h 9250612"/>
                <a:gd name="connsiteX965" fmla="*/ 2711996 w 6942639"/>
                <a:gd name="connsiteY965" fmla="*/ 8548766 h 9250612"/>
                <a:gd name="connsiteX966" fmla="*/ 2720961 w 6942639"/>
                <a:gd name="connsiteY966" fmla="*/ 8557726 h 9250612"/>
                <a:gd name="connsiteX967" fmla="*/ 2711996 w 6942639"/>
                <a:gd name="connsiteY967" fmla="*/ 8566687 h 9250612"/>
                <a:gd name="connsiteX968" fmla="*/ 2703038 w 6942639"/>
                <a:gd name="connsiteY968" fmla="*/ 8557726 h 9250612"/>
                <a:gd name="connsiteX969" fmla="*/ 2711996 w 6942639"/>
                <a:gd name="connsiteY969" fmla="*/ 8548766 h 9250612"/>
                <a:gd name="connsiteX970" fmla="*/ 2543258 w 6942639"/>
                <a:gd name="connsiteY970" fmla="*/ 8548766 h 9250612"/>
                <a:gd name="connsiteX971" fmla="*/ 2552219 w 6942639"/>
                <a:gd name="connsiteY971" fmla="*/ 8557726 h 9250612"/>
                <a:gd name="connsiteX972" fmla="*/ 2543258 w 6942639"/>
                <a:gd name="connsiteY972" fmla="*/ 8566687 h 9250612"/>
                <a:gd name="connsiteX973" fmla="*/ 2534298 w 6942639"/>
                <a:gd name="connsiteY973" fmla="*/ 8557726 h 9250612"/>
                <a:gd name="connsiteX974" fmla="*/ 2543258 w 6942639"/>
                <a:gd name="connsiteY974" fmla="*/ 8548766 h 9250612"/>
                <a:gd name="connsiteX975" fmla="*/ 2374514 w 6942639"/>
                <a:gd name="connsiteY975" fmla="*/ 8548766 h 9250612"/>
                <a:gd name="connsiteX976" fmla="*/ 2383479 w 6942639"/>
                <a:gd name="connsiteY976" fmla="*/ 8557726 h 9250612"/>
                <a:gd name="connsiteX977" fmla="*/ 2374514 w 6942639"/>
                <a:gd name="connsiteY977" fmla="*/ 8566687 h 9250612"/>
                <a:gd name="connsiteX978" fmla="*/ 2365551 w 6942639"/>
                <a:gd name="connsiteY978" fmla="*/ 8557726 h 9250612"/>
                <a:gd name="connsiteX979" fmla="*/ 2374514 w 6942639"/>
                <a:gd name="connsiteY979" fmla="*/ 8548766 h 9250612"/>
                <a:gd name="connsiteX980" fmla="*/ 2205774 w 6942639"/>
                <a:gd name="connsiteY980" fmla="*/ 8548766 h 9250612"/>
                <a:gd name="connsiteX981" fmla="*/ 2214737 w 6942639"/>
                <a:gd name="connsiteY981" fmla="*/ 8557726 h 9250612"/>
                <a:gd name="connsiteX982" fmla="*/ 2205774 w 6942639"/>
                <a:gd name="connsiteY982" fmla="*/ 8566687 h 9250612"/>
                <a:gd name="connsiteX983" fmla="*/ 2196816 w 6942639"/>
                <a:gd name="connsiteY983" fmla="*/ 8557726 h 9250612"/>
                <a:gd name="connsiteX984" fmla="*/ 2205774 w 6942639"/>
                <a:gd name="connsiteY984" fmla="*/ 8548766 h 9250612"/>
                <a:gd name="connsiteX985" fmla="*/ 2037035 w 6942639"/>
                <a:gd name="connsiteY985" fmla="*/ 8548766 h 9250612"/>
                <a:gd name="connsiteX986" fmla="*/ 2045992 w 6942639"/>
                <a:gd name="connsiteY986" fmla="*/ 8557726 h 9250612"/>
                <a:gd name="connsiteX987" fmla="*/ 2037035 w 6942639"/>
                <a:gd name="connsiteY987" fmla="*/ 8566687 h 9250612"/>
                <a:gd name="connsiteX988" fmla="*/ 2028076 w 6942639"/>
                <a:gd name="connsiteY988" fmla="*/ 8557726 h 9250612"/>
                <a:gd name="connsiteX989" fmla="*/ 2037035 w 6942639"/>
                <a:gd name="connsiteY989" fmla="*/ 8548766 h 9250612"/>
                <a:gd name="connsiteX990" fmla="*/ 1868296 w 6942639"/>
                <a:gd name="connsiteY990" fmla="*/ 8548766 h 9250612"/>
                <a:gd name="connsiteX991" fmla="*/ 1877255 w 6942639"/>
                <a:gd name="connsiteY991" fmla="*/ 8557726 h 9250612"/>
                <a:gd name="connsiteX992" fmla="*/ 1868296 w 6942639"/>
                <a:gd name="connsiteY992" fmla="*/ 8566687 h 9250612"/>
                <a:gd name="connsiteX993" fmla="*/ 1859333 w 6942639"/>
                <a:gd name="connsiteY993" fmla="*/ 8557726 h 9250612"/>
                <a:gd name="connsiteX994" fmla="*/ 1868296 w 6942639"/>
                <a:gd name="connsiteY994" fmla="*/ 8548766 h 9250612"/>
                <a:gd name="connsiteX995" fmla="*/ 1699555 w 6942639"/>
                <a:gd name="connsiteY995" fmla="*/ 8548766 h 9250612"/>
                <a:gd name="connsiteX996" fmla="*/ 1708515 w 6942639"/>
                <a:gd name="connsiteY996" fmla="*/ 8557726 h 9250612"/>
                <a:gd name="connsiteX997" fmla="*/ 1699555 w 6942639"/>
                <a:gd name="connsiteY997" fmla="*/ 8566687 h 9250612"/>
                <a:gd name="connsiteX998" fmla="*/ 1690593 w 6942639"/>
                <a:gd name="connsiteY998" fmla="*/ 8557726 h 9250612"/>
                <a:gd name="connsiteX999" fmla="*/ 1699555 w 6942639"/>
                <a:gd name="connsiteY999" fmla="*/ 8548766 h 9250612"/>
                <a:gd name="connsiteX1000" fmla="*/ 1530812 w 6942639"/>
                <a:gd name="connsiteY1000" fmla="*/ 8548766 h 9250612"/>
                <a:gd name="connsiteX1001" fmla="*/ 1539773 w 6942639"/>
                <a:gd name="connsiteY1001" fmla="*/ 8557726 h 9250612"/>
                <a:gd name="connsiteX1002" fmla="*/ 1530812 w 6942639"/>
                <a:gd name="connsiteY1002" fmla="*/ 8566687 h 9250612"/>
                <a:gd name="connsiteX1003" fmla="*/ 1521851 w 6942639"/>
                <a:gd name="connsiteY1003" fmla="*/ 8557726 h 9250612"/>
                <a:gd name="connsiteX1004" fmla="*/ 1530812 w 6942639"/>
                <a:gd name="connsiteY1004" fmla="*/ 8548766 h 9250612"/>
                <a:gd name="connsiteX1005" fmla="*/ 1362069 w 6942639"/>
                <a:gd name="connsiteY1005" fmla="*/ 8548766 h 9250612"/>
                <a:gd name="connsiteX1006" fmla="*/ 1371029 w 6942639"/>
                <a:gd name="connsiteY1006" fmla="*/ 8557726 h 9250612"/>
                <a:gd name="connsiteX1007" fmla="*/ 1362069 w 6942639"/>
                <a:gd name="connsiteY1007" fmla="*/ 8566687 h 9250612"/>
                <a:gd name="connsiteX1008" fmla="*/ 1353108 w 6942639"/>
                <a:gd name="connsiteY1008" fmla="*/ 8557726 h 9250612"/>
                <a:gd name="connsiteX1009" fmla="*/ 1362069 w 6942639"/>
                <a:gd name="connsiteY1009" fmla="*/ 8548766 h 9250612"/>
                <a:gd name="connsiteX1010" fmla="*/ 1193328 w 6942639"/>
                <a:gd name="connsiteY1010" fmla="*/ 8548766 h 9250612"/>
                <a:gd name="connsiteX1011" fmla="*/ 1202288 w 6942639"/>
                <a:gd name="connsiteY1011" fmla="*/ 8557726 h 9250612"/>
                <a:gd name="connsiteX1012" fmla="*/ 1193328 w 6942639"/>
                <a:gd name="connsiteY1012" fmla="*/ 8566687 h 9250612"/>
                <a:gd name="connsiteX1013" fmla="*/ 1184368 w 6942639"/>
                <a:gd name="connsiteY1013" fmla="*/ 8557726 h 9250612"/>
                <a:gd name="connsiteX1014" fmla="*/ 1193328 w 6942639"/>
                <a:gd name="connsiteY1014" fmla="*/ 8548766 h 9250612"/>
                <a:gd name="connsiteX1015" fmla="*/ 1024586 w 6942639"/>
                <a:gd name="connsiteY1015" fmla="*/ 8548766 h 9250612"/>
                <a:gd name="connsiteX1016" fmla="*/ 1033546 w 6942639"/>
                <a:gd name="connsiteY1016" fmla="*/ 8557726 h 9250612"/>
                <a:gd name="connsiteX1017" fmla="*/ 1024586 w 6942639"/>
                <a:gd name="connsiteY1017" fmla="*/ 8566687 h 9250612"/>
                <a:gd name="connsiteX1018" fmla="*/ 1015625 w 6942639"/>
                <a:gd name="connsiteY1018" fmla="*/ 8557726 h 9250612"/>
                <a:gd name="connsiteX1019" fmla="*/ 1024586 w 6942639"/>
                <a:gd name="connsiteY1019" fmla="*/ 8548766 h 9250612"/>
                <a:gd name="connsiteX1020" fmla="*/ 855846 w 6942639"/>
                <a:gd name="connsiteY1020" fmla="*/ 8548766 h 9250612"/>
                <a:gd name="connsiteX1021" fmla="*/ 864806 w 6942639"/>
                <a:gd name="connsiteY1021" fmla="*/ 8557726 h 9250612"/>
                <a:gd name="connsiteX1022" fmla="*/ 855846 w 6942639"/>
                <a:gd name="connsiteY1022" fmla="*/ 8566687 h 9250612"/>
                <a:gd name="connsiteX1023" fmla="*/ 846884 w 6942639"/>
                <a:gd name="connsiteY1023" fmla="*/ 8557726 h 9250612"/>
                <a:gd name="connsiteX1024" fmla="*/ 855846 w 6942639"/>
                <a:gd name="connsiteY1024" fmla="*/ 8548766 h 9250612"/>
                <a:gd name="connsiteX1025" fmla="*/ 687104 w 6942639"/>
                <a:gd name="connsiteY1025" fmla="*/ 8548766 h 9250612"/>
                <a:gd name="connsiteX1026" fmla="*/ 696064 w 6942639"/>
                <a:gd name="connsiteY1026" fmla="*/ 8557726 h 9250612"/>
                <a:gd name="connsiteX1027" fmla="*/ 687104 w 6942639"/>
                <a:gd name="connsiteY1027" fmla="*/ 8566687 h 9250612"/>
                <a:gd name="connsiteX1028" fmla="*/ 678144 w 6942639"/>
                <a:gd name="connsiteY1028" fmla="*/ 8557726 h 9250612"/>
                <a:gd name="connsiteX1029" fmla="*/ 687104 w 6942639"/>
                <a:gd name="connsiteY1029" fmla="*/ 8548766 h 9250612"/>
                <a:gd name="connsiteX1030" fmla="*/ 518358 w 6942639"/>
                <a:gd name="connsiteY1030" fmla="*/ 8548766 h 9250612"/>
                <a:gd name="connsiteX1031" fmla="*/ 527319 w 6942639"/>
                <a:gd name="connsiteY1031" fmla="*/ 8557726 h 9250612"/>
                <a:gd name="connsiteX1032" fmla="*/ 518358 w 6942639"/>
                <a:gd name="connsiteY1032" fmla="*/ 8566687 h 9250612"/>
                <a:gd name="connsiteX1033" fmla="*/ 509398 w 6942639"/>
                <a:gd name="connsiteY1033" fmla="*/ 8557726 h 9250612"/>
                <a:gd name="connsiteX1034" fmla="*/ 518358 w 6942639"/>
                <a:gd name="connsiteY1034" fmla="*/ 8548766 h 9250612"/>
                <a:gd name="connsiteX1035" fmla="*/ 349618 w 6942639"/>
                <a:gd name="connsiteY1035" fmla="*/ 8548766 h 9250612"/>
                <a:gd name="connsiteX1036" fmla="*/ 358578 w 6942639"/>
                <a:gd name="connsiteY1036" fmla="*/ 8557726 h 9250612"/>
                <a:gd name="connsiteX1037" fmla="*/ 349618 w 6942639"/>
                <a:gd name="connsiteY1037" fmla="*/ 8566687 h 9250612"/>
                <a:gd name="connsiteX1038" fmla="*/ 340658 w 6942639"/>
                <a:gd name="connsiteY1038" fmla="*/ 8557726 h 9250612"/>
                <a:gd name="connsiteX1039" fmla="*/ 349618 w 6942639"/>
                <a:gd name="connsiteY1039" fmla="*/ 8548766 h 9250612"/>
                <a:gd name="connsiteX1040" fmla="*/ 179297 w 6942639"/>
                <a:gd name="connsiteY1040" fmla="*/ 8548766 h 9250612"/>
                <a:gd name="connsiteX1041" fmla="*/ 188258 w 6942639"/>
                <a:gd name="connsiteY1041" fmla="*/ 8557726 h 9250612"/>
                <a:gd name="connsiteX1042" fmla="*/ 179297 w 6942639"/>
                <a:gd name="connsiteY1042" fmla="*/ 8566687 h 9250612"/>
                <a:gd name="connsiteX1043" fmla="*/ 170337 w 6942639"/>
                <a:gd name="connsiteY1043" fmla="*/ 8557726 h 9250612"/>
                <a:gd name="connsiteX1044" fmla="*/ 179297 w 6942639"/>
                <a:gd name="connsiteY1044" fmla="*/ 8548766 h 9250612"/>
                <a:gd name="connsiteX1045" fmla="*/ 8977 w 6942639"/>
                <a:gd name="connsiteY1045" fmla="*/ 8548766 h 9250612"/>
                <a:gd name="connsiteX1046" fmla="*/ 17937 w 6942639"/>
                <a:gd name="connsiteY1046" fmla="*/ 8557726 h 9250612"/>
                <a:gd name="connsiteX1047" fmla="*/ 8977 w 6942639"/>
                <a:gd name="connsiteY1047" fmla="*/ 8566687 h 9250612"/>
                <a:gd name="connsiteX1048" fmla="*/ 16 w 6942639"/>
                <a:gd name="connsiteY1048" fmla="*/ 8557726 h 9250612"/>
                <a:gd name="connsiteX1049" fmla="*/ 8977 w 6942639"/>
                <a:gd name="connsiteY1049" fmla="*/ 8548766 h 9250612"/>
                <a:gd name="connsiteX1050" fmla="*/ 6933679 w 6942639"/>
                <a:gd name="connsiteY1050" fmla="*/ 8377784 h 9250612"/>
                <a:gd name="connsiteX1051" fmla="*/ 6942639 w 6942639"/>
                <a:gd name="connsiteY1051" fmla="*/ 8386744 h 9250612"/>
                <a:gd name="connsiteX1052" fmla="*/ 6933679 w 6942639"/>
                <a:gd name="connsiteY1052" fmla="*/ 8395705 h 9250612"/>
                <a:gd name="connsiteX1053" fmla="*/ 6924718 w 6942639"/>
                <a:gd name="connsiteY1053" fmla="*/ 8386744 h 9250612"/>
                <a:gd name="connsiteX1054" fmla="*/ 6933679 w 6942639"/>
                <a:gd name="connsiteY1054" fmla="*/ 8377784 h 9250612"/>
                <a:gd name="connsiteX1055" fmla="*/ 6763357 w 6942639"/>
                <a:gd name="connsiteY1055" fmla="*/ 8377784 h 9250612"/>
                <a:gd name="connsiteX1056" fmla="*/ 6772318 w 6942639"/>
                <a:gd name="connsiteY1056" fmla="*/ 8386744 h 9250612"/>
                <a:gd name="connsiteX1057" fmla="*/ 6763357 w 6942639"/>
                <a:gd name="connsiteY1057" fmla="*/ 8395705 h 9250612"/>
                <a:gd name="connsiteX1058" fmla="*/ 6754397 w 6942639"/>
                <a:gd name="connsiteY1058" fmla="*/ 8386744 h 9250612"/>
                <a:gd name="connsiteX1059" fmla="*/ 6763357 w 6942639"/>
                <a:gd name="connsiteY1059" fmla="*/ 8377784 h 9250612"/>
                <a:gd name="connsiteX1060" fmla="*/ 6593035 w 6942639"/>
                <a:gd name="connsiteY1060" fmla="*/ 8377784 h 9250612"/>
                <a:gd name="connsiteX1061" fmla="*/ 6601996 w 6942639"/>
                <a:gd name="connsiteY1061" fmla="*/ 8386744 h 9250612"/>
                <a:gd name="connsiteX1062" fmla="*/ 6593035 w 6942639"/>
                <a:gd name="connsiteY1062" fmla="*/ 8395705 h 9250612"/>
                <a:gd name="connsiteX1063" fmla="*/ 6584075 w 6942639"/>
                <a:gd name="connsiteY1063" fmla="*/ 8386744 h 9250612"/>
                <a:gd name="connsiteX1064" fmla="*/ 6593035 w 6942639"/>
                <a:gd name="connsiteY1064" fmla="*/ 8377784 h 9250612"/>
                <a:gd name="connsiteX1065" fmla="*/ 6424294 w 6942639"/>
                <a:gd name="connsiteY1065" fmla="*/ 8377784 h 9250612"/>
                <a:gd name="connsiteX1066" fmla="*/ 6433255 w 6942639"/>
                <a:gd name="connsiteY1066" fmla="*/ 8386744 h 9250612"/>
                <a:gd name="connsiteX1067" fmla="*/ 6424294 w 6942639"/>
                <a:gd name="connsiteY1067" fmla="*/ 8395705 h 9250612"/>
                <a:gd name="connsiteX1068" fmla="*/ 6415334 w 6942639"/>
                <a:gd name="connsiteY1068" fmla="*/ 8386744 h 9250612"/>
                <a:gd name="connsiteX1069" fmla="*/ 6424294 w 6942639"/>
                <a:gd name="connsiteY1069" fmla="*/ 8377784 h 9250612"/>
                <a:gd name="connsiteX1070" fmla="*/ 6255553 w 6942639"/>
                <a:gd name="connsiteY1070" fmla="*/ 8377784 h 9250612"/>
                <a:gd name="connsiteX1071" fmla="*/ 6264514 w 6942639"/>
                <a:gd name="connsiteY1071" fmla="*/ 8386744 h 9250612"/>
                <a:gd name="connsiteX1072" fmla="*/ 6255553 w 6942639"/>
                <a:gd name="connsiteY1072" fmla="*/ 8395705 h 9250612"/>
                <a:gd name="connsiteX1073" fmla="*/ 6246593 w 6942639"/>
                <a:gd name="connsiteY1073" fmla="*/ 8386744 h 9250612"/>
                <a:gd name="connsiteX1074" fmla="*/ 6255553 w 6942639"/>
                <a:gd name="connsiteY1074" fmla="*/ 8377784 h 9250612"/>
                <a:gd name="connsiteX1075" fmla="*/ 6086811 w 6942639"/>
                <a:gd name="connsiteY1075" fmla="*/ 8377784 h 9250612"/>
                <a:gd name="connsiteX1076" fmla="*/ 6095772 w 6942639"/>
                <a:gd name="connsiteY1076" fmla="*/ 8386744 h 9250612"/>
                <a:gd name="connsiteX1077" fmla="*/ 6086811 w 6942639"/>
                <a:gd name="connsiteY1077" fmla="*/ 8395705 h 9250612"/>
                <a:gd name="connsiteX1078" fmla="*/ 6077851 w 6942639"/>
                <a:gd name="connsiteY1078" fmla="*/ 8386744 h 9250612"/>
                <a:gd name="connsiteX1079" fmla="*/ 6086811 w 6942639"/>
                <a:gd name="connsiteY1079" fmla="*/ 8377784 h 9250612"/>
                <a:gd name="connsiteX1080" fmla="*/ 5918069 w 6942639"/>
                <a:gd name="connsiteY1080" fmla="*/ 8377784 h 9250612"/>
                <a:gd name="connsiteX1081" fmla="*/ 5927030 w 6942639"/>
                <a:gd name="connsiteY1081" fmla="*/ 8386744 h 9250612"/>
                <a:gd name="connsiteX1082" fmla="*/ 5918069 w 6942639"/>
                <a:gd name="connsiteY1082" fmla="*/ 8395705 h 9250612"/>
                <a:gd name="connsiteX1083" fmla="*/ 5909109 w 6942639"/>
                <a:gd name="connsiteY1083" fmla="*/ 8386744 h 9250612"/>
                <a:gd name="connsiteX1084" fmla="*/ 5918069 w 6942639"/>
                <a:gd name="connsiteY1084" fmla="*/ 8377784 h 9250612"/>
                <a:gd name="connsiteX1085" fmla="*/ 5749328 w 6942639"/>
                <a:gd name="connsiteY1085" fmla="*/ 8377784 h 9250612"/>
                <a:gd name="connsiteX1086" fmla="*/ 5758289 w 6942639"/>
                <a:gd name="connsiteY1086" fmla="*/ 8386744 h 9250612"/>
                <a:gd name="connsiteX1087" fmla="*/ 5749328 w 6942639"/>
                <a:gd name="connsiteY1087" fmla="*/ 8395705 h 9250612"/>
                <a:gd name="connsiteX1088" fmla="*/ 5740368 w 6942639"/>
                <a:gd name="connsiteY1088" fmla="*/ 8386744 h 9250612"/>
                <a:gd name="connsiteX1089" fmla="*/ 5749328 w 6942639"/>
                <a:gd name="connsiteY1089" fmla="*/ 8377784 h 9250612"/>
                <a:gd name="connsiteX1090" fmla="*/ 5580586 w 6942639"/>
                <a:gd name="connsiteY1090" fmla="*/ 8377784 h 9250612"/>
                <a:gd name="connsiteX1091" fmla="*/ 5589547 w 6942639"/>
                <a:gd name="connsiteY1091" fmla="*/ 8386744 h 9250612"/>
                <a:gd name="connsiteX1092" fmla="*/ 5580586 w 6942639"/>
                <a:gd name="connsiteY1092" fmla="*/ 8395705 h 9250612"/>
                <a:gd name="connsiteX1093" fmla="*/ 5571626 w 6942639"/>
                <a:gd name="connsiteY1093" fmla="*/ 8386744 h 9250612"/>
                <a:gd name="connsiteX1094" fmla="*/ 5580586 w 6942639"/>
                <a:gd name="connsiteY1094" fmla="*/ 8377784 h 9250612"/>
                <a:gd name="connsiteX1095" fmla="*/ 5411845 w 6942639"/>
                <a:gd name="connsiteY1095" fmla="*/ 8377784 h 9250612"/>
                <a:gd name="connsiteX1096" fmla="*/ 5420806 w 6942639"/>
                <a:gd name="connsiteY1096" fmla="*/ 8386744 h 9250612"/>
                <a:gd name="connsiteX1097" fmla="*/ 5411845 w 6942639"/>
                <a:gd name="connsiteY1097" fmla="*/ 8395705 h 9250612"/>
                <a:gd name="connsiteX1098" fmla="*/ 5402885 w 6942639"/>
                <a:gd name="connsiteY1098" fmla="*/ 8386744 h 9250612"/>
                <a:gd name="connsiteX1099" fmla="*/ 5411845 w 6942639"/>
                <a:gd name="connsiteY1099" fmla="*/ 8377784 h 9250612"/>
                <a:gd name="connsiteX1100" fmla="*/ 5243103 w 6942639"/>
                <a:gd name="connsiteY1100" fmla="*/ 8377784 h 9250612"/>
                <a:gd name="connsiteX1101" fmla="*/ 5252064 w 6942639"/>
                <a:gd name="connsiteY1101" fmla="*/ 8386744 h 9250612"/>
                <a:gd name="connsiteX1102" fmla="*/ 5243103 w 6942639"/>
                <a:gd name="connsiteY1102" fmla="*/ 8395705 h 9250612"/>
                <a:gd name="connsiteX1103" fmla="*/ 5234143 w 6942639"/>
                <a:gd name="connsiteY1103" fmla="*/ 8386744 h 9250612"/>
                <a:gd name="connsiteX1104" fmla="*/ 5243103 w 6942639"/>
                <a:gd name="connsiteY1104" fmla="*/ 8377784 h 9250612"/>
                <a:gd name="connsiteX1105" fmla="*/ 5074362 w 6942639"/>
                <a:gd name="connsiteY1105" fmla="*/ 8377784 h 9250612"/>
                <a:gd name="connsiteX1106" fmla="*/ 5083323 w 6942639"/>
                <a:gd name="connsiteY1106" fmla="*/ 8386744 h 9250612"/>
                <a:gd name="connsiteX1107" fmla="*/ 5074362 w 6942639"/>
                <a:gd name="connsiteY1107" fmla="*/ 8395705 h 9250612"/>
                <a:gd name="connsiteX1108" fmla="*/ 5065402 w 6942639"/>
                <a:gd name="connsiteY1108" fmla="*/ 8386744 h 9250612"/>
                <a:gd name="connsiteX1109" fmla="*/ 5074362 w 6942639"/>
                <a:gd name="connsiteY1109" fmla="*/ 8377784 h 9250612"/>
                <a:gd name="connsiteX1110" fmla="*/ 4905620 w 6942639"/>
                <a:gd name="connsiteY1110" fmla="*/ 8377784 h 9250612"/>
                <a:gd name="connsiteX1111" fmla="*/ 4914581 w 6942639"/>
                <a:gd name="connsiteY1111" fmla="*/ 8386744 h 9250612"/>
                <a:gd name="connsiteX1112" fmla="*/ 4905620 w 6942639"/>
                <a:gd name="connsiteY1112" fmla="*/ 8395705 h 9250612"/>
                <a:gd name="connsiteX1113" fmla="*/ 4896660 w 6942639"/>
                <a:gd name="connsiteY1113" fmla="*/ 8386744 h 9250612"/>
                <a:gd name="connsiteX1114" fmla="*/ 4905620 w 6942639"/>
                <a:gd name="connsiteY1114" fmla="*/ 8377784 h 9250612"/>
                <a:gd name="connsiteX1115" fmla="*/ 4736878 w 6942639"/>
                <a:gd name="connsiteY1115" fmla="*/ 8377784 h 9250612"/>
                <a:gd name="connsiteX1116" fmla="*/ 4745839 w 6942639"/>
                <a:gd name="connsiteY1116" fmla="*/ 8386744 h 9250612"/>
                <a:gd name="connsiteX1117" fmla="*/ 4736878 w 6942639"/>
                <a:gd name="connsiteY1117" fmla="*/ 8395705 h 9250612"/>
                <a:gd name="connsiteX1118" fmla="*/ 4727918 w 6942639"/>
                <a:gd name="connsiteY1118" fmla="*/ 8386744 h 9250612"/>
                <a:gd name="connsiteX1119" fmla="*/ 4736878 w 6942639"/>
                <a:gd name="connsiteY1119" fmla="*/ 8377784 h 9250612"/>
                <a:gd name="connsiteX1120" fmla="*/ 4568137 w 6942639"/>
                <a:gd name="connsiteY1120" fmla="*/ 8377784 h 9250612"/>
                <a:gd name="connsiteX1121" fmla="*/ 4577098 w 6942639"/>
                <a:gd name="connsiteY1121" fmla="*/ 8386744 h 9250612"/>
                <a:gd name="connsiteX1122" fmla="*/ 4568137 w 6942639"/>
                <a:gd name="connsiteY1122" fmla="*/ 8395705 h 9250612"/>
                <a:gd name="connsiteX1123" fmla="*/ 4559177 w 6942639"/>
                <a:gd name="connsiteY1123" fmla="*/ 8386744 h 9250612"/>
                <a:gd name="connsiteX1124" fmla="*/ 4568137 w 6942639"/>
                <a:gd name="connsiteY1124" fmla="*/ 8377784 h 9250612"/>
                <a:gd name="connsiteX1125" fmla="*/ 4399396 w 6942639"/>
                <a:gd name="connsiteY1125" fmla="*/ 8377784 h 9250612"/>
                <a:gd name="connsiteX1126" fmla="*/ 4408357 w 6942639"/>
                <a:gd name="connsiteY1126" fmla="*/ 8386744 h 9250612"/>
                <a:gd name="connsiteX1127" fmla="*/ 4399396 w 6942639"/>
                <a:gd name="connsiteY1127" fmla="*/ 8395705 h 9250612"/>
                <a:gd name="connsiteX1128" fmla="*/ 4390436 w 6942639"/>
                <a:gd name="connsiteY1128" fmla="*/ 8386744 h 9250612"/>
                <a:gd name="connsiteX1129" fmla="*/ 4399396 w 6942639"/>
                <a:gd name="connsiteY1129" fmla="*/ 8377784 h 9250612"/>
                <a:gd name="connsiteX1130" fmla="*/ 4230654 w 6942639"/>
                <a:gd name="connsiteY1130" fmla="*/ 8377784 h 9250612"/>
                <a:gd name="connsiteX1131" fmla="*/ 4239615 w 6942639"/>
                <a:gd name="connsiteY1131" fmla="*/ 8386744 h 9250612"/>
                <a:gd name="connsiteX1132" fmla="*/ 4230654 w 6942639"/>
                <a:gd name="connsiteY1132" fmla="*/ 8395705 h 9250612"/>
                <a:gd name="connsiteX1133" fmla="*/ 4221694 w 6942639"/>
                <a:gd name="connsiteY1133" fmla="*/ 8386744 h 9250612"/>
                <a:gd name="connsiteX1134" fmla="*/ 4230654 w 6942639"/>
                <a:gd name="connsiteY1134" fmla="*/ 8377784 h 9250612"/>
                <a:gd name="connsiteX1135" fmla="*/ 4061912 w 6942639"/>
                <a:gd name="connsiteY1135" fmla="*/ 8377784 h 9250612"/>
                <a:gd name="connsiteX1136" fmla="*/ 4070873 w 6942639"/>
                <a:gd name="connsiteY1136" fmla="*/ 8386744 h 9250612"/>
                <a:gd name="connsiteX1137" fmla="*/ 4061912 w 6942639"/>
                <a:gd name="connsiteY1137" fmla="*/ 8395705 h 9250612"/>
                <a:gd name="connsiteX1138" fmla="*/ 4052952 w 6942639"/>
                <a:gd name="connsiteY1138" fmla="*/ 8386744 h 9250612"/>
                <a:gd name="connsiteX1139" fmla="*/ 4061912 w 6942639"/>
                <a:gd name="connsiteY1139" fmla="*/ 8377784 h 9250612"/>
                <a:gd name="connsiteX1140" fmla="*/ 3893170 w 6942639"/>
                <a:gd name="connsiteY1140" fmla="*/ 8377784 h 9250612"/>
                <a:gd name="connsiteX1141" fmla="*/ 3902131 w 6942639"/>
                <a:gd name="connsiteY1141" fmla="*/ 8386744 h 9250612"/>
                <a:gd name="connsiteX1142" fmla="*/ 3893170 w 6942639"/>
                <a:gd name="connsiteY1142" fmla="*/ 8395705 h 9250612"/>
                <a:gd name="connsiteX1143" fmla="*/ 3884210 w 6942639"/>
                <a:gd name="connsiteY1143" fmla="*/ 8386744 h 9250612"/>
                <a:gd name="connsiteX1144" fmla="*/ 3893170 w 6942639"/>
                <a:gd name="connsiteY1144" fmla="*/ 8377784 h 9250612"/>
                <a:gd name="connsiteX1145" fmla="*/ 3724429 w 6942639"/>
                <a:gd name="connsiteY1145" fmla="*/ 8377784 h 9250612"/>
                <a:gd name="connsiteX1146" fmla="*/ 3733390 w 6942639"/>
                <a:gd name="connsiteY1146" fmla="*/ 8386744 h 9250612"/>
                <a:gd name="connsiteX1147" fmla="*/ 3724429 w 6942639"/>
                <a:gd name="connsiteY1147" fmla="*/ 8395705 h 9250612"/>
                <a:gd name="connsiteX1148" fmla="*/ 3715469 w 6942639"/>
                <a:gd name="connsiteY1148" fmla="*/ 8386744 h 9250612"/>
                <a:gd name="connsiteX1149" fmla="*/ 3724429 w 6942639"/>
                <a:gd name="connsiteY1149" fmla="*/ 8377784 h 9250612"/>
                <a:gd name="connsiteX1150" fmla="*/ 3555688 w 6942639"/>
                <a:gd name="connsiteY1150" fmla="*/ 8377784 h 9250612"/>
                <a:gd name="connsiteX1151" fmla="*/ 3564649 w 6942639"/>
                <a:gd name="connsiteY1151" fmla="*/ 8386744 h 9250612"/>
                <a:gd name="connsiteX1152" fmla="*/ 3555688 w 6942639"/>
                <a:gd name="connsiteY1152" fmla="*/ 8395705 h 9250612"/>
                <a:gd name="connsiteX1153" fmla="*/ 3546728 w 6942639"/>
                <a:gd name="connsiteY1153" fmla="*/ 8386744 h 9250612"/>
                <a:gd name="connsiteX1154" fmla="*/ 3555688 w 6942639"/>
                <a:gd name="connsiteY1154" fmla="*/ 8377784 h 9250612"/>
                <a:gd name="connsiteX1155" fmla="*/ 3386963 w 6942639"/>
                <a:gd name="connsiteY1155" fmla="*/ 8377784 h 9250612"/>
                <a:gd name="connsiteX1156" fmla="*/ 3395924 w 6942639"/>
                <a:gd name="connsiteY1156" fmla="*/ 8386744 h 9250612"/>
                <a:gd name="connsiteX1157" fmla="*/ 3386963 w 6942639"/>
                <a:gd name="connsiteY1157" fmla="*/ 8395705 h 9250612"/>
                <a:gd name="connsiteX1158" fmla="*/ 3377994 w 6942639"/>
                <a:gd name="connsiteY1158" fmla="*/ 8386744 h 9250612"/>
                <a:gd name="connsiteX1159" fmla="*/ 3386963 w 6942639"/>
                <a:gd name="connsiteY1159" fmla="*/ 8377784 h 9250612"/>
                <a:gd name="connsiteX1160" fmla="*/ 3218218 w 6942639"/>
                <a:gd name="connsiteY1160" fmla="*/ 8377784 h 9250612"/>
                <a:gd name="connsiteX1161" fmla="*/ 3227180 w 6942639"/>
                <a:gd name="connsiteY1161" fmla="*/ 8386744 h 9250612"/>
                <a:gd name="connsiteX1162" fmla="*/ 3218218 w 6942639"/>
                <a:gd name="connsiteY1162" fmla="*/ 8395705 h 9250612"/>
                <a:gd name="connsiteX1163" fmla="*/ 3209259 w 6942639"/>
                <a:gd name="connsiteY1163" fmla="*/ 8386744 h 9250612"/>
                <a:gd name="connsiteX1164" fmla="*/ 3218218 w 6942639"/>
                <a:gd name="connsiteY1164" fmla="*/ 8377784 h 9250612"/>
                <a:gd name="connsiteX1165" fmla="*/ 3049488 w 6942639"/>
                <a:gd name="connsiteY1165" fmla="*/ 8377784 h 9250612"/>
                <a:gd name="connsiteX1166" fmla="*/ 3058442 w 6942639"/>
                <a:gd name="connsiteY1166" fmla="*/ 8386744 h 9250612"/>
                <a:gd name="connsiteX1167" fmla="*/ 3049488 w 6942639"/>
                <a:gd name="connsiteY1167" fmla="*/ 8395705 h 9250612"/>
                <a:gd name="connsiteX1168" fmla="*/ 3040520 w 6942639"/>
                <a:gd name="connsiteY1168" fmla="*/ 8386744 h 9250612"/>
                <a:gd name="connsiteX1169" fmla="*/ 3049488 w 6942639"/>
                <a:gd name="connsiteY1169" fmla="*/ 8377784 h 9250612"/>
                <a:gd name="connsiteX1170" fmla="*/ 2880744 w 6942639"/>
                <a:gd name="connsiteY1170" fmla="*/ 8377784 h 9250612"/>
                <a:gd name="connsiteX1171" fmla="*/ 2889704 w 6942639"/>
                <a:gd name="connsiteY1171" fmla="*/ 8386744 h 9250612"/>
                <a:gd name="connsiteX1172" fmla="*/ 2880744 w 6942639"/>
                <a:gd name="connsiteY1172" fmla="*/ 8395705 h 9250612"/>
                <a:gd name="connsiteX1173" fmla="*/ 2871784 w 6942639"/>
                <a:gd name="connsiteY1173" fmla="*/ 8386744 h 9250612"/>
                <a:gd name="connsiteX1174" fmla="*/ 2880744 w 6942639"/>
                <a:gd name="connsiteY1174" fmla="*/ 8377784 h 9250612"/>
                <a:gd name="connsiteX1175" fmla="*/ 2711999 w 6942639"/>
                <a:gd name="connsiteY1175" fmla="*/ 8377784 h 9250612"/>
                <a:gd name="connsiteX1176" fmla="*/ 2720965 w 6942639"/>
                <a:gd name="connsiteY1176" fmla="*/ 8386744 h 9250612"/>
                <a:gd name="connsiteX1177" fmla="*/ 2711999 w 6942639"/>
                <a:gd name="connsiteY1177" fmla="*/ 8395705 h 9250612"/>
                <a:gd name="connsiteX1178" fmla="*/ 2703043 w 6942639"/>
                <a:gd name="connsiteY1178" fmla="*/ 8386744 h 9250612"/>
                <a:gd name="connsiteX1179" fmla="*/ 2711999 w 6942639"/>
                <a:gd name="connsiteY1179" fmla="*/ 8377784 h 9250612"/>
                <a:gd name="connsiteX1180" fmla="*/ 2543263 w 6942639"/>
                <a:gd name="connsiteY1180" fmla="*/ 8377784 h 9250612"/>
                <a:gd name="connsiteX1181" fmla="*/ 2552225 w 6942639"/>
                <a:gd name="connsiteY1181" fmla="*/ 8386744 h 9250612"/>
                <a:gd name="connsiteX1182" fmla="*/ 2543263 w 6942639"/>
                <a:gd name="connsiteY1182" fmla="*/ 8395705 h 9250612"/>
                <a:gd name="connsiteX1183" fmla="*/ 2534302 w 6942639"/>
                <a:gd name="connsiteY1183" fmla="*/ 8386744 h 9250612"/>
                <a:gd name="connsiteX1184" fmla="*/ 2543263 w 6942639"/>
                <a:gd name="connsiteY1184" fmla="*/ 8377784 h 9250612"/>
                <a:gd name="connsiteX1185" fmla="*/ 2374517 w 6942639"/>
                <a:gd name="connsiteY1185" fmla="*/ 8377784 h 9250612"/>
                <a:gd name="connsiteX1186" fmla="*/ 2383483 w 6942639"/>
                <a:gd name="connsiteY1186" fmla="*/ 8386744 h 9250612"/>
                <a:gd name="connsiteX1187" fmla="*/ 2374517 w 6942639"/>
                <a:gd name="connsiteY1187" fmla="*/ 8395705 h 9250612"/>
                <a:gd name="connsiteX1188" fmla="*/ 2365554 w 6942639"/>
                <a:gd name="connsiteY1188" fmla="*/ 8386744 h 9250612"/>
                <a:gd name="connsiteX1189" fmla="*/ 2374517 w 6942639"/>
                <a:gd name="connsiteY1189" fmla="*/ 8377784 h 9250612"/>
                <a:gd name="connsiteX1190" fmla="*/ 2205778 w 6942639"/>
                <a:gd name="connsiteY1190" fmla="*/ 8377784 h 9250612"/>
                <a:gd name="connsiteX1191" fmla="*/ 2214741 w 6942639"/>
                <a:gd name="connsiteY1191" fmla="*/ 8386744 h 9250612"/>
                <a:gd name="connsiteX1192" fmla="*/ 2205778 w 6942639"/>
                <a:gd name="connsiteY1192" fmla="*/ 8395705 h 9250612"/>
                <a:gd name="connsiteX1193" fmla="*/ 2196821 w 6942639"/>
                <a:gd name="connsiteY1193" fmla="*/ 8386744 h 9250612"/>
                <a:gd name="connsiteX1194" fmla="*/ 2205778 w 6942639"/>
                <a:gd name="connsiteY1194" fmla="*/ 8377784 h 9250612"/>
                <a:gd name="connsiteX1195" fmla="*/ 2037040 w 6942639"/>
                <a:gd name="connsiteY1195" fmla="*/ 8377784 h 9250612"/>
                <a:gd name="connsiteX1196" fmla="*/ 2045995 w 6942639"/>
                <a:gd name="connsiteY1196" fmla="*/ 8386744 h 9250612"/>
                <a:gd name="connsiteX1197" fmla="*/ 2037040 w 6942639"/>
                <a:gd name="connsiteY1197" fmla="*/ 8395705 h 9250612"/>
                <a:gd name="connsiteX1198" fmla="*/ 2028080 w 6942639"/>
                <a:gd name="connsiteY1198" fmla="*/ 8386744 h 9250612"/>
                <a:gd name="connsiteX1199" fmla="*/ 2037040 w 6942639"/>
                <a:gd name="connsiteY1199" fmla="*/ 8377784 h 9250612"/>
                <a:gd name="connsiteX1200" fmla="*/ 1868301 w 6942639"/>
                <a:gd name="connsiteY1200" fmla="*/ 8377784 h 9250612"/>
                <a:gd name="connsiteX1201" fmla="*/ 1877260 w 6942639"/>
                <a:gd name="connsiteY1201" fmla="*/ 8386744 h 9250612"/>
                <a:gd name="connsiteX1202" fmla="*/ 1868301 w 6942639"/>
                <a:gd name="connsiteY1202" fmla="*/ 8395705 h 9250612"/>
                <a:gd name="connsiteX1203" fmla="*/ 1859338 w 6942639"/>
                <a:gd name="connsiteY1203" fmla="*/ 8386744 h 9250612"/>
                <a:gd name="connsiteX1204" fmla="*/ 1868301 w 6942639"/>
                <a:gd name="connsiteY1204" fmla="*/ 8377784 h 9250612"/>
                <a:gd name="connsiteX1205" fmla="*/ 1699560 w 6942639"/>
                <a:gd name="connsiteY1205" fmla="*/ 8377784 h 9250612"/>
                <a:gd name="connsiteX1206" fmla="*/ 1708520 w 6942639"/>
                <a:gd name="connsiteY1206" fmla="*/ 8386744 h 9250612"/>
                <a:gd name="connsiteX1207" fmla="*/ 1699560 w 6942639"/>
                <a:gd name="connsiteY1207" fmla="*/ 8395705 h 9250612"/>
                <a:gd name="connsiteX1208" fmla="*/ 1690598 w 6942639"/>
                <a:gd name="connsiteY1208" fmla="*/ 8386744 h 9250612"/>
                <a:gd name="connsiteX1209" fmla="*/ 1699560 w 6942639"/>
                <a:gd name="connsiteY1209" fmla="*/ 8377784 h 9250612"/>
                <a:gd name="connsiteX1210" fmla="*/ 1530817 w 6942639"/>
                <a:gd name="connsiteY1210" fmla="*/ 8377784 h 9250612"/>
                <a:gd name="connsiteX1211" fmla="*/ 1539778 w 6942639"/>
                <a:gd name="connsiteY1211" fmla="*/ 8386744 h 9250612"/>
                <a:gd name="connsiteX1212" fmla="*/ 1530817 w 6942639"/>
                <a:gd name="connsiteY1212" fmla="*/ 8395705 h 9250612"/>
                <a:gd name="connsiteX1213" fmla="*/ 1521856 w 6942639"/>
                <a:gd name="connsiteY1213" fmla="*/ 8386744 h 9250612"/>
                <a:gd name="connsiteX1214" fmla="*/ 1530817 w 6942639"/>
                <a:gd name="connsiteY1214" fmla="*/ 8377784 h 9250612"/>
                <a:gd name="connsiteX1215" fmla="*/ 1362074 w 6942639"/>
                <a:gd name="connsiteY1215" fmla="*/ 8377784 h 9250612"/>
                <a:gd name="connsiteX1216" fmla="*/ 1371034 w 6942639"/>
                <a:gd name="connsiteY1216" fmla="*/ 8386744 h 9250612"/>
                <a:gd name="connsiteX1217" fmla="*/ 1362074 w 6942639"/>
                <a:gd name="connsiteY1217" fmla="*/ 8395705 h 9250612"/>
                <a:gd name="connsiteX1218" fmla="*/ 1353113 w 6942639"/>
                <a:gd name="connsiteY1218" fmla="*/ 8386744 h 9250612"/>
                <a:gd name="connsiteX1219" fmla="*/ 1362074 w 6942639"/>
                <a:gd name="connsiteY1219" fmla="*/ 8377784 h 9250612"/>
                <a:gd name="connsiteX1220" fmla="*/ 1193332 w 6942639"/>
                <a:gd name="connsiteY1220" fmla="*/ 8377784 h 9250612"/>
                <a:gd name="connsiteX1221" fmla="*/ 1202293 w 6942639"/>
                <a:gd name="connsiteY1221" fmla="*/ 8386744 h 9250612"/>
                <a:gd name="connsiteX1222" fmla="*/ 1193332 w 6942639"/>
                <a:gd name="connsiteY1222" fmla="*/ 8395705 h 9250612"/>
                <a:gd name="connsiteX1223" fmla="*/ 1184373 w 6942639"/>
                <a:gd name="connsiteY1223" fmla="*/ 8386744 h 9250612"/>
                <a:gd name="connsiteX1224" fmla="*/ 1193332 w 6942639"/>
                <a:gd name="connsiteY1224" fmla="*/ 8377784 h 9250612"/>
                <a:gd name="connsiteX1225" fmla="*/ 1024589 w 6942639"/>
                <a:gd name="connsiteY1225" fmla="*/ 8377784 h 9250612"/>
                <a:gd name="connsiteX1226" fmla="*/ 1033551 w 6942639"/>
                <a:gd name="connsiteY1226" fmla="*/ 8386744 h 9250612"/>
                <a:gd name="connsiteX1227" fmla="*/ 1024589 w 6942639"/>
                <a:gd name="connsiteY1227" fmla="*/ 8395705 h 9250612"/>
                <a:gd name="connsiteX1228" fmla="*/ 1015630 w 6942639"/>
                <a:gd name="connsiteY1228" fmla="*/ 8386744 h 9250612"/>
                <a:gd name="connsiteX1229" fmla="*/ 1024589 w 6942639"/>
                <a:gd name="connsiteY1229" fmla="*/ 8377784 h 9250612"/>
                <a:gd name="connsiteX1230" fmla="*/ 855850 w 6942639"/>
                <a:gd name="connsiteY1230" fmla="*/ 8377784 h 9250612"/>
                <a:gd name="connsiteX1231" fmla="*/ 864810 w 6942639"/>
                <a:gd name="connsiteY1231" fmla="*/ 8386744 h 9250612"/>
                <a:gd name="connsiteX1232" fmla="*/ 855850 w 6942639"/>
                <a:gd name="connsiteY1232" fmla="*/ 8395705 h 9250612"/>
                <a:gd name="connsiteX1233" fmla="*/ 846889 w 6942639"/>
                <a:gd name="connsiteY1233" fmla="*/ 8386744 h 9250612"/>
                <a:gd name="connsiteX1234" fmla="*/ 855850 w 6942639"/>
                <a:gd name="connsiteY1234" fmla="*/ 8377784 h 9250612"/>
                <a:gd name="connsiteX1235" fmla="*/ 687108 w 6942639"/>
                <a:gd name="connsiteY1235" fmla="*/ 8377784 h 9250612"/>
                <a:gd name="connsiteX1236" fmla="*/ 696069 w 6942639"/>
                <a:gd name="connsiteY1236" fmla="*/ 8386744 h 9250612"/>
                <a:gd name="connsiteX1237" fmla="*/ 687108 w 6942639"/>
                <a:gd name="connsiteY1237" fmla="*/ 8395705 h 9250612"/>
                <a:gd name="connsiteX1238" fmla="*/ 678148 w 6942639"/>
                <a:gd name="connsiteY1238" fmla="*/ 8386744 h 9250612"/>
                <a:gd name="connsiteX1239" fmla="*/ 687108 w 6942639"/>
                <a:gd name="connsiteY1239" fmla="*/ 8377784 h 9250612"/>
                <a:gd name="connsiteX1240" fmla="*/ 518362 w 6942639"/>
                <a:gd name="connsiteY1240" fmla="*/ 8377784 h 9250612"/>
                <a:gd name="connsiteX1241" fmla="*/ 527323 w 6942639"/>
                <a:gd name="connsiteY1241" fmla="*/ 8386744 h 9250612"/>
                <a:gd name="connsiteX1242" fmla="*/ 518362 w 6942639"/>
                <a:gd name="connsiteY1242" fmla="*/ 8395705 h 9250612"/>
                <a:gd name="connsiteX1243" fmla="*/ 509402 w 6942639"/>
                <a:gd name="connsiteY1243" fmla="*/ 8386744 h 9250612"/>
                <a:gd name="connsiteX1244" fmla="*/ 518362 w 6942639"/>
                <a:gd name="connsiteY1244" fmla="*/ 8377784 h 9250612"/>
                <a:gd name="connsiteX1245" fmla="*/ 349622 w 6942639"/>
                <a:gd name="connsiteY1245" fmla="*/ 8377784 h 9250612"/>
                <a:gd name="connsiteX1246" fmla="*/ 358582 w 6942639"/>
                <a:gd name="connsiteY1246" fmla="*/ 8386744 h 9250612"/>
                <a:gd name="connsiteX1247" fmla="*/ 349622 w 6942639"/>
                <a:gd name="connsiteY1247" fmla="*/ 8395705 h 9250612"/>
                <a:gd name="connsiteX1248" fmla="*/ 340661 w 6942639"/>
                <a:gd name="connsiteY1248" fmla="*/ 8386744 h 9250612"/>
                <a:gd name="connsiteX1249" fmla="*/ 349622 w 6942639"/>
                <a:gd name="connsiteY1249" fmla="*/ 8377784 h 9250612"/>
                <a:gd name="connsiteX1250" fmla="*/ 179301 w 6942639"/>
                <a:gd name="connsiteY1250" fmla="*/ 8377784 h 9250612"/>
                <a:gd name="connsiteX1251" fmla="*/ 188262 w 6942639"/>
                <a:gd name="connsiteY1251" fmla="*/ 8386744 h 9250612"/>
                <a:gd name="connsiteX1252" fmla="*/ 179301 w 6942639"/>
                <a:gd name="connsiteY1252" fmla="*/ 8395705 h 9250612"/>
                <a:gd name="connsiteX1253" fmla="*/ 170341 w 6942639"/>
                <a:gd name="connsiteY1253" fmla="*/ 8386744 h 9250612"/>
                <a:gd name="connsiteX1254" fmla="*/ 179301 w 6942639"/>
                <a:gd name="connsiteY1254" fmla="*/ 8377784 h 9250612"/>
                <a:gd name="connsiteX1255" fmla="*/ 8981 w 6942639"/>
                <a:gd name="connsiteY1255" fmla="*/ 8377784 h 9250612"/>
                <a:gd name="connsiteX1256" fmla="*/ 17941 w 6942639"/>
                <a:gd name="connsiteY1256" fmla="*/ 8386744 h 9250612"/>
                <a:gd name="connsiteX1257" fmla="*/ 8981 w 6942639"/>
                <a:gd name="connsiteY1257" fmla="*/ 8395705 h 9250612"/>
                <a:gd name="connsiteX1258" fmla="*/ 20 w 6942639"/>
                <a:gd name="connsiteY1258" fmla="*/ 8386744 h 9250612"/>
                <a:gd name="connsiteX1259" fmla="*/ 8981 w 6942639"/>
                <a:gd name="connsiteY1259" fmla="*/ 8377784 h 9250612"/>
                <a:gd name="connsiteX1260" fmla="*/ 6933679 w 6942639"/>
                <a:gd name="connsiteY1260" fmla="*/ 8206802 h 9250612"/>
                <a:gd name="connsiteX1261" fmla="*/ 6942639 w 6942639"/>
                <a:gd name="connsiteY1261" fmla="*/ 8215762 h 9250612"/>
                <a:gd name="connsiteX1262" fmla="*/ 6933679 w 6942639"/>
                <a:gd name="connsiteY1262" fmla="*/ 8224723 h 9250612"/>
                <a:gd name="connsiteX1263" fmla="*/ 6924718 w 6942639"/>
                <a:gd name="connsiteY1263" fmla="*/ 8215762 h 9250612"/>
                <a:gd name="connsiteX1264" fmla="*/ 6933679 w 6942639"/>
                <a:gd name="connsiteY1264" fmla="*/ 8206802 h 9250612"/>
                <a:gd name="connsiteX1265" fmla="*/ 6763357 w 6942639"/>
                <a:gd name="connsiteY1265" fmla="*/ 8206802 h 9250612"/>
                <a:gd name="connsiteX1266" fmla="*/ 6772318 w 6942639"/>
                <a:gd name="connsiteY1266" fmla="*/ 8215762 h 9250612"/>
                <a:gd name="connsiteX1267" fmla="*/ 6763357 w 6942639"/>
                <a:gd name="connsiteY1267" fmla="*/ 8224723 h 9250612"/>
                <a:gd name="connsiteX1268" fmla="*/ 6754397 w 6942639"/>
                <a:gd name="connsiteY1268" fmla="*/ 8215762 h 9250612"/>
                <a:gd name="connsiteX1269" fmla="*/ 6763357 w 6942639"/>
                <a:gd name="connsiteY1269" fmla="*/ 8206802 h 9250612"/>
                <a:gd name="connsiteX1270" fmla="*/ 6593035 w 6942639"/>
                <a:gd name="connsiteY1270" fmla="*/ 8206802 h 9250612"/>
                <a:gd name="connsiteX1271" fmla="*/ 6601996 w 6942639"/>
                <a:gd name="connsiteY1271" fmla="*/ 8215762 h 9250612"/>
                <a:gd name="connsiteX1272" fmla="*/ 6593035 w 6942639"/>
                <a:gd name="connsiteY1272" fmla="*/ 8224723 h 9250612"/>
                <a:gd name="connsiteX1273" fmla="*/ 6584075 w 6942639"/>
                <a:gd name="connsiteY1273" fmla="*/ 8215762 h 9250612"/>
                <a:gd name="connsiteX1274" fmla="*/ 6593035 w 6942639"/>
                <a:gd name="connsiteY1274" fmla="*/ 8206802 h 9250612"/>
                <a:gd name="connsiteX1275" fmla="*/ 6424294 w 6942639"/>
                <a:gd name="connsiteY1275" fmla="*/ 8206802 h 9250612"/>
                <a:gd name="connsiteX1276" fmla="*/ 6433255 w 6942639"/>
                <a:gd name="connsiteY1276" fmla="*/ 8215762 h 9250612"/>
                <a:gd name="connsiteX1277" fmla="*/ 6424294 w 6942639"/>
                <a:gd name="connsiteY1277" fmla="*/ 8224723 h 9250612"/>
                <a:gd name="connsiteX1278" fmla="*/ 6415334 w 6942639"/>
                <a:gd name="connsiteY1278" fmla="*/ 8215762 h 9250612"/>
                <a:gd name="connsiteX1279" fmla="*/ 6424294 w 6942639"/>
                <a:gd name="connsiteY1279" fmla="*/ 8206802 h 9250612"/>
                <a:gd name="connsiteX1280" fmla="*/ 6255553 w 6942639"/>
                <a:gd name="connsiteY1280" fmla="*/ 8206802 h 9250612"/>
                <a:gd name="connsiteX1281" fmla="*/ 6264514 w 6942639"/>
                <a:gd name="connsiteY1281" fmla="*/ 8215762 h 9250612"/>
                <a:gd name="connsiteX1282" fmla="*/ 6255553 w 6942639"/>
                <a:gd name="connsiteY1282" fmla="*/ 8224723 h 9250612"/>
                <a:gd name="connsiteX1283" fmla="*/ 6246593 w 6942639"/>
                <a:gd name="connsiteY1283" fmla="*/ 8215762 h 9250612"/>
                <a:gd name="connsiteX1284" fmla="*/ 6255553 w 6942639"/>
                <a:gd name="connsiteY1284" fmla="*/ 8206802 h 9250612"/>
                <a:gd name="connsiteX1285" fmla="*/ 6086811 w 6942639"/>
                <a:gd name="connsiteY1285" fmla="*/ 8206802 h 9250612"/>
                <a:gd name="connsiteX1286" fmla="*/ 6095772 w 6942639"/>
                <a:gd name="connsiteY1286" fmla="*/ 8215762 h 9250612"/>
                <a:gd name="connsiteX1287" fmla="*/ 6086811 w 6942639"/>
                <a:gd name="connsiteY1287" fmla="*/ 8224723 h 9250612"/>
                <a:gd name="connsiteX1288" fmla="*/ 6077851 w 6942639"/>
                <a:gd name="connsiteY1288" fmla="*/ 8215762 h 9250612"/>
                <a:gd name="connsiteX1289" fmla="*/ 6086811 w 6942639"/>
                <a:gd name="connsiteY1289" fmla="*/ 8206802 h 9250612"/>
                <a:gd name="connsiteX1290" fmla="*/ 5918069 w 6942639"/>
                <a:gd name="connsiteY1290" fmla="*/ 8206802 h 9250612"/>
                <a:gd name="connsiteX1291" fmla="*/ 5927030 w 6942639"/>
                <a:gd name="connsiteY1291" fmla="*/ 8215762 h 9250612"/>
                <a:gd name="connsiteX1292" fmla="*/ 5918069 w 6942639"/>
                <a:gd name="connsiteY1292" fmla="*/ 8224723 h 9250612"/>
                <a:gd name="connsiteX1293" fmla="*/ 5909109 w 6942639"/>
                <a:gd name="connsiteY1293" fmla="*/ 8215762 h 9250612"/>
                <a:gd name="connsiteX1294" fmla="*/ 5918069 w 6942639"/>
                <a:gd name="connsiteY1294" fmla="*/ 8206802 h 9250612"/>
                <a:gd name="connsiteX1295" fmla="*/ 5749328 w 6942639"/>
                <a:gd name="connsiteY1295" fmla="*/ 8206802 h 9250612"/>
                <a:gd name="connsiteX1296" fmla="*/ 5758289 w 6942639"/>
                <a:gd name="connsiteY1296" fmla="*/ 8215762 h 9250612"/>
                <a:gd name="connsiteX1297" fmla="*/ 5749328 w 6942639"/>
                <a:gd name="connsiteY1297" fmla="*/ 8224723 h 9250612"/>
                <a:gd name="connsiteX1298" fmla="*/ 5740368 w 6942639"/>
                <a:gd name="connsiteY1298" fmla="*/ 8215762 h 9250612"/>
                <a:gd name="connsiteX1299" fmla="*/ 5749328 w 6942639"/>
                <a:gd name="connsiteY1299" fmla="*/ 8206802 h 9250612"/>
                <a:gd name="connsiteX1300" fmla="*/ 5580586 w 6942639"/>
                <a:gd name="connsiteY1300" fmla="*/ 8206802 h 9250612"/>
                <a:gd name="connsiteX1301" fmla="*/ 5589547 w 6942639"/>
                <a:gd name="connsiteY1301" fmla="*/ 8215762 h 9250612"/>
                <a:gd name="connsiteX1302" fmla="*/ 5580586 w 6942639"/>
                <a:gd name="connsiteY1302" fmla="*/ 8224723 h 9250612"/>
                <a:gd name="connsiteX1303" fmla="*/ 5571626 w 6942639"/>
                <a:gd name="connsiteY1303" fmla="*/ 8215762 h 9250612"/>
                <a:gd name="connsiteX1304" fmla="*/ 5580586 w 6942639"/>
                <a:gd name="connsiteY1304" fmla="*/ 8206802 h 9250612"/>
                <a:gd name="connsiteX1305" fmla="*/ 5411845 w 6942639"/>
                <a:gd name="connsiteY1305" fmla="*/ 8206802 h 9250612"/>
                <a:gd name="connsiteX1306" fmla="*/ 5420806 w 6942639"/>
                <a:gd name="connsiteY1306" fmla="*/ 8215762 h 9250612"/>
                <a:gd name="connsiteX1307" fmla="*/ 5411845 w 6942639"/>
                <a:gd name="connsiteY1307" fmla="*/ 8224723 h 9250612"/>
                <a:gd name="connsiteX1308" fmla="*/ 5402885 w 6942639"/>
                <a:gd name="connsiteY1308" fmla="*/ 8215762 h 9250612"/>
                <a:gd name="connsiteX1309" fmla="*/ 5411845 w 6942639"/>
                <a:gd name="connsiteY1309" fmla="*/ 8206802 h 9250612"/>
                <a:gd name="connsiteX1310" fmla="*/ 5243103 w 6942639"/>
                <a:gd name="connsiteY1310" fmla="*/ 8206802 h 9250612"/>
                <a:gd name="connsiteX1311" fmla="*/ 5252064 w 6942639"/>
                <a:gd name="connsiteY1311" fmla="*/ 8215762 h 9250612"/>
                <a:gd name="connsiteX1312" fmla="*/ 5243103 w 6942639"/>
                <a:gd name="connsiteY1312" fmla="*/ 8224723 h 9250612"/>
                <a:gd name="connsiteX1313" fmla="*/ 5234143 w 6942639"/>
                <a:gd name="connsiteY1313" fmla="*/ 8215762 h 9250612"/>
                <a:gd name="connsiteX1314" fmla="*/ 5243103 w 6942639"/>
                <a:gd name="connsiteY1314" fmla="*/ 8206802 h 9250612"/>
                <a:gd name="connsiteX1315" fmla="*/ 5074362 w 6942639"/>
                <a:gd name="connsiteY1315" fmla="*/ 8206802 h 9250612"/>
                <a:gd name="connsiteX1316" fmla="*/ 5083323 w 6942639"/>
                <a:gd name="connsiteY1316" fmla="*/ 8215762 h 9250612"/>
                <a:gd name="connsiteX1317" fmla="*/ 5074362 w 6942639"/>
                <a:gd name="connsiteY1317" fmla="*/ 8224723 h 9250612"/>
                <a:gd name="connsiteX1318" fmla="*/ 5065402 w 6942639"/>
                <a:gd name="connsiteY1318" fmla="*/ 8215762 h 9250612"/>
                <a:gd name="connsiteX1319" fmla="*/ 5074362 w 6942639"/>
                <a:gd name="connsiteY1319" fmla="*/ 8206802 h 9250612"/>
                <a:gd name="connsiteX1320" fmla="*/ 4905620 w 6942639"/>
                <a:gd name="connsiteY1320" fmla="*/ 8206802 h 9250612"/>
                <a:gd name="connsiteX1321" fmla="*/ 4914581 w 6942639"/>
                <a:gd name="connsiteY1321" fmla="*/ 8215762 h 9250612"/>
                <a:gd name="connsiteX1322" fmla="*/ 4905620 w 6942639"/>
                <a:gd name="connsiteY1322" fmla="*/ 8224723 h 9250612"/>
                <a:gd name="connsiteX1323" fmla="*/ 4896660 w 6942639"/>
                <a:gd name="connsiteY1323" fmla="*/ 8215762 h 9250612"/>
                <a:gd name="connsiteX1324" fmla="*/ 4905620 w 6942639"/>
                <a:gd name="connsiteY1324" fmla="*/ 8206802 h 9250612"/>
                <a:gd name="connsiteX1325" fmla="*/ 4736878 w 6942639"/>
                <a:gd name="connsiteY1325" fmla="*/ 8206802 h 9250612"/>
                <a:gd name="connsiteX1326" fmla="*/ 4745839 w 6942639"/>
                <a:gd name="connsiteY1326" fmla="*/ 8215762 h 9250612"/>
                <a:gd name="connsiteX1327" fmla="*/ 4736878 w 6942639"/>
                <a:gd name="connsiteY1327" fmla="*/ 8224723 h 9250612"/>
                <a:gd name="connsiteX1328" fmla="*/ 4727918 w 6942639"/>
                <a:gd name="connsiteY1328" fmla="*/ 8215762 h 9250612"/>
                <a:gd name="connsiteX1329" fmla="*/ 4736878 w 6942639"/>
                <a:gd name="connsiteY1329" fmla="*/ 8206802 h 9250612"/>
                <a:gd name="connsiteX1330" fmla="*/ 4568137 w 6942639"/>
                <a:gd name="connsiteY1330" fmla="*/ 8206802 h 9250612"/>
                <a:gd name="connsiteX1331" fmla="*/ 4577098 w 6942639"/>
                <a:gd name="connsiteY1331" fmla="*/ 8215762 h 9250612"/>
                <a:gd name="connsiteX1332" fmla="*/ 4568137 w 6942639"/>
                <a:gd name="connsiteY1332" fmla="*/ 8224723 h 9250612"/>
                <a:gd name="connsiteX1333" fmla="*/ 4559177 w 6942639"/>
                <a:gd name="connsiteY1333" fmla="*/ 8215762 h 9250612"/>
                <a:gd name="connsiteX1334" fmla="*/ 4568137 w 6942639"/>
                <a:gd name="connsiteY1334" fmla="*/ 8206802 h 9250612"/>
                <a:gd name="connsiteX1335" fmla="*/ 4399396 w 6942639"/>
                <a:gd name="connsiteY1335" fmla="*/ 8206802 h 9250612"/>
                <a:gd name="connsiteX1336" fmla="*/ 4408357 w 6942639"/>
                <a:gd name="connsiteY1336" fmla="*/ 8215762 h 9250612"/>
                <a:gd name="connsiteX1337" fmla="*/ 4399396 w 6942639"/>
                <a:gd name="connsiteY1337" fmla="*/ 8224723 h 9250612"/>
                <a:gd name="connsiteX1338" fmla="*/ 4390436 w 6942639"/>
                <a:gd name="connsiteY1338" fmla="*/ 8215762 h 9250612"/>
                <a:gd name="connsiteX1339" fmla="*/ 4399396 w 6942639"/>
                <a:gd name="connsiteY1339" fmla="*/ 8206802 h 9250612"/>
                <a:gd name="connsiteX1340" fmla="*/ 4230654 w 6942639"/>
                <a:gd name="connsiteY1340" fmla="*/ 8206802 h 9250612"/>
                <a:gd name="connsiteX1341" fmla="*/ 4239615 w 6942639"/>
                <a:gd name="connsiteY1341" fmla="*/ 8215762 h 9250612"/>
                <a:gd name="connsiteX1342" fmla="*/ 4230654 w 6942639"/>
                <a:gd name="connsiteY1342" fmla="*/ 8224723 h 9250612"/>
                <a:gd name="connsiteX1343" fmla="*/ 4221694 w 6942639"/>
                <a:gd name="connsiteY1343" fmla="*/ 8215762 h 9250612"/>
                <a:gd name="connsiteX1344" fmla="*/ 4230654 w 6942639"/>
                <a:gd name="connsiteY1344" fmla="*/ 8206802 h 9250612"/>
                <a:gd name="connsiteX1345" fmla="*/ 4061912 w 6942639"/>
                <a:gd name="connsiteY1345" fmla="*/ 8206802 h 9250612"/>
                <a:gd name="connsiteX1346" fmla="*/ 4070873 w 6942639"/>
                <a:gd name="connsiteY1346" fmla="*/ 8215762 h 9250612"/>
                <a:gd name="connsiteX1347" fmla="*/ 4061912 w 6942639"/>
                <a:gd name="connsiteY1347" fmla="*/ 8224723 h 9250612"/>
                <a:gd name="connsiteX1348" fmla="*/ 4052952 w 6942639"/>
                <a:gd name="connsiteY1348" fmla="*/ 8215762 h 9250612"/>
                <a:gd name="connsiteX1349" fmla="*/ 4061912 w 6942639"/>
                <a:gd name="connsiteY1349" fmla="*/ 8206802 h 9250612"/>
                <a:gd name="connsiteX1350" fmla="*/ 3893170 w 6942639"/>
                <a:gd name="connsiteY1350" fmla="*/ 8206802 h 9250612"/>
                <a:gd name="connsiteX1351" fmla="*/ 3902131 w 6942639"/>
                <a:gd name="connsiteY1351" fmla="*/ 8215762 h 9250612"/>
                <a:gd name="connsiteX1352" fmla="*/ 3893170 w 6942639"/>
                <a:gd name="connsiteY1352" fmla="*/ 8224723 h 9250612"/>
                <a:gd name="connsiteX1353" fmla="*/ 3884210 w 6942639"/>
                <a:gd name="connsiteY1353" fmla="*/ 8215762 h 9250612"/>
                <a:gd name="connsiteX1354" fmla="*/ 3893170 w 6942639"/>
                <a:gd name="connsiteY1354" fmla="*/ 8206802 h 9250612"/>
                <a:gd name="connsiteX1355" fmla="*/ 3724429 w 6942639"/>
                <a:gd name="connsiteY1355" fmla="*/ 8206802 h 9250612"/>
                <a:gd name="connsiteX1356" fmla="*/ 3733390 w 6942639"/>
                <a:gd name="connsiteY1356" fmla="*/ 8215762 h 9250612"/>
                <a:gd name="connsiteX1357" fmla="*/ 3724429 w 6942639"/>
                <a:gd name="connsiteY1357" fmla="*/ 8224723 h 9250612"/>
                <a:gd name="connsiteX1358" fmla="*/ 3715469 w 6942639"/>
                <a:gd name="connsiteY1358" fmla="*/ 8215762 h 9250612"/>
                <a:gd name="connsiteX1359" fmla="*/ 3724429 w 6942639"/>
                <a:gd name="connsiteY1359" fmla="*/ 8206802 h 9250612"/>
                <a:gd name="connsiteX1360" fmla="*/ 3555688 w 6942639"/>
                <a:gd name="connsiteY1360" fmla="*/ 8206802 h 9250612"/>
                <a:gd name="connsiteX1361" fmla="*/ 3564649 w 6942639"/>
                <a:gd name="connsiteY1361" fmla="*/ 8215762 h 9250612"/>
                <a:gd name="connsiteX1362" fmla="*/ 3555688 w 6942639"/>
                <a:gd name="connsiteY1362" fmla="*/ 8224723 h 9250612"/>
                <a:gd name="connsiteX1363" fmla="*/ 3546728 w 6942639"/>
                <a:gd name="connsiteY1363" fmla="*/ 8215762 h 9250612"/>
                <a:gd name="connsiteX1364" fmla="*/ 3555688 w 6942639"/>
                <a:gd name="connsiteY1364" fmla="*/ 8206802 h 9250612"/>
                <a:gd name="connsiteX1365" fmla="*/ 3386966 w 6942639"/>
                <a:gd name="connsiteY1365" fmla="*/ 8206802 h 9250612"/>
                <a:gd name="connsiteX1366" fmla="*/ 3395927 w 6942639"/>
                <a:gd name="connsiteY1366" fmla="*/ 8215762 h 9250612"/>
                <a:gd name="connsiteX1367" fmla="*/ 3386966 w 6942639"/>
                <a:gd name="connsiteY1367" fmla="*/ 8224723 h 9250612"/>
                <a:gd name="connsiteX1368" fmla="*/ 3377996 w 6942639"/>
                <a:gd name="connsiteY1368" fmla="*/ 8215762 h 9250612"/>
                <a:gd name="connsiteX1369" fmla="*/ 3386966 w 6942639"/>
                <a:gd name="connsiteY1369" fmla="*/ 8206802 h 9250612"/>
                <a:gd name="connsiteX1370" fmla="*/ 3218220 w 6942639"/>
                <a:gd name="connsiteY1370" fmla="*/ 8206802 h 9250612"/>
                <a:gd name="connsiteX1371" fmla="*/ 3227183 w 6942639"/>
                <a:gd name="connsiteY1371" fmla="*/ 8215762 h 9250612"/>
                <a:gd name="connsiteX1372" fmla="*/ 3218220 w 6942639"/>
                <a:gd name="connsiteY1372" fmla="*/ 8224723 h 9250612"/>
                <a:gd name="connsiteX1373" fmla="*/ 3209261 w 6942639"/>
                <a:gd name="connsiteY1373" fmla="*/ 8215762 h 9250612"/>
                <a:gd name="connsiteX1374" fmla="*/ 3218220 w 6942639"/>
                <a:gd name="connsiteY1374" fmla="*/ 8206802 h 9250612"/>
                <a:gd name="connsiteX1375" fmla="*/ 3049493 w 6942639"/>
                <a:gd name="connsiteY1375" fmla="*/ 8206802 h 9250612"/>
                <a:gd name="connsiteX1376" fmla="*/ 3058445 w 6942639"/>
                <a:gd name="connsiteY1376" fmla="*/ 8215762 h 9250612"/>
                <a:gd name="connsiteX1377" fmla="*/ 3049493 w 6942639"/>
                <a:gd name="connsiteY1377" fmla="*/ 8224723 h 9250612"/>
                <a:gd name="connsiteX1378" fmla="*/ 3040523 w 6942639"/>
                <a:gd name="connsiteY1378" fmla="*/ 8215762 h 9250612"/>
                <a:gd name="connsiteX1379" fmla="*/ 3049493 w 6942639"/>
                <a:gd name="connsiteY1379" fmla="*/ 8206802 h 9250612"/>
                <a:gd name="connsiteX1380" fmla="*/ 2880748 w 6942639"/>
                <a:gd name="connsiteY1380" fmla="*/ 8206802 h 9250612"/>
                <a:gd name="connsiteX1381" fmla="*/ 2889708 w 6942639"/>
                <a:gd name="connsiteY1381" fmla="*/ 8215762 h 9250612"/>
                <a:gd name="connsiteX1382" fmla="*/ 2880748 w 6942639"/>
                <a:gd name="connsiteY1382" fmla="*/ 8224723 h 9250612"/>
                <a:gd name="connsiteX1383" fmla="*/ 2871788 w 6942639"/>
                <a:gd name="connsiteY1383" fmla="*/ 8215762 h 9250612"/>
                <a:gd name="connsiteX1384" fmla="*/ 2880748 w 6942639"/>
                <a:gd name="connsiteY1384" fmla="*/ 8206802 h 9250612"/>
                <a:gd name="connsiteX1385" fmla="*/ 2712002 w 6942639"/>
                <a:gd name="connsiteY1385" fmla="*/ 8206802 h 9250612"/>
                <a:gd name="connsiteX1386" fmla="*/ 2720970 w 6942639"/>
                <a:gd name="connsiteY1386" fmla="*/ 8215762 h 9250612"/>
                <a:gd name="connsiteX1387" fmla="*/ 2712002 w 6942639"/>
                <a:gd name="connsiteY1387" fmla="*/ 8224723 h 9250612"/>
                <a:gd name="connsiteX1388" fmla="*/ 2703047 w 6942639"/>
                <a:gd name="connsiteY1388" fmla="*/ 8215762 h 9250612"/>
                <a:gd name="connsiteX1389" fmla="*/ 2712002 w 6942639"/>
                <a:gd name="connsiteY1389" fmla="*/ 8206802 h 9250612"/>
                <a:gd name="connsiteX1390" fmla="*/ 2543267 w 6942639"/>
                <a:gd name="connsiteY1390" fmla="*/ 8206802 h 9250612"/>
                <a:gd name="connsiteX1391" fmla="*/ 2552231 w 6942639"/>
                <a:gd name="connsiteY1391" fmla="*/ 8215762 h 9250612"/>
                <a:gd name="connsiteX1392" fmla="*/ 2543267 w 6942639"/>
                <a:gd name="connsiteY1392" fmla="*/ 8224723 h 9250612"/>
                <a:gd name="connsiteX1393" fmla="*/ 2534307 w 6942639"/>
                <a:gd name="connsiteY1393" fmla="*/ 8215762 h 9250612"/>
                <a:gd name="connsiteX1394" fmla="*/ 2543267 w 6942639"/>
                <a:gd name="connsiteY1394" fmla="*/ 8206802 h 9250612"/>
                <a:gd name="connsiteX1395" fmla="*/ 2374520 w 6942639"/>
                <a:gd name="connsiteY1395" fmla="*/ 8206802 h 9250612"/>
                <a:gd name="connsiteX1396" fmla="*/ 2383488 w 6942639"/>
                <a:gd name="connsiteY1396" fmla="*/ 8215762 h 9250612"/>
                <a:gd name="connsiteX1397" fmla="*/ 2374520 w 6942639"/>
                <a:gd name="connsiteY1397" fmla="*/ 8224723 h 9250612"/>
                <a:gd name="connsiteX1398" fmla="*/ 2365557 w 6942639"/>
                <a:gd name="connsiteY1398" fmla="*/ 8215762 h 9250612"/>
                <a:gd name="connsiteX1399" fmla="*/ 2374520 w 6942639"/>
                <a:gd name="connsiteY1399" fmla="*/ 8206802 h 9250612"/>
                <a:gd name="connsiteX1400" fmla="*/ 2205783 w 6942639"/>
                <a:gd name="connsiteY1400" fmla="*/ 8206802 h 9250612"/>
                <a:gd name="connsiteX1401" fmla="*/ 2214745 w 6942639"/>
                <a:gd name="connsiteY1401" fmla="*/ 8215762 h 9250612"/>
                <a:gd name="connsiteX1402" fmla="*/ 2205783 w 6942639"/>
                <a:gd name="connsiteY1402" fmla="*/ 8224723 h 9250612"/>
                <a:gd name="connsiteX1403" fmla="*/ 2196825 w 6942639"/>
                <a:gd name="connsiteY1403" fmla="*/ 8215762 h 9250612"/>
                <a:gd name="connsiteX1404" fmla="*/ 2205783 w 6942639"/>
                <a:gd name="connsiteY1404" fmla="*/ 8206802 h 9250612"/>
                <a:gd name="connsiteX1405" fmla="*/ 2037045 w 6942639"/>
                <a:gd name="connsiteY1405" fmla="*/ 8206802 h 9250612"/>
                <a:gd name="connsiteX1406" fmla="*/ 2045998 w 6942639"/>
                <a:gd name="connsiteY1406" fmla="*/ 8215762 h 9250612"/>
                <a:gd name="connsiteX1407" fmla="*/ 2037045 w 6942639"/>
                <a:gd name="connsiteY1407" fmla="*/ 8224723 h 9250612"/>
                <a:gd name="connsiteX1408" fmla="*/ 2028085 w 6942639"/>
                <a:gd name="connsiteY1408" fmla="*/ 8215762 h 9250612"/>
                <a:gd name="connsiteX1409" fmla="*/ 2037045 w 6942639"/>
                <a:gd name="connsiteY1409" fmla="*/ 8206802 h 9250612"/>
                <a:gd name="connsiteX1410" fmla="*/ 1868306 w 6942639"/>
                <a:gd name="connsiteY1410" fmla="*/ 8206802 h 9250612"/>
                <a:gd name="connsiteX1411" fmla="*/ 1877264 w 6942639"/>
                <a:gd name="connsiteY1411" fmla="*/ 8215762 h 9250612"/>
                <a:gd name="connsiteX1412" fmla="*/ 1868306 w 6942639"/>
                <a:gd name="connsiteY1412" fmla="*/ 8224723 h 9250612"/>
                <a:gd name="connsiteX1413" fmla="*/ 1859343 w 6942639"/>
                <a:gd name="connsiteY1413" fmla="*/ 8215762 h 9250612"/>
                <a:gd name="connsiteX1414" fmla="*/ 1868306 w 6942639"/>
                <a:gd name="connsiteY1414" fmla="*/ 8206802 h 9250612"/>
                <a:gd name="connsiteX1415" fmla="*/ 1699565 w 6942639"/>
                <a:gd name="connsiteY1415" fmla="*/ 8206802 h 9250612"/>
                <a:gd name="connsiteX1416" fmla="*/ 1708525 w 6942639"/>
                <a:gd name="connsiteY1416" fmla="*/ 8215762 h 9250612"/>
                <a:gd name="connsiteX1417" fmla="*/ 1699565 w 6942639"/>
                <a:gd name="connsiteY1417" fmla="*/ 8224723 h 9250612"/>
                <a:gd name="connsiteX1418" fmla="*/ 1690602 w 6942639"/>
                <a:gd name="connsiteY1418" fmla="*/ 8215762 h 9250612"/>
                <a:gd name="connsiteX1419" fmla="*/ 1699565 w 6942639"/>
                <a:gd name="connsiteY1419" fmla="*/ 8206802 h 9250612"/>
                <a:gd name="connsiteX1420" fmla="*/ 1530821 w 6942639"/>
                <a:gd name="connsiteY1420" fmla="*/ 8206802 h 9250612"/>
                <a:gd name="connsiteX1421" fmla="*/ 1539782 w 6942639"/>
                <a:gd name="connsiteY1421" fmla="*/ 8215762 h 9250612"/>
                <a:gd name="connsiteX1422" fmla="*/ 1530821 w 6942639"/>
                <a:gd name="connsiteY1422" fmla="*/ 8224723 h 9250612"/>
                <a:gd name="connsiteX1423" fmla="*/ 1521861 w 6942639"/>
                <a:gd name="connsiteY1423" fmla="*/ 8215762 h 9250612"/>
                <a:gd name="connsiteX1424" fmla="*/ 1530821 w 6942639"/>
                <a:gd name="connsiteY1424" fmla="*/ 8206802 h 9250612"/>
                <a:gd name="connsiteX1425" fmla="*/ 1362078 w 6942639"/>
                <a:gd name="connsiteY1425" fmla="*/ 8206802 h 9250612"/>
                <a:gd name="connsiteX1426" fmla="*/ 1371038 w 6942639"/>
                <a:gd name="connsiteY1426" fmla="*/ 8215762 h 9250612"/>
                <a:gd name="connsiteX1427" fmla="*/ 1362078 w 6942639"/>
                <a:gd name="connsiteY1427" fmla="*/ 8224723 h 9250612"/>
                <a:gd name="connsiteX1428" fmla="*/ 1353117 w 6942639"/>
                <a:gd name="connsiteY1428" fmla="*/ 8215762 h 9250612"/>
                <a:gd name="connsiteX1429" fmla="*/ 1362078 w 6942639"/>
                <a:gd name="connsiteY1429" fmla="*/ 8206802 h 9250612"/>
                <a:gd name="connsiteX1430" fmla="*/ 1193337 w 6942639"/>
                <a:gd name="connsiteY1430" fmla="*/ 8206802 h 9250612"/>
                <a:gd name="connsiteX1431" fmla="*/ 1202297 w 6942639"/>
                <a:gd name="connsiteY1431" fmla="*/ 8215762 h 9250612"/>
                <a:gd name="connsiteX1432" fmla="*/ 1193337 w 6942639"/>
                <a:gd name="connsiteY1432" fmla="*/ 8224723 h 9250612"/>
                <a:gd name="connsiteX1433" fmla="*/ 1184378 w 6942639"/>
                <a:gd name="connsiteY1433" fmla="*/ 8215762 h 9250612"/>
                <a:gd name="connsiteX1434" fmla="*/ 1193337 w 6942639"/>
                <a:gd name="connsiteY1434" fmla="*/ 8206802 h 9250612"/>
                <a:gd name="connsiteX1435" fmla="*/ 1024593 w 6942639"/>
                <a:gd name="connsiteY1435" fmla="*/ 8206802 h 9250612"/>
                <a:gd name="connsiteX1436" fmla="*/ 1033555 w 6942639"/>
                <a:gd name="connsiteY1436" fmla="*/ 8215762 h 9250612"/>
                <a:gd name="connsiteX1437" fmla="*/ 1024593 w 6942639"/>
                <a:gd name="connsiteY1437" fmla="*/ 8224723 h 9250612"/>
                <a:gd name="connsiteX1438" fmla="*/ 1015633 w 6942639"/>
                <a:gd name="connsiteY1438" fmla="*/ 8215762 h 9250612"/>
                <a:gd name="connsiteX1439" fmla="*/ 1024593 w 6942639"/>
                <a:gd name="connsiteY1439" fmla="*/ 8206802 h 9250612"/>
                <a:gd name="connsiteX1440" fmla="*/ 855855 w 6942639"/>
                <a:gd name="connsiteY1440" fmla="*/ 8206802 h 9250612"/>
                <a:gd name="connsiteX1441" fmla="*/ 864815 w 6942639"/>
                <a:gd name="connsiteY1441" fmla="*/ 8215762 h 9250612"/>
                <a:gd name="connsiteX1442" fmla="*/ 855855 w 6942639"/>
                <a:gd name="connsiteY1442" fmla="*/ 8224723 h 9250612"/>
                <a:gd name="connsiteX1443" fmla="*/ 846894 w 6942639"/>
                <a:gd name="connsiteY1443" fmla="*/ 8215762 h 9250612"/>
                <a:gd name="connsiteX1444" fmla="*/ 855855 w 6942639"/>
                <a:gd name="connsiteY1444" fmla="*/ 8206802 h 9250612"/>
                <a:gd name="connsiteX1445" fmla="*/ 687113 w 6942639"/>
                <a:gd name="connsiteY1445" fmla="*/ 8206802 h 9250612"/>
                <a:gd name="connsiteX1446" fmla="*/ 696074 w 6942639"/>
                <a:gd name="connsiteY1446" fmla="*/ 8215762 h 9250612"/>
                <a:gd name="connsiteX1447" fmla="*/ 687113 w 6942639"/>
                <a:gd name="connsiteY1447" fmla="*/ 8224723 h 9250612"/>
                <a:gd name="connsiteX1448" fmla="*/ 678153 w 6942639"/>
                <a:gd name="connsiteY1448" fmla="*/ 8215762 h 9250612"/>
                <a:gd name="connsiteX1449" fmla="*/ 687113 w 6942639"/>
                <a:gd name="connsiteY1449" fmla="*/ 8206802 h 9250612"/>
                <a:gd name="connsiteX1450" fmla="*/ 518366 w 6942639"/>
                <a:gd name="connsiteY1450" fmla="*/ 8206802 h 9250612"/>
                <a:gd name="connsiteX1451" fmla="*/ 527326 w 6942639"/>
                <a:gd name="connsiteY1451" fmla="*/ 8215762 h 9250612"/>
                <a:gd name="connsiteX1452" fmla="*/ 518366 w 6942639"/>
                <a:gd name="connsiteY1452" fmla="*/ 8224723 h 9250612"/>
                <a:gd name="connsiteX1453" fmla="*/ 509405 w 6942639"/>
                <a:gd name="connsiteY1453" fmla="*/ 8215762 h 9250612"/>
                <a:gd name="connsiteX1454" fmla="*/ 518366 w 6942639"/>
                <a:gd name="connsiteY1454" fmla="*/ 8206802 h 9250612"/>
                <a:gd name="connsiteX1455" fmla="*/ 349626 w 6942639"/>
                <a:gd name="connsiteY1455" fmla="*/ 8206802 h 9250612"/>
                <a:gd name="connsiteX1456" fmla="*/ 358586 w 6942639"/>
                <a:gd name="connsiteY1456" fmla="*/ 8215762 h 9250612"/>
                <a:gd name="connsiteX1457" fmla="*/ 349626 w 6942639"/>
                <a:gd name="connsiteY1457" fmla="*/ 8224723 h 9250612"/>
                <a:gd name="connsiteX1458" fmla="*/ 340665 w 6942639"/>
                <a:gd name="connsiteY1458" fmla="*/ 8215762 h 9250612"/>
                <a:gd name="connsiteX1459" fmla="*/ 349626 w 6942639"/>
                <a:gd name="connsiteY1459" fmla="*/ 8206802 h 9250612"/>
                <a:gd name="connsiteX1460" fmla="*/ 179305 w 6942639"/>
                <a:gd name="connsiteY1460" fmla="*/ 8206802 h 9250612"/>
                <a:gd name="connsiteX1461" fmla="*/ 188266 w 6942639"/>
                <a:gd name="connsiteY1461" fmla="*/ 8215762 h 9250612"/>
                <a:gd name="connsiteX1462" fmla="*/ 179305 w 6942639"/>
                <a:gd name="connsiteY1462" fmla="*/ 8224723 h 9250612"/>
                <a:gd name="connsiteX1463" fmla="*/ 170345 w 6942639"/>
                <a:gd name="connsiteY1463" fmla="*/ 8215762 h 9250612"/>
                <a:gd name="connsiteX1464" fmla="*/ 179305 w 6942639"/>
                <a:gd name="connsiteY1464" fmla="*/ 8206802 h 9250612"/>
                <a:gd name="connsiteX1465" fmla="*/ 8985 w 6942639"/>
                <a:gd name="connsiteY1465" fmla="*/ 8206802 h 9250612"/>
                <a:gd name="connsiteX1466" fmla="*/ 17945 w 6942639"/>
                <a:gd name="connsiteY1466" fmla="*/ 8215762 h 9250612"/>
                <a:gd name="connsiteX1467" fmla="*/ 8985 w 6942639"/>
                <a:gd name="connsiteY1467" fmla="*/ 8224723 h 9250612"/>
                <a:gd name="connsiteX1468" fmla="*/ 25 w 6942639"/>
                <a:gd name="connsiteY1468" fmla="*/ 8215762 h 9250612"/>
                <a:gd name="connsiteX1469" fmla="*/ 8985 w 6942639"/>
                <a:gd name="connsiteY1469" fmla="*/ 8206802 h 9250612"/>
                <a:gd name="connsiteX1470" fmla="*/ 6933679 w 6942639"/>
                <a:gd name="connsiteY1470" fmla="*/ 8035821 h 9250612"/>
                <a:gd name="connsiteX1471" fmla="*/ 6942639 w 6942639"/>
                <a:gd name="connsiteY1471" fmla="*/ 8044782 h 9250612"/>
                <a:gd name="connsiteX1472" fmla="*/ 6933679 w 6942639"/>
                <a:gd name="connsiteY1472" fmla="*/ 8053742 h 9250612"/>
                <a:gd name="connsiteX1473" fmla="*/ 6924718 w 6942639"/>
                <a:gd name="connsiteY1473" fmla="*/ 8044782 h 9250612"/>
                <a:gd name="connsiteX1474" fmla="*/ 6933679 w 6942639"/>
                <a:gd name="connsiteY1474" fmla="*/ 8035821 h 9250612"/>
                <a:gd name="connsiteX1475" fmla="*/ 6763357 w 6942639"/>
                <a:gd name="connsiteY1475" fmla="*/ 8035821 h 9250612"/>
                <a:gd name="connsiteX1476" fmla="*/ 6772318 w 6942639"/>
                <a:gd name="connsiteY1476" fmla="*/ 8044782 h 9250612"/>
                <a:gd name="connsiteX1477" fmla="*/ 6763357 w 6942639"/>
                <a:gd name="connsiteY1477" fmla="*/ 8053742 h 9250612"/>
                <a:gd name="connsiteX1478" fmla="*/ 6754397 w 6942639"/>
                <a:gd name="connsiteY1478" fmla="*/ 8044782 h 9250612"/>
                <a:gd name="connsiteX1479" fmla="*/ 6763357 w 6942639"/>
                <a:gd name="connsiteY1479" fmla="*/ 8035821 h 9250612"/>
                <a:gd name="connsiteX1480" fmla="*/ 6593035 w 6942639"/>
                <a:gd name="connsiteY1480" fmla="*/ 8035821 h 9250612"/>
                <a:gd name="connsiteX1481" fmla="*/ 6601996 w 6942639"/>
                <a:gd name="connsiteY1481" fmla="*/ 8044782 h 9250612"/>
                <a:gd name="connsiteX1482" fmla="*/ 6593035 w 6942639"/>
                <a:gd name="connsiteY1482" fmla="*/ 8053742 h 9250612"/>
                <a:gd name="connsiteX1483" fmla="*/ 6584075 w 6942639"/>
                <a:gd name="connsiteY1483" fmla="*/ 8044782 h 9250612"/>
                <a:gd name="connsiteX1484" fmla="*/ 6593035 w 6942639"/>
                <a:gd name="connsiteY1484" fmla="*/ 8035821 h 9250612"/>
                <a:gd name="connsiteX1485" fmla="*/ 6424294 w 6942639"/>
                <a:gd name="connsiteY1485" fmla="*/ 8035821 h 9250612"/>
                <a:gd name="connsiteX1486" fmla="*/ 6433255 w 6942639"/>
                <a:gd name="connsiteY1486" fmla="*/ 8044782 h 9250612"/>
                <a:gd name="connsiteX1487" fmla="*/ 6424294 w 6942639"/>
                <a:gd name="connsiteY1487" fmla="*/ 8053742 h 9250612"/>
                <a:gd name="connsiteX1488" fmla="*/ 6415334 w 6942639"/>
                <a:gd name="connsiteY1488" fmla="*/ 8044782 h 9250612"/>
                <a:gd name="connsiteX1489" fmla="*/ 6424294 w 6942639"/>
                <a:gd name="connsiteY1489" fmla="*/ 8035821 h 9250612"/>
                <a:gd name="connsiteX1490" fmla="*/ 6255553 w 6942639"/>
                <a:gd name="connsiteY1490" fmla="*/ 8035821 h 9250612"/>
                <a:gd name="connsiteX1491" fmla="*/ 6264514 w 6942639"/>
                <a:gd name="connsiteY1491" fmla="*/ 8044782 h 9250612"/>
                <a:gd name="connsiteX1492" fmla="*/ 6255553 w 6942639"/>
                <a:gd name="connsiteY1492" fmla="*/ 8053742 h 9250612"/>
                <a:gd name="connsiteX1493" fmla="*/ 6246593 w 6942639"/>
                <a:gd name="connsiteY1493" fmla="*/ 8044782 h 9250612"/>
                <a:gd name="connsiteX1494" fmla="*/ 6255553 w 6942639"/>
                <a:gd name="connsiteY1494" fmla="*/ 8035821 h 9250612"/>
                <a:gd name="connsiteX1495" fmla="*/ 6086811 w 6942639"/>
                <a:gd name="connsiteY1495" fmla="*/ 8035821 h 9250612"/>
                <a:gd name="connsiteX1496" fmla="*/ 6095772 w 6942639"/>
                <a:gd name="connsiteY1496" fmla="*/ 8044782 h 9250612"/>
                <a:gd name="connsiteX1497" fmla="*/ 6086811 w 6942639"/>
                <a:gd name="connsiteY1497" fmla="*/ 8053742 h 9250612"/>
                <a:gd name="connsiteX1498" fmla="*/ 6077851 w 6942639"/>
                <a:gd name="connsiteY1498" fmla="*/ 8044782 h 9250612"/>
                <a:gd name="connsiteX1499" fmla="*/ 6086811 w 6942639"/>
                <a:gd name="connsiteY1499" fmla="*/ 8035821 h 9250612"/>
                <a:gd name="connsiteX1500" fmla="*/ 5918069 w 6942639"/>
                <a:gd name="connsiteY1500" fmla="*/ 8035821 h 9250612"/>
                <a:gd name="connsiteX1501" fmla="*/ 5927030 w 6942639"/>
                <a:gd name="connsiteY1501" fmla="*/ 8044782 h 9250612"/>
                <a:gd name="connsiteX1502" fmla="*/ 5918069 w 6942639"/>
                <a:gd name="connsiteY1502" fmla="*/ 8053742 h 9250612"/>
                <a:gd name="connsiteX1503" fmla="*/ 5909109 w 6942639"/>
                <a:gd name="connsiteY1503" fmla="*/ 8044782 h 9250612"/>
                <a:gd name="connsiteX1504" fmla="*/ 5918069 w 6942639"/>
                <a:gd name="connsiteY1504" fmla="*/ 8035821 h 9250612"/>
                <a:gd name="connsiteX1505" fmla="*/ 5749328 w 6942639"/>
                <a:gd name="connsiteY1505" fmla="*/ 8035821 h 9250612"/>
                <a:gd name="connsiteX1506" fmla="*/ 5758289 w 6942639"/>
                <a:gd name="connsiteY1506" fmla="*/ 8044782 h 9250612"/>
                <a:gd name="connsiteX1507" fmla="*/ 5749328 w 6942639"/>
                <a:gd name="connsiteY1507" fmla="*/ 8053742 h 9250612"/>
                <a:gd name="connsiteX1508" fmla="*/ 5740368 w 6942639"/>
                <a:gd name="connsiteY1508" fmla="*/ 8044782 h 9250612"/>
                <a:gd name="connsiteX1509" fmla="*/ 5749328 w 6942639"/>
                <a:gd name="connsiteY1509" fmla="*/ 8035821 h 9250612"/>
                <a:gd name="connsiteX1510" fmla="*/ 5580586 w 6942639"/>
                <a:gd name="connsiteY1510" fmla="*/ 8035821 h 9250612"/>
                <a:gd name="connsiteX1511" fmla="*/ 5589547 w 6942639"/>
                <a:gd name="connsiteY1511" fmla="*/ 8044782 h 9250612"/>
                <a:gd name="connsiteX1512" fmla="*/ 5580586 w 6942639"/>
                <a:gd name="connsiteY1512" fmla="*/ 8053742 h 9250612"/>
                <a:gd name="connsiteX1513" fmla="*/ 5571626 w 6942639"/>
                <a:gd name="connsiteY1513" fmla="*/ 8044782 h 9250612"/>
                <a:gd name="connsiteX1514" fmla="*/ 5580586 w 6942639"/>
                <a:gd name="connsiteY1514" fmla="*/ 8035821 h 9250612"/>
                <a:gd name="connsiteX1515" fmla="*/ 5411845 w 6942639"/>
                <a:gd name="connsiteY1515" fmla="*/ 8035821 h 9250612"/>
                <a:gd name="connsiteX1516" fmla="*/ 5420806 w 6942639"/>
                <a:gd name="connsiteY1516" fmla="*/ 8044782 h 9250612"/>
                <a:gd name="connsiteX1517" fmla="*/ 5411845 w 6942639"/>
                <a:gd name="connsiteY1517" fmla="*/ 8053742 h 9250612"/>
                <a:gd name="connsiteX1518" fmla="*/ 5402885 w 6942639"/>
                <a:gd name="connsiteY1518" fmla="*/ 8044782 h 9250612"/>
                <a:gd name="connsiteX1519" fmla="*/ 5411845 w 6942639"/>
                <a:gd name="connsiteY1519" fmla="*/ 8035821 h 9250612"/>
                <a:gd name="connsiteX1520" fmla="*/ 5243103 w 6942639"/>
                <a:gd name="connsiteY1520" fmla="*/ 8035821 h 9250612"/>
                <a:gd name="connsiteX1521" fmla="*/ 5252064 w 6942639"/>
                <a:gd name="connsiteY1521" fmla="*/ 8044782 h 9250612"/>
                <a:gd name="connsiteX1522" fmla="*/ 5243103 w 6942639"/>
                <a:gd name="connsiteY1522" fmla="*/ 8053742 h 9250612"/>
                <a:gd name="connsiteX1523" fmla="*/ 5234143 w 6942639"/>
                <a:gd name="connsiteY1523" fmla="*/ 8044782 h 9250612"/>
                <a:gd name="connsiteX1524" fmla="*/ 5243103 w 6942639"/>
                <a:gd name="connsiteY1524" fmla="*/ 8035821 h 9250612"/>
                <a:gd name="connsiteX1525" fmla="*/ 5074362 w 6942639"/>
                <a:gd name="connsiteY1525" fmla="*/ 8035821 h 9250612"/>
                <a:gd name="connsiteX1526" fmla="*/ 5083323 w 6942639"/>
                <a:gd name="connsiteY1526" fmla="*/ 8044782 h 9250612"/>
                <a:gd name="connsiteX1527" fmla="*/ 5074362 w 6942639"/>
                <a:gd name="connsiteY1527" fmla="*/ 8053742 h 9250612"/>
                <a:gd name="connsiteX1528" fmla="*/ 5065402 w 6942639"/>
                <a:gd name="connsiteY1528" fmla="*/ 8044782 h 9250612"/>
                <a:gd name="connsiteX1529" fmla="*/ 5074362 w 6942639"/>
                <a:gd name="connsiteY1529" fmla="*/ 8035821 h 9250612"/>
                <a:gd name="connsiteX1530" fmla="*/ 4905620 w 6942639"/>
                <a:gd name="connsiteY1530" fmla="*/ 8035821 h 9250612"/>
                <a:gd name="connsiteX1531" fmla="*/ 4914581 w 6942639"/>
                <a:gd name="connsiteY1531" fmla="*/ 8044782 h 9250612"/>
                <a:gd name="connsiteX1532" fmla="*/ 4905620 w 6942639"/>
                <a:gd name="connsiteY1532" fmla="*/ 8053742 h 9250612"/>
                <a:gd name="connsiteX1533" fmla="*/ 4896660 w 6942639"/>
                <a:gd name="connsiteY1533" fmla="*/ 8044782 h 9250612"/>
                <a:gd name="connsiteX1534" fmla="*/ 4905620 w 6942639"/>
                <a:gd name="connsiteY1534" fmla="*/ 8035821 h 9250612"/>
                <a:gd name="connsiteX1535" fmla="*/ 4736878 w 6942639"/>
                <a:gd name="connsiteY1535" fmla="*/ 8035821 h 9250612"/>
                <a:gd name="connsiteX1536" fmla="*/ 4745839 w 6942639"/>
                <a:gd name="connsiteY1536" fmla="*/ 8044782 h 9250612"/>
                <a:gd name="connsiteX1537" fmla="*/ 4736878 w 6942639"/>
                <a:gd name="connsiteY1537" fmla="*/ 8053742 h 9250612"/>
                <a:gd name="connsiteX1538" fmla="*/ 4727918 w 6942639"/>
                <a:gd name="connsiteY1538" fmla="*/ 8044782 h 9250612"/>
                <a:gd name="connsiteX1539" fmla="*/ 4736878 w 6942639"/>
                <a:gd name="connsiteY1539" fmla="*/ 8035821 h 9250612"/>
                <a:gd name="connsiteX1540" fmla="*/ 4568137 w 6942639"/>
                <a:gd name="connsiteY1540" fmla="*/ 8035821 h 9250612"/>
                <a:gd name="connsiteX1541" fmla="*/ 4577098 w 6942639"/>
                <a:gd name="connsiteY1541" fmla="*/ 8044782 h 9250612"/>
                <a:gd name="connsiteX1542" fmla="*/ 4568137 w 6942639"/>
                <a:gd name="connsiteY1542" fmla="*/ 8053742 h 9250612"/>
                <a:gd name="connsiteX1543" fmla="*/ 4559177 w 6942639"/>
                <a:gd name="connsiteY1543" fmla="*/ 8044782 h 9250612"/>
                <a:gd name="connsiteX1544" fmla="*/ 4568137 w 6942639"/>
                <a:gd name="connsiteY1544" fmla="*/ 8035821 h 9250612"/>
                <a:gd name="connsiteX1545" fmla="*/ 4399396 w 6942639"/>
                <a:gd name="connsiteY1545" fmla="*/ 8035821 h 9250612"/>
                <a:gd name="connsiteX1546" fmla="*/ 4408357 w 6942639"/>
                <a:gd name="connsiteY1546" fmla="*/ 8044782 h 9250612"/>
                <a:gd name="connsiteX1547" fmla="*/ 4399396 w 6942639"/>
                <a:gd name="connsiteY1547" fmla="*/ 8053742 h 9250612"/>
                <a:gd name="connsiteX1548" fmla="*/ 4390436 w 6942639"/>
                <a:gd name="connsiteY1548" fmla="*/ 8044782 h 9250612"/>
                <a:gd name="connsiteX1549" fmla="*/ 4399396 w 6942639"/>
                <a:gd name="connsiteY1549" fmla="*/ 8035821 h 9250612"/>
                <a:gd name="connsiteX1550" fmla="*/ 4230654 w 6942639"/>
                <a:gd name="connsiteY1550" fmla="*/ 8035821 h 9250612"/>
                <a:gd name="connsiteX1551" fmla="*/ 4239615 w 6942639"/>
                <a:gd name="connsiteY1551" fmla="*/ 8044782 h 9250612"/>
                <a:gd name="connsiteX1552" fmla="*/ 4230654 w 6942639"/>
                <a:gd name="connsiteY1552" fmla="*/ 8053742 h 9250612"/>
                <a:gd name="connsiteX1553" fmla="*/ 4221694 w 6942639"/>
                <a:gd name="connsiteY1553" fmla="*/ 8044782 h 9250612"/>
                <a:gd name="connsiteX1554" fmla="*/ 4230654 w 6942639"/>
                <a:gd name="connsiteY1554" fmla="*/ 8035821 h 9250612"/>
                <a:gd name="connsiteX1555" fmla="*/ 4061912 w 6942639"/>
                <a:gd name="connsiteY1555" fmla="*/ 8035821 h 9250612"/>
                <a:gd name="connsiteX1556" fmla="*/ 4070873 w 6942639"/>
                <a:gd name="connsiteY1556" fmla="*/ 8044782 h 9250612"/>
                <a:gd name="connsiteX1557" fmla="*/ 4061912 w 6942639"/>
                <a:gd name="connsiteY1557" fmla="*/ 8053742 h 9250612"/>
                <a:gd name="connsiteX1558" fmla="*/ 4052952 w 6942639"/>
                <a:gd name="connsiteY1558" fmla="*/ 8044782 h 9250612"/>
                <a:gd name="connsiteX1559" fmla="*/ 4061912 w 6942639"/>
                <a:gd name="connsiteY1559" fmla="*/ 8035821 h 9250612"/>
                <a:gd name="connsiteX1560" fmla="*/ 3893170 w 6942639"/>
                <a:gd name="connsiteY1560" fmla="*/ 8035821 h 9250612"/>
                <a:gd name="connsiteX1561" fmla="*/ 3902131 w 6942639"/>
                <a:gd name="connsiteY1561" fmla="*/ 8044782 h 9250612"/>
                <a:gd name="connsiteX1562" fmla="*/ 3893170 w 6942639"/>
                <a:gd name="connsiteY1562" fmla="*/ 8053742 h 9250612"/>
                <a:gd name="connsiteX1563" fmla="*/ 3884210 w 6942639"/>
                <a:gd name="connsiteY1563" fmla="*/ 8044782 h 9250612"/>
                <a:gd name="connsiteX1564" fmla="*/ 3893170 w 6942639"/>
                <a:gd name="connsiteY1564" fmla="*/ 8035821 h 9250612"/>
                <a:gd name="connsiteX1565" fmla="*/ 3724429 w 6942639"/>
                <a:gd name="connsiteY1565" fmla="*/ 8035821 h 9250612"/>
                <a:gd name="connsiteX1566" fmla="*/ 3733390 w 6942639"/>
                <a:gd name="connsiteY1566" fmla="*/ 8044782 h 9250612"/>
                <a:gd name="connsiteX1567" fmla="*/ 3724429 w 6942639"/>
                <a:gd name="connsiteY1567" fmla="*/ 8053742 h 9250612"/>
                <a:gd name="connsiteX1568" fmla="*/ 3715469 w 6942639"/>
                <a:gd name="connsiteY1568" fmla="*/ 8044782 h 9250612"/>
                <a:gd name="connsiteX1569" fmla="*/ 3724429 w 6942639"/>
                <a:gd name="connsiteY1569" fmla="*/ 8035821 h 9250612"/>
                <a:gd name="connsiteX1570" fmla="*/ 3555688 w 6942639"/>
                <a:gd name="connsiteY1570" fmla="*/ 8035821 h 9250612"/>
                <a:gd name="connsiteX1571" fmla="*/ 3564649 w 6942639"/>
                <a:gd name="connsiteY1571" fmla="*/ 8044782 h 9250612"/>
                <a:gd name="connsiteX1572" fmla="*/ 3555688 w 6942639"/>
                <a:gd name="connsiteY1572" fmla="*/ 8053742 h 9250612"/>
                <a:gd name="connsiteX1573" fmla="*/ 3546728 w 6942639"/>
                <a:gd name="connsiteY1573" fmla="*/ 8044782 h 9250612"/>
                <a:gd name="connsiteX1574" fmla="*/ 3555688 w 6942639"/>
                <a:gd name="connsiteY1574" fmla="*/ 8035821 h 9250612"/>
                <a:gd name="connsiteX1575" fmla="*/ 3386969 w 6942639"/>
                <a:gd name="connsiteY1575" fmla="*/ 8035821 h 9250612"/>
                <a:gd name="connsiteX1576" fmla="*/ 3395930 w 6942639"/>
                <a:gd name="connsiteY1576" fmla="*/ 8044782 h 9250612"/>
                <a:gd name="connsiteX1577" fmla="*/ 3386969 w 6942639"/>
                <a:gd name="connsiteY1577" fmla="*/ 8053742 h 9250612"/>
                <a:gd name="connsiteX1578" fmla="*/ 3377997 w 6942639"/>
                <a:gd name="connsiteY1578" fmla="*/ 8044782 h 9250612"/>
                <a:gd name="connsiteX1579" fmla="*/ 3386969 w 6942639"/>
                <a:gd name="connsiteY1579" fmla="*/ 8035821 h 9250612"/>
                <a:gd name="connsiteX1580" fmla="*/ 3218221 w 6942639"/>
                <a:gd name="connsiteY1580" fmla="*/ 8035821 h 9250612"/>
                <a:gd name="connsiteX1581" fmla="*/ 3227186 w 6942639"/>
                <a:gd name="connsiteY1581" fmla="*/ 8044782 h 9250612"/>
                <a:gd name="connsiteX1582" fmla="*/ 3218221 w 6942639"/>
                <a:gd name="connsiteY1582" fmla="*/ 8053742 h 9250612"/>
                <a:gd name="connsiteX1583" fmla="*/ 3209263 w 6942639"/>
                <a:gd name="connsiteY1583" fmla="*/ 8044782 h 9250612"/>
                <a:gd name="connsiteX1584" fmla="*/ 3218221 w 6942639"/>
                <a:gd name="connsiteY1584" fmla="*/ 8035821 h 9250612"/>
                <a:gd name="connsiteX1585" fmla="*/ 3049497 w 6942639"/>
                <a:gd name="connsiteY1585" fmla="*/ 8035821 h 9250612"/>
                <a:gd name="connsiteX1586" fmla="*/ 3058448 w 6942639"/>
                <a:gd name="connsiteY1586" fmla="*/ 8044782 h 9250612"/>
                <a:gd name="connsiteX1587" fmla="*/ 3049497 w 6942639"/>
                <a:gd name="connsiteY1587" fmla="*/ 8053742 h 9250612"/>
                <a:gd name="connsiteX1588" fmla="*/ 3040526 w 6942639"/>
                <a:gd name="connsiteY1588" fmla="*/ 8044782 h 9250612"/>
                <a:gd name="connsiteX1589" fmla="*/ 3049497 w 6942639"/>
                <a:gd name="connsiteY1589" fmla="*/ 8035821 h 9250612"/>
                <a:gd name="connsiteX1590" fmla="*/ 2880752 w 6942639"/>
                <a:gd name="connsiteY1590" fmla="*/ 8035821 h 9250612"/>
                <a:gd name="connsiteX1591" fmla="*/ 2889712 w 6942639"/>
                <a:gd name="connsiteY1591" fmla="*/ 8044782 h 9250612"/>
                <a:gd name="connsiteX1592" fmla="*/ 2880752 w 6942639"/>
                <a:gd name="connsiteY1592" fmla="*/ 8053742 h 9250612"/>
                <a:gd name="connsiteX1593" fmla="*/ 2871792 w 6942639"/>
                <a:gd name="connsiteY1593" fmla="*/ 8044782 h 9250612"/>
                <a:gd name="connsiteX1594" fmla="*/ 2880752 w 6942639"/>
                <a:gd name="connsiteY1594" fmla="*/ 8035821 h 9250612"/>
                <a:gd name="connsiteX1595" fmla="*/ 2712005 w 6942639"/>
                <a:gd name="connsiteY1595" fmla="*/ 8035821 h 9250612"/>
                <a:gd name="connsiteX1596" fmla="*/ 2720974 w 6942639"/>
                <a:gd name="connsiteY1596" fmla="*/ 8044782 h 9250612"/>
                <a:gd name="connsiteX1597" fmla="*/ 2712005 w 6942639"/>
                <a:gd name="connsiteY1597" fmla="*/ 8053742 h 9250612"/>
                <a:gd name="connsiteX1598" fmla="*/ 2703050 w 6942639"/>
                <a:gd name="connsiteY1598" fmla="*/ 8044782 h 9250612"/>
                <a:gd name="connsiteX1599" fmla="*/ 2712005 w 6942639"/>
                <a:gd name="connsiteY1599" fmla="*/ 8035821 h 9250612"/>
                <a:gd name="connsiteX1600" fmla="*/ 2543272 w 6942639"/>
                <a:gd name="connsiteY1600" fmla="*/ 8035821 h 9250612"/>
                <a:gd name="connsiteX1601" fmla="*/ 2552236 w 6942639"/>
                <a:gd name="connsiteY1601" fmla="*/ 8044782 h 9250612"/>
                <a:gd name="connsiteX1602" fmla="*/ 2543272 w 6942639"/>
                <a:gd name="connsiteY1602" fmla="*/ 8053742 h 9250612"/>
                <a:gd name="connsiteX1603" fmla="*/ 2534311 w 6942639"/>
                <a:gd name="connsiteY1603" fmla="*/ 8044782 h 9250612"/>
                <a:gd name="connsiteX1604" fmla="*/ 2543272 w 6942639"/>
                <a:gd name="connsiteY1604" fmla="*/ 8035821 h 9250612"/>
                <a:gd name="connsiteX1605" fmla="*/ 2374523 w 6942639"/>
                <a:gd name="connsiteY1605" fmla="*/ 8035821 h 9250612"/>
                <a:gd name="connsiteX1606" fmla="*/ 2383492 w 6942639"/>
                <a:gd name="connsiteY1606" fmla="*/ 8044782 h 9250612"/>
                <a:gd name="connsiteX1607" fmla="*/ 2374523 w 6942639"/>
                <a:gd name="connsiteY1607" fmla="*/ 8053742 h 9250612"/>
                <a:gd name="connsiteX1608" fmla="*/ 2365560 w 6942639"/>
                <a:gd name="connsiteY1608" fmla="*/ 8044782 h 9250612"/>
                <a:gd name="connsiteX1609" fmla="*/ 2374523 w 6942639"/>
                <a:gd name="connsiteY1609" fmla="*/ 8035821 h 9250612"/>
                <a:gd name="connsiteX1610" fmla="*/ 2205787 w 6942639"/>
                <a:gd name="connsiteY1610" fmla="*/ 8035821 h 9250612"/>
                <a:gd name="connsiteX1611" fmla="*/ 2214749 w 6942639"/>
                <a:gd name="connsiteY1611" fmla="*/ 8044782 h 9250612"/>
                <a:gd name="connsiteX1612" fmla="*/ 2205787 w 6942639"/>
                <a:gd name="connsiteY1612" fmla="*/ 8053742 h 9250612"/>
                <a:gd name="connsiteX1613" fmla="*/ 2196829 w 6942639"/>
                <a:gd name="connsiteY1613" fmla="*/ 8044782 h 9250612"/>
                <a:gd name="connsiteX1614" fmla="*/ 2205787 w 6942639"/>
                <a:gd name="connsiteY1614" fmla="*/ 8035821 h 9250612"/>
                <a:gd name="connsiteX1615" fmla="*/ 2037050 w 6942639"/>
                <a:gd name="connsiteY1615" fmla="*/ 8035821 h 9250612"/>
                <a:gd name="connsiteX1616" fmla="*/ 2046002 w 6942639"/>
                <a:gd name="connsiteY1616" fmla="*/ 8044782 h 9250612"/>
                <a:gd name="connsiteX1617" fmla="*/ 2037050 w 6942639"/>
                <a:gd name="connsiteY1617" fmla="*/ 8053742 h 9250612"/>
                <a:gd name="connsiteX1618" fmla="*/ 2028089 w 6942639"/>
                <a:gd name="connsiteY1618" fmla="*/ 8044782 h 9250612"/>
                <a:gd name="connsiteX1619" fmla="*/ 2037050 w 6942639"/>
                <a:gd name="connsiteY1619" fmla="*/ 8035821 h 9250612"/>
                <a:gd name="connsiteX1620" fmla="*/ 1868312 w 6942639"/>
                <a:gd name="connsiteY1620" fmla="*/ 8035821 h 9250612"/>
                <a:gd name="connsiteX1621" fmla="*/ 1877269 w 6942639"/>
                <a:gd name="connsiteY1621" fmla="*/ 8044782 h 9250612"/>
                <a:gd name="connsiteX1622" fmla="*/ 1868312 w 6942639"/>
                <a:gd name="connsiteY1622" fmla="*/ 8053742 h 9250612"/>
                <a:gd name="connsiteX1623" fmla="*/ 1859347 w 6942639"/>
                <a:gd name="connsiteY1623" fmla="*/ 8044782 h 9250612"/>
                <a:gd name="connsiteX1624" fmla="*/ 1868312 w 6942639"/>
                <a:gd name="connsiteY1624" fmla="*/ 8035821 h 9250612"/>
                <a:gd name="connsiteX1625" fmla="*/ 1699570 w 6942639"/>
                <a:gd name="connsiteY1625" fmla="*/ 8035821 h 9250612"/>
                <a:gd name="connsiteX1626" fmla="*/ 1708530 w 6942639"/>
                <a:gd name="connsiteY1626" fmla="*/ 8044782 h 9250612"/>
                <a:gd name="connsiteX1627" fmla="*/ 1699570 w 6942639"/>
                <a:gd name="connsiteY1627" fmla="*/ 8053742 h 9250612"/>
                <a:gd name="connsiteX1628" fmla="*/ 1690607 w 6942639"/>
                <a:gd name="connsiteY1628" fmla="*/ 8044782 h 9250612"/>
                <a:gd name="connsiteX1629" fmla="*/ 1699570 w 6942639"/>
                <a:gd name="connsiteY1629" fmla="*/ 8035821 h 9250612"/>
                <a:gd name="connsiteX1630" fmla="*/ 1530826 w 6942639"/>
                <a:gd name="connsiteY1630" fmla="*/ 8035821 h 9250612"/>
                <a:gd name="connsiteX1631" fmla="*/ 1539787 w 6942639"/>
                <a:gd name="connsiteY1631" fmla="*/ 8044782 h 9250612"/>
                <a:gd name="connsiteX1632" fmla="*/ 1530826 w 6942639"/>
                <a:gd name="connsiteY1632" fmla="*/ 8053742 h 9250612"/>
                <a:gd name="connsiteX1633" fmla="*/ 1521866 w 6942639"/>
                <a:gd name="connsiteY1633" fmla="*/ 8044782 h 9250612"/>
                <a:gd name="connsiteX1634" fmla="*/ 1530826 w 6942639"/>
                <a:gd name="connsiteY1634" fmla="*/ 8035821 h 9250612"/>
                <a:gd name="connsiteX1635" fmla="*/ 1362083 w 6942639"/>
                <a:gd name="connsiteY1635" fmla="*/ 8035821 h 9250612"/>
                <a:gd name="connsiteX1636" fmla="*/ 1371043 w 6942639"/>
                <a:gd name="connsiteY1636" fmla="*/ 8044782 h 9250612"/>
                <a:gd name="connsiteX1637" fmla="*/ 1362083 w 6942639"/>
                <a:gd name="connsiteY1637" fmla="*/ 8053742 h 9250612"/>
                <a:gd name="connsiteX1638" fmla="*/ 1353122 w 6942639"/>
                <a:gd name="connsiteY1638" fmla="*/ 8044782 h 9250612"/>
                <a:gd name="connsiteX1639" fmla="*/ 1362083 w 6942639"/>
                <a:gd name="connsiteY1639" fmla="*/ 8035821 h 9250612"/>
                <a:gd name="connsiteX1640" fmla="*/ 1193341 w 6942639"/>
                <a:gd name="connsiteY1640" fmla="*/ 8035821 h 9250612"/>
                <a:gd name="connsiteX1641" fmla="*/ 1202302 w 6942639"/>
                <a:gd name="connsiteY1641" fmla="*/ 8044782 h 9250612"/>
                <a:gd name="connsiteX1642" fmla="*/ 1193341 w 6942639"/>
                <a:gd name="connsiteY1642" fmla="*/ 8053742 h 9250612"/>
                <a:gd name="connsiteX1643" fmla="*/ 1184382 w 6942639"/>
                <a:gd name="connsiteY1643" fmla="*/ 8044782 h 9250612"/>
                <a:gd name="connsiteX1644" fmla="*/ 1193341 w 6942639"/>
                <a:gd name="connsiteY1644" fmla="*/ 8035821 h 9250612"/>
                <a:gd name="connsiteX1645" fmla="*/ 1024598 w 6942639"/>
                <a:gd name="connsiteY1645" fmla="*/ 8035821 h 9250612"/>
                <a:gd name="connsiteX1646" fmla="*/ 1033560 w 6942639"/>
                <a:gd name="connsiteY1646" fmla="*/ 8044782 h 9250612"/>
                <a:gd name="connsiteX1647" fmla="*/ 1024598 w 6942639"/>
                <a:gd name="connsiteY1647" fmla="*/ 8053742 h 9250612"/>
                <a:gd name="connsiteX1648" fmla="*/ 1015638 w 6942639"/>
                <a:gd name="connsiteY1648" fmla="*/ 8044782 h 9250612"/>
                <a:gd name="connsiteX1649" fmla="*/ 1024598 w 6942639"/>
                <a:gd name="connsiteY1649" fmla="*/ 8035821 h 9250612"/>
                <a:gd name="connsiteX1650" fmla="*/ 855859 w 6942639"/>
                <a:gd name="connsiteY1650" fmla="*/ 8035821 h 9250612"/>
                <a:gd name="connsiteX1651" fmla="*/ 864819 w 6942639"/>
                <a:gd name="connsiteY1651" fmla="*/ 8044782 h 9250612"/>
                <a:gd name="connsiteX1652" fmla="*/ 855859 w 6942639"/>
                <a:gd name="connsiteY1652" fmla="*/ 8053742 h 9250612"/>
                <a:gd name="connsiteX1653" fmla="*/ 846898 w 6942639"/>
                <a:gd name="connsiteY1653" fmla="*/ 8044782 h 9250612"/>
                <a:gd name="connsiteX1654" fmla="*/ 855859 w 6942639"/>
                <a:gd name="connsiteY1654" fmla="*/ 8035821 h 9250612"/>
                <a:gd name="connsiteX1655" fmla="*/ 687118 w 6942639"/>
                <a:gd name="connsiteY1655" fmla="*/ 8035821 h 9250612"/>
                <a:gd name="connsiteX1656" fmla="*/ 696078 w 6942639"/>
                <a:gd name="connsiteY1656" fmla="*/ 8044782 h 9250612"/>
                <a:gd name="connsiteX1657" fmla="*/ 687118 w 6942639"/>
                <a:gd name="connsiteY1657" fmla="*/ 8053742 h 9250612"/>
                <a:gd name="connsiteX1658" fmla="*/ 678158 w 6942639"/>
                <a:gd name="connsiteY1658" fmla="*/ 8044782 h 9250612"/>
                <a:gd name="connsiteX1659" fmla="*/ 687118 w 6942639"/>
                <a:gd name="connsiteY1659" fmla="*/ 8035821 h 9250612"/>
                <a:gd name="connsiteX1660" fmla="*/ 518370 w 6942639"/>
                <a:gd name="connsiteY1660" fmla="*/ 8035821 h 9250612"/>
                <a:gd name="connsiteX1661" fmla="*/ 527330 w 6942639"/>
                <a:gd name="connsiteY1661" fmla="*/ 8044782 h 9250612"/>
                <a:gd name="connsiteX1662" fmla="*/ 518370 w 6942639"/>
                <a:gd name="connsiteY1662" fmla="*/ 8053742 h 9250612"/>
                <a:gd name="connsiteX1663" fmla="*/ 509409 w 6942639"/>
                <a:gd name="connsiteY1663" fmla="*/ 8044782 h 9250612"/>
                <a:gd name="connsiteX1664" fmla="*/ 518370 w 6942639"/>
                <a:gd name="connsiteY1664" fmla="*/ 8035821 h 9250612"/>
                <a:gd name="connsiteX1665" fmla="*/ 349630 w 6942639"/>
                <a:gd name="connsiteY1665" fmla="*/ 8035821 h 9250612"/>
                <a:gd name="connsiteX1666" fmla="*/ 358590 w 6942639"/>
                <a:gd name="connsiteY1666" fmla="*/ 8044782 h 9250612"/>
                <a:gd name="connsiteX1667" fmla="*/ 349630 w 6942639"/>
                <a:gd name="connsiteY1667" fmla="*/ 8053742 h 9250612"/>
                <a:gd name="connsiteX1668" fmla="*/ 340669 w 6942639"/>
                <a:gd name="connsiteY1668" fmla="*/ 8044782 h 9250612"/>
                <a:gd name="connsiteX1669" fmla="*/ 349630 w 6942639"/>
                <a:gd name="connsiteY1669" fmla="*/ 8035821 h 9250612"/>
                <a:gd name="connsiteX1670" fmla="*/ 179309 w 6942639"/>
                <a:gd name="connsiteY1670" fmla="*/ 8035821 h 9250612"/>
                <a:gd name="connsiteX1671" fmla="*/ 188270 w 6942639"/>
                <a:gd name="connsiteY1671" fmla="*/ 8044782 h 9250612"/>
                <a:gd name="connsiteX1672" fmla="*/ 179309 w 6942639"/>
                <a:gd name="connsiteY1672" fmla="*/ 8053742 h 9250612"/>
                <a:gd name="connsiteX1673" fmla="*/ 170349 w 6942639"/>
                <a:gd name="connsiteY1673" fmla="*/ 8044782 h 9250612"/>
                <a:gd name="connsiteX1674" fmla="*/ 179309 w 6942639"/>
                <a:gd name="connsiteY1674" fmla="*/ 8035821 h 9250612"/>
                <a:gd name="connsiteX1675" fmla="*/ 8989 w 6942639"/>
                <a:gd name="connsiteY1675" fmla="*/ 8035821 h 9250612"/>
                <a:gd name="connsiteX1676" fmla="*/ 17949 w 6942639"/>
                <a:gd name="connsiteY1676" fmla="*/ 8044782 h 9250612"/>
                <a:gd name="connsiteX1677" fmla="*/ 8989 w 6942639"/>
                <a:gd name="connsiteY1677" fmla="*/ 8053742 h 9250612"/>
                <a:gd name="connsiteX1678" fmla="*/ 29 w 6942639"/>
                <a:gd name="connsiteY1678" fmla="*/ 8044782 h 9250612"/>
                <a:gd name="connsiteX1679" fmla="*/ 8989 w 6942639"/>
                <a:gd name="connsiteY1679" fmla="*/ 8035821 h 9250612"/>
                <a:gd name="connsiteX1680" fmla="*/ 6933679 w 6942639"/>
                <a:gd name="connsiteY1680" fmla="*/ 7864840 h 9250612"/>
                <a:gd name="connsiteX1681" fmla="*/ 6942639 w 6942639"/>
                <a:gd name="connsiteY1681" fmla="*/ 7873800 h 9250612"/>
                <a:gd name="connsiteX1682" fmla="*/ 6933679 w 6942639"/>
                <a:gd name="connsiteY1682" fmla="*/ 7882761 h 9250612"/>
                <a:gd name="connsiteX1683" fmla="*/ 6924718 w 6942639"/>
                <a:gd name="connsiteY1683" fmla="*/ 7873800 h 9250612"/>
                <a:gd name="connsiteX1684" fmla="*/ 6933679 w 6942639"/>
                <a:gd name="connsiteY1684" fmla="*/ 7864840 h 9250612"/>
                <a:gd name="connsiteX1685" fmla="*/ 6763357 w 6942639"/>
                <a:gd name="connsiteY1685" fmla="*/ 7864840 h 9250612"/>
                <a:gd name="connsiteX1686" fmla="*/ 6772318 w 6942639"/>
                <a:gd name="connsiteY1686" fmla="*/ 7873800 h 9250612"/>
                <a:gd name="connsiteX1687" fmla="*/ 6763357 w 6942639"/>
                <a:gd name="connsiteY1687" fmla="*/ 7882761 h 9250612"/>
                <a:gd name="connsiteX1688" fmla="*/ 6754397 w 6942639"/>
                <a:gd name="connsiteY1688" fmla="*/ 7873800 h 9250612"/>
                <a:gd name="connsiteX1689" fmla="*/ 6763357 w 6942639"/>
                <a:gd name="connsiteY1689" fmla="*/ 7864840 h 9250612"/>
                <a:gd name="connsiteX1690" fmla="*/ 6593035 w 6942639"/>
                <a:gd name="connsiteY1690" fmla="*/ 7864840 h 9250612"/>
                <a:gd name="connsiteX1691" fmla="*/ 6601996 w 6942639"/>
                <a:gd name="connsiteY1691" fmla="*/ 7873800 h 9250612"/>
                <a:gd name="connsiteX1692" fmla="*/ 6593035 w 6942639"/>
                <a:gd name="connsiteY1692" fmla="*/ 7882761 h 9250612"/>
                <a:gd name="connsiteX1693" fmla="*/ 6584075 w 6942639"/>
                <a:gd name="connsiteY1693" fmla="*/ 7873800 h 9250612"/>
                <a:gd name="connsiteX1694" fmla="*/ 6593035 w 6942639"/>
                <a:gd name="connsiteY1694" fmla="*/ 7864840 h 9250612"/>
                <a:gd name="connsiteX1695" fmla="*/ 6424294 w 6942639"/>
                <a:gd name="connsiteY1695" fmla="*/ 7864840 h 9250612"/>
                <a:gd name="connsiteX1696" fmla="*/ 6433255 w 6942639"/>
                <a:gd name="connsiteY1696" fmla="*/ 7873800 h 9250612"/>
                <a:gd name="connsiteX1697" fmla="*/ 6424294 w 6942639"/>
                <a:gd name="connsiteY1697" fmla="*/ 7882761 h 9250612"/>
                <a:gd name="connsiteX1698" fmla="*/ 6415334 w 6942639"/>
                <a:gd name="connsiteY1698" fmla="*/ 7873800 h 9250612"/>
                <a:gd name="connsiteX1699" fmla="*/ 6424294 w 6942639"/>
                <a:gd name="connsiteY1699" fmla="*/ 7864840 h 9250612"/>
                <a:gd name="connsiteX1700" fmla="*/ 6255553 w 6942639"/>
                <a:gd name="connsiteY1700" fmla="*/ 7864840 h 9250612"/>
                <a:gd name="connsiteX1701" fmla="*/ 6264514 w 6942639"/>
                <a:gd name="connsiteY1701" fmla="*/ 7873800 h 9250612"/>
                <a:gd name="connsiteX1702" fmla="*/ 6255553 w 6942639"/>
                <a:gd name="connsiteY1702" fmla="*/ 7882761 h 9250612"/>
                <a:gd name="connsiteX1703" fmla="*/ 6246593 w 6942639"/>
                <a:gd name="connsiteY1703" fmla="*/ 7873800 h 9250612"/>
                <a:gd name="connsiteX1704" fmla="*/ 6255553 w 6942639"/>
                <a:gd name="connsiteY1704" fmla="*/ 7864840 h 9250612"/>
                <a:gd name="connsiteX1705" fmla="*/ 6086811 w 6942639"/>
                <a:gd name="connsiteY1705" fmla="*/ 7864840 h 9250612"/>
                <a:gd name="connsiteX1706" fmla="*/ 6095772 w 6942639"/>
                <a:gd name="connsiteY1706" fmla="*/ 7873800 h 9250612"/>
                <a:gd name="connsiteX1707" fmla="*/ 6086811 w 6942639"/>
                <a:gd name="connsiteY1707" fmla="*/ 7882761 h 9250612"/>
                <a:gd name="connsiteX1708" fmla="*/ 6077851 w 6942639"/>
                <a:gd name="connsiteY1708" fmla="*/ 7873800 h 9250612"/>
                <a:gd name="connsiteX1709" fmla="*/ 6086811 w 6942639"/>
                <a:gd name="connsiteY1709" fmla="*/ 7864840 h 9250612"/>
                <a:gd name="connsiteX1710" fmla="*/ 5918069 w 6942639"/>
                <a:gd name="connsiteY1710" fmla="*/ 7864840 h 9250612"/>
                <a:gd name="connsiteX1711" fmla="*/ 5927030 w 6942639"/>
                <a:gd name="connsiteY1711" fmla="*/ 7873800 h 9250612"/>
                <a:gd name="connsiteX1712" fmla="*/ 5918069 w 6942639"/>
                <a:gd name="connsiteY1712" fmla="*/ 7882761 h 9250612"/>
                <a:gd name="connsiteX1713" fmla="*/ 5909109 w 6942639"/>
                <a:gd name="connsiteY1713" fmla="*/ 7873800 h 9250612"/>
                <a:gd name="connsiteX1714" fmla="*/ 5918069 w 6942639"/>
                <a:gd name="connsiteY1714" fmla="*/ 7864840 h 9250612"/>
                <a:gd name="connsiteX1715" fmla="*/ 5749328 w 6942639"/>
                <a:gd name="connsiteY1715" fmla="*/ 7864840 h 9250612"/>
                <a:gd name="connsiteX1716" fmla="*/ 5758289 w 6942639"/>
                <a:gd name="connsiteY1716" fmla="*/ 7873800 h 9250612"/>
                <a:gd name="connsiteX1717" fmla="*/ 5749328 w 6942639"/>
                <a:gd name="connsiteY1717" fmla="*/ 7882761 h 9250612"/>
                <a:gd name="connsiteX1718" fmla="*/ 5740368 w 6942639"/>
                <a:gd name="connsiteY1718" fmla="*/ 7873800 h 9250612"/>
                <a:gd name="connsiteX1719" fmla="*/ 5749328 w 6942639"/>
                <a:gd name="connsiteY1719" fmla="*/ 7864840 h 9250612"/>
                <a:gd name="connsiteX1720" fmla="*/ 5580586 w 6942639"/>
                <a:gd name="connsiteY1720" fmla="*/ 7864840 h 9250612"/>
                <a:gd name="connsiteX1721" fmla="*/ 5589547 w 6942639"/>
                <a:gd name="connsiteY1721" fmla="*/ 7873800 h 9250612"/>
                <a:gd name="connsiteX1722" fmla="*/ 5580586 w 6942639"/>
                <a:gd name="connsiteY1722" fmla="*/ 7882761 h 9250612"/>
                <a:gd name="connsiteX1723" fmla="*/ 5571626 w 6942639"/>
                <a:gd name="connsiteY1723" fmla="*/ 7873800 h 9250612"/>
                <a:gd name="connsiteX1724" fmla="*/ 5580586 w 6942639"/>
                <a:gd name="connsiteY1724" fmla="*/ 7864840 h 9250612"/>
                <a:gd name="connsiteX1725" fmla="*/ 5411845 w 6942639"/>
                <a:gd name="connsiteY1725" fmla="*/ 7864840 h 9250612"/>
                <a:gd name="connsiteX1726" fmla="*/ 5420806 w 6942639"/>
                <a:gd name="connsiteY1726" fmla="*/ 7873800 h 9250612"/>
                <a:gd name="connsiteX1727" fmla="*/ 5411845 w 6942639"/>
                <a:gd name="connsiteY1727" fmla="*/ 7882761 h 9250612"/>
                <a:gd name="connsiteX1728" fmla="*/ 5402885 w 6942639"/>
                <a:gd name="connsiteY1728" fmla="*/ 7873800 h 9250612"/>
                <a:gd name="connsiteX1729" fmla="*/ 5411845 w 6942639"/>
                <a:gd name="connsiteY1729" fmla="*/ 7864840 h 9250612"/>
                <a:gd name="connsiteX1730" fmla="*/ 5243103 w 6942639"/>
                <a:gd name="connsiteY1730" fmla="*/ 7864840 h 9250612"/>
                <a:gd name="connsiteX1731" fmla="*/ 5252064 w 6942639"/>
                <a:gd name="connsiteY1731" fmla="*/ 7873800 h 9250612"/>
                <a:gd name="connsiteX1732" fmla="*/ 5243103 w 6942639"/>
                <a:gd name="connsiteY1732" fmla="*/ 7882761 h 9250612"/>
                <a:gd name="connsiteX1733" fmla="*/ 5234143 w 6942639"/>
                <a:gd name="connsiteY1733" fmla="*/ 7873800 h 9250612"/>
                <a:gd name="connsiteX1734" fmla="*/ 5243103 w 6942639"/>
                <a:gd name="connsiteY1734" fmla="*/ 7864840 h 9250612"/>
                <a:gd name="connsiteX1735" fmla="*/ 5074362 w 6942639"/>
                <a:gd name="connsiteY1735" fmla="*/ 7864840 h 9250612"/>
                <a:gd name="connsiteX1736" fmla="*/ 5083323 w 6942639"/>
                <a:gd name="connsiteY1736" fmla="*/ 7873800 h 9250612"/>
                <a:gd name="connsiteX1737" fmla="*/ 5074362 w 6942639"/>
                <a:gd name="connsiteY1737" fmla="*/ 7882761 h 9250612"/>
                <a:gd name="connsiteX1738" fmla="*/ 5065402 w 6942639"/>
                <a:gd name="connsiteY1738" fmla="*/ 7873800 h 9250612"/>
                <a:gd name="connsiteX1739" fmla="*/ 5074362 w 6942639"/>
                <a:gd name="connsiteY1739" fmla="*/ 7864840 h 9250612"/>
                <a:gd name="connsiteX1740" fmla="*/ 4905620 w 6942639"/>
                <a:gd name="connsiteY1740" fmla="*/ 7864840 h 9250612"/>
                <a:gd name="connsiteX1741" fmla="*/ 4914581 w 6942639"/>
                <a:gd name="connsiteY1741" fmla="*/ 7873800 h 9250612"/>
                <a:gd name="connsiteX1742" fmla="*/ 4905620 w 6942639"/>
                <a:gd name="connsiteY1742" fmla="*/ 7882761 h 9250612"/>
                <a:gd name="connsiteX1743" fmla="*/ 4896660 w 6942639"/>
                <a:gd name="connsiteY1743" fmla="*/ 7873800 h 9250612"/>
                <a:gd name="connsiteX1744" fmla="*/ 4905620 w 6942639"/>
                <a:gd name="connsiteY1744" fmla="*/ 7864840 h 9250612"/>
                <a:gd name="connsiteX1745" fmla="*/ 4736878 w 6942639"/>
                <a:gd name="connsiteY1745" fmla="*/ 7864840 h 9250612"/>
                <a:gd name="connsiteX1746" fmla="*/ 4745839 w 6942639"/>
                <a:gd name="connsiteY1746" fmla="*/ 7873800 h 9250612"/>
                <a:gd name="connsiteX1747" fmla="*/ 4736878 w 6942639"/>
                <a:gd name="connsiteY1747" fmla="*/ 7882761 h 9250612"/>
                <a:gd name="connsiteX1748" fmla="*/ 4727918 w 6942639"/>
                <a:gd name="connsiteY1748" fmla="*/ 7873800 h 9250612"/>
                <a:gd name="connsiteX1749" fmla="*/ 4736878 w 6942639"/>
                <a:gd name="connsiteY1749" fmla="*/ 7864840 h 9250612"/>
                <a:gd name="connsiteX1750" fmla="*/ 4568137 w 6942639"/>
                <a:gd name="connsiteY1750" fmla="*/ 7864840 h 9250612"/>
                <a:gd name="connsiteX1751" fmla="*/ 4577098 w 6942639"/>
                <a:gd name="connsiteY1751" fmla="*/ 7873800 h 9250612"/>
                <a:gd name="connsiteX1752" fmla="*/ 4568137 w 6942639"/>
                <a:gd name="connsiteY1752" fmla="*/ 7882761 h 9250612"/>
                <a:gd name="connsiteX1753" fmla="*/ 4559177 w 6942639"/>
                <a:gd name="connsiteY1753" fmla="*/ 7873800 h 9250612"/>
                <a:gd name="connsiteX1754" fmla="*/ 4568137 w 6942639"/>
                <a:gd name="connsiteY1754" fmla="*/ 7864840 h 9250612"/>
                <a:gd name="connsiteX1755" fmla="*/ 4399396 w 6942639"/>
                <a:gd name="connsiteY1755" fmla="*/ 7864840 h 9250612"/>
                <a:gd name="connsiteX1756" fmla="*/ 4408357 w 6942639"/>
                <a:gd name="connsiteY1756" fmla="*/ 7873800 h 9250612"/>
                <a:gd name="connsiteX1757" fmla="*/ 4399396 w 6942639"/>
                <a:gd name="connsiteY1757" fmla="*/ 7882761 h 9250612"/>
                <a:gd name="connsiteX1758" fmla="*/ 4390436 w 6942639"/>
                <a:gd name="connsiteY1758" fmla="*/ 7873800 h 9250612"/>
                <a:gd name="connsiteX1759" fmla="*/ 4399396 w 6942639"/>
                <a:gd name="connsiteY1759" fmla="*/ 7864840 h 9250612"/>
                <a:gd name="connsiteX1760" fmla="*/ 4230654 w 6942639"/>
                <a:gd name="connsiteY1760" fmla="*/ 7864840 h 9250612"/>
                <a:gd name="connsiteX1761" fmla="*/ 4239615 w 6942639"/>
                <a:gd name="connsiteY1761" fmla="*/ 7873800 h 9250612"/>
                <a:gd name="connsiteX1762" fmla="*/ 4230654 w 6942639"/>
                <a:gd name="connsiteY1762" fmla="*/ 7882761 h 9250612"/>
                <a:gd name="connsiteX1763" fmla="*/ 4221694 w 6942639"/>
                <a:gd name="connsiteY1763" fmla="*/ 7873800 h 9250612"/>
                <a:gd name="connsiteX1764" fmla="*/ 4230654 w 6942639"/>
                <a:gd name="connsiteY1764" fmla="*/ 7864840 h 9250612"/>
                <a:gd name="connsiteX1765" fmla="*/ 4061912 w 6942639"/>
                <a:gd name="connsiteY1765" fmla="*/ 7864840 h 9250612"/>
                <a:gd name="connsiteX1766" fmla="*/ 4070873 w 6942639"/>
                <a:gd name="connsiteY1766" fmla="*/ 7873800 h 9250612"/>
                <a:gd name="connsiteX1767" fmla="*/ 4061912 w 6942639"/>
                <a:gd name="connsiteY1767" fmla="*/ 7882761 h 9250612"/>
                <a:gd name="connsiteX1768" fmla="*/ 4052952 w 6942639"/>
                <a:gd name="connsiteY1768" fmla="*/ 7873800 h 9250612"/>
                <a:gd name="connsiteX1769" fmla="*/ 4061912 w 6942639"/>
                <a:gd name="connsiteY1769" fmla="*/ 7864840 h 9250612"/>
                <a:gd name="connsiteX1770" fmla="*/ 3893170 w 6942639"/>
                <a:gd name="connsiteY1770" fmla="*/ 7864840 h 9250612"/>
                <a:gd name="connsiteX1771" fmla="*/ 3902131 w 6942639"/>
                <a:gd name="connsiteY1771" fmla="*/ 7873800 h 9250612"/>
                <a:gd name="connsiteX1772" fmla="*/ 3893170 w 6942639"/>
                <a:gd name="connsiteY1772" fmla="*/ 7882761 h 9250612"/>
                <a:gd name="connsiteX1773" fmla="*/ 3884210 w 6942639"/>
                <a:gd name="connsiteY1773" fmla="*/ 7873800 h 9250612"/>
                <a:gd name="connsiteX1774" fmla="*/ 3893170 w 6942639"/>
                <a:gd name="connsiteY1774" fmla="*/ 7864840 h 9250612"/>
                <a:gd name="connsiteX1775" fmla="*/ 3724429 w 6942639"/>
                <a:gd name="connsiteY1775" fmla="*/ 7864840 h 9250612"/>
                <a:gd name="connsiteX1776" fmla="*/ 3733390 w 6942639"/>
                <a:gd name="connsiteY1776" fmla="*/ 7873800 h 9250612"/>
                <a:gd name="connsiteX1777" fmla="*/ 3724429 w 6942639"/>
                <a:gd name="connsiteY1777" fmla="*/ 7882761 h 9250612"/>
                <a:gd name="connsiteX1778" fmla="*/ 3715469 w 6942639"/>
                <a:gd name="connsiteY1778" fmla="*/ 7873800 h 9250612"/>
                <a:gd name="connsiteX1779" fmla="*/ 3724429 w 6942639"/>
                <a:gd name="connsiteY1779" fmla="*/ 7864840 h 9250612"/>
                <a:gd name="connsiteX1780" fmla="*/ 3555688 w 6942639"/>
                <a:gd name="connsiteY1780" fmla="*/ 7864840 h 9250612"/>
                <a:gd name="connsiteX1781" fmla="*/ 3564649 w 6942639"/>
                <a:gd name="connsiteY1781" fmla="*/ 7873800 h 9250612"/>
                <a:gd name="connsiteX1782" fmla="*/ 3555688 w 6942639"/>
                <a:gd name="connsiteY1782" fmla="*/ 7882761 h 9250612"/>
                <a:gd name="connsiteX1783" fmla="*/ 3546728 w 6942639"/>
                <a:gd name="connsiteY1783" fmla="*/ 7873800 h 9250612"/>
                <a:gd name="connsiteX1784" fmla="*/ 3555688 w 6942639"/>
                <a:gd name="connsiteY1784" fmla="*/ 7864840 h 9250612"/>
                <a:gd name="connsiteX1785" fmla="*/ 3386972 w 6942639"/>
                <a:gd name="connsiteY1785" fmla="*/ 7864840 h 9250612"/>
                <a:gd name="connsiteX1786" fmla="*/ 3395933 w 6942639"/>
                <a:gd name="connsiteY1786" fmla="*/ 7873800 h 9250612"/>
                <a:gd name="connsiteX1787" fmla="*/ 3386972 w 6942639"/>
                <a:gd name="connsiteY1787" fmla="*/ 7882761 h 9250612"/>
                <a:gd name="connsiteX1788" fmla="*/ 3377999 w 6942639"/>
                <a:gd name="connsiteY1788" fmla="*/ 7873800 h 9250612"/>
                <a:gd name="connsiteX1789" fmla="*/ 3386972 w 6942639"/>
                <a:gd name="connsiteY1789" fmla="*/ 7864840 h 9250612"/>
                <a:gd name="connsiteX1790" fmla="*/ 3218223 w 6942639"/>
                <a:gd name="connsiteY1790" fmla="*/ 7864840 h 9250612"/>
                <a:gd name="connsiteX1791" fmla="*/ 3227189 w 6942639"/>
                <a:gd name="connsiteY1791" fmla="*/ 7873800 h 9250612"/>
                <a:gd name="connsiteX1792" fmla="*/ 3218223 w 6942639"/>
                <a:gd name="connsiteY1792" fmla="*/ 7882761 h 9250612"/>
                <a:gd name="connsiteX1793" fmla="*/ 3209265 w 6942639"/>
                <a:gd name="connsiteY1793" fmla="*/ 7873800 h 9250612"/>
                <a:gd name="connsiteX1794" fmla="*/ 3218223 w 6942639"/>
                <a:gd name="connsiteY1794" fmla="*/ 7864840 h 9250612"/>
                <a:gd name="connsiteX1795" fmla="*/ 3049502 w 6942639"/>
                <a:gd name="connsiteY1795" fmla="*/ 7864840 h 9250612"/>
                <a:gd name="connsiteX1796" fmla="*/ 3058451 w 6942639"/>
                <a:gd name="connsiteY1796" fmla="*/ 7873800 h 9250612"/>
                <a:gd name="connsiteX1797" fmla="*/ 3049502 w 6942639"/>
                <a:gd name="connsiteY1797" fmla="*/ 7882761 h 9250612"/>
                <a:gd name="connsiteX1798" fmla="*/ 3040529 w 6942639"/>
                <a:gd name="connsiteY1798" fmla="*/ 7873800 h 9250612"/>
                <a:gd name="connsiteX1799" fmla="*/ 3049502 w 6942639"/>
                <a:gd name="connsiteY1799" fmla="*/ 7864840 h 9250612"/>
                <a:gd name="connsiteX1800" fmla="*/ 2880756 w 6942639"/>
                <a:gd name="connsiteY1800" fmla="*/ 7864840 h 9250612"/>
                <a:gd name="connsiteX1801" fmla="*/ 2889715 w 6942639"/>
                <a:gd name="connsiteY1801" fmla="*/ 7873800 h 9250612"/>
                <a:gd name="connsiteX1802" fmla="*/ 2880756 w 6942639"/>
                <a:gd name="connsiteY1802" fmla="*/ 7882761 h 9250612"/>
                <a:gd name="connsiteX1803" fmla="*/ 2871795 w 6942639"/>
                <a:gd name="connsiteY1803" fmla="*/ 7873800 h 9250612"/>
                <a:gd name="connsiteX1804" fmla="*/ 2880756 w 6942639"/>
                <a:gd name="connsiteY1804" fmla="*/ 7864840 h 9250612"/>
                <a:gd name="connsiteX1805" fmla="*/ 2712008 w 6942639"/>
                <a:gd name="connsiteY1805" fmla="*/ 7864840 h 9250612"/>
                <a:gd name="connsiteX1806" fmla="*/ 2720979 w 6942639"/>
                <a:gd name="connsiteY1806" fmla="*/ 7873800 h 9250612"/>
                <a:gd name="connsiteX1807" fmla="*/ 2712008 w 6942639"/>
                <a:gd name="connsiteY1807" fmla="*/ 7882761 h 9250612"/>
                <a:gd name="connsiteX1808" fmla="*/ 2703053 w 6942639"/>
                <a:gd name="connsiteY1808" fmla="*/ 7873800 h 9250612"/>
                <a:gd name="connsiteX1809" fmla="*/ 2712008 w 6942639"/>
                <a:gd name="connsiteY1809" fmla="*/ 7864840 h 9250612"/>
                <a:gd name="connsiteX1810" fmla="*/ 2543276 w 6942639"/>
                <a:gd name="connsiteY1810" fmla="*/ 7864840 h 9250612"/>
                <a:gd name="connsiteX1811" fmla="*/ 2552240 w 6942639"/>
                <a:gd name="connsiteY1811" fmla="*/ 7873800 h 9250612"/>
                <a:gd name="connsiteX1812" fmla="*/ 2543276 w 6942639"/>
                <a:gd name="connsiteY1812" fmla="*/ 7882761 h 9250612"/>
                <a:gd name="connsiteX1813" fmla="*/ 2534316 w 6942639"/>
                <a:gd name="connsiteY1813" fmla="*/ 7873800 h 9250612"/>
                <a:gd name="connsiteX1814" fmla="*/ 2543276 w 6942639"/>
                <a:gd name="connsiteY1814" fmla="*/ 7864840 h 9250612"/>
                <a:gd name="connsiteX1815" fmla="*/ 2374526 w 6942639"/>
                <a:gd name="connsiteY1815" fmla="*/ 7864840 h 9250612"/>
                <a:gd name="connsiteX1816" fmla="*/ 2383496 w 6942639"/>
                <a:gd name="connsiteY1816" fmla="*/ 7873800 h 9250612"/>
                <a:gd name="connsiteX1817" fmla="*/ 2374526 w 6942639"/>
                <a:gd name="connsiteY1817" fmla="*/ 7882761 h 9250612"/>
                <a:gd name="connsiteX1818" fmla="*/ 2365563 w 6942639"/>
                <a:gd name="connsiteY1818" fmla="*/ 7873800 h 9250612"/>
                <a:gd name="connsiteX1819" fmla="*/ 2374526 w 6942639"/>
                <a:gd name="connsiteY1819" fmla="*/ 7864840 h 9250612"/>
                <a:gd name="connsiteX1820" fmla="*/ 2205792 w 6942639"/>
                <a:gd name="connsiteY1820" fmla="*/ 7864840 h 9250612"/>
                <a:gd name="connsiteX1821" fmla="*/ 2214753 w 6942639"/>
                <a:gd name="connsiteY1821" fmla="*/ 7873800 h 9250612"/>
                <a:gd name="connsiteX1822" fmla="*/ 2205792 w 6942639"/>
                <a:gd name="connsiteY1822" fmla="*/ 7882761 h 9250612"/>
                <a:gd name="connsiteX1823" fmla="*/ 2196833 w 6942639"/>
                <a:gd name="connsiteY1823" fmla="*/ 7873800 h 9250612"/>
                <a:gd name="connsiteX1824" fmla="*/ 2205792 w 6942639"/>
                <a:gd name="connsiteY1824" fmla="*/ 7864840 h 9250612"/>
                <a:gd name="connsiteX1825" fmla="*/ 2037055 w 6942639"/>
                <a:gd name="connsiteY1825" fmla="*/ 7864840 h 9250612"/>
                <a:gd name="connsiteX1826" fmla="*/ 2046007 w 6942639"/>
                <a:gd name="connsiteY1826" fmla="*/ 7873800 h 9250612"/>
                <a:gd name="connsiteX1827" fmla="*/ 2037055 w 6942639"/>
                <a:gd name="connsiteY1827" fmla="*/ 7882761 h 9250612"/>
                <a:gd name="connsiteX1828" fmla="*/ 2028094 w 6942639"/>
                <a:gd name="connsiteY1828" fmla="*/ 7873800 h 9250612"/>
                <a:gd name="connsiteX1829" fmla="*/ 2037055 w 6942639"/>
                <a:gd name="connsiteY1829" fmla="*/ 7864840 h 9250612"/>
                <a:gd name="connsiteX1830" fmla="*/ 1868317 w 6942639"/>
                <a:gd name="connsiteY1830" fmla="*/ 7864840 h 9250612"/>
                <a:gd name="connsiteX1831" fmla="*/ 1877274 w 6942639"/>
                <a:gd name="connsiteY1831" fmla="*/ 7873800 h 9250612"/>
                <a:gd name="connsiteX1832" fmla="*/ 1868317 w 6942639"/>
                <a:gd name="connsiteY1832" fmla="*/ 7882761 h 9250612"/>
                <a:gd name="connsiteX1833" fmla="*/ 1859353 w 6942639"/>
                <a:gd name="connsiteY1833" fmla="*/ 7873800 h 9250612"/>
                <a:gd name="connsiteX1834" fmla="*/ 1868317 w 6942639"/>
                <a:gd name="connsiteY1834" fmla="*/ 7864840 h 9250612"/>
                <a:gd name="connsiteX1835" fmla="*/ 1699574 w 6942639"/>
                <a:gd name="connsiteY1835" fmla="*/ 7864840 h 9250612"/>
                <a:gd name="connsiteX1836" fmla="*/ 1708535 w 6942639"/>
                <a:gd name="connsiteY1836" fmla="*/ 7873800 h 9250612"/>
                <a:gd name="connsiteX1837" fmla="*/ 1699574 w 6942639"/>
                <a:gd name="connsiteY1837" fmla="*/ 7882761 h 9250612"/>
                <a:gd name="connsiteX1838" fmla="*/ 1690611 w 6942639"/>
                <a:gd name="connsiteY1838" fmla="*/ 7873800 h 9250612"/>
                <a:gd name="connsiteX1839" fmla="*/ 1699574 w 6942639"/>
                <a:gd name="connsiteY1839" fmla="*/ 7864840 h 9250612"/>
                <a:gd name="connsiteX1840" fmla="*/ 1530831 w 6942639"/>
                <a:gd name="connsiteY1840" fmla="*/ 7864840 h 9250612"/>
                <a:gd name="connsiteX1841" fmla="*/ 1539792 w 6942639"/>
                <a:gd name="connsiteY1841" fmla="*/ 7873800 h 9250612"/>
                <a:gd name="connsiteX1842" fmla="*/ 1530831 w 6942639"/>
                <a:gd name="connsiteY1842" fmla="*/ 7882761 h 9250612"/>
                <a:gd name="connsiteX1843" fmla="*/ 1521870 w 6942639"/>
                <a:gd name="connsiteY1843" fmla="*/ 7873800 h 9250612"/>
                <a:gd name="connsiteX1844" fmla="*/ 1530831 w 6942639"/>
                <a:gd name="connsiteY1844" fmla="*/ 7864840 h 9250612"/>
                <a:gd name="connsiteX1845" fmla="*/ 1362087 w 6942639"/>
                <a:gd name="connsiteY1845" fmla="*/ 7864840 h 9250612"/>
                <a:gd name="connsiteX1846" fmla="*/ 1371047 w 6942639"/>
                <a:gd name="connsiteY1846" fmla="*/ 7873800 h 9250612"/>
                <a:gd name="connsiteX1847" fmla="*/ 1362087 w 6942639"/>
                <a:gd name="connsiteY1847" fmla="*/ 7882761 h 9250612"/>
                <a:gd name="connsiteX1848" fmla="*/ 1353126 w 6942639"/>
                <a:gd name="connsiteY1848" fmla="*/ 7873800 h 9250612"/>
                <a:gd name="connsiteX1849" fmla="*/ 1362087 w 6942639"/>
                <a:gd name="connsiteY1849" fmla="*/ 7864840 h 9250612"/>
                <a:gd name="connsiteX1850" fmla="*/ 1193346 w 6942639"/>
                <a:gd name="connsiteY1850" fmla="*/ 7864840 h 9250612"/>
                <a:gd name="connsiteX1851" fmla="*/ 1202306 w 6942639"/>
                <a:gd name="connsiteY1851" fmla="*/ 7873800 h 9250612"/>
                <a:gd name="connsiteX1852" fmla="*/ 1193346 w 6942639"/>
                <a:gd name="connsiteY1852" fmla="*/ 7882761 h 9250612"/>
                <a:gd name="connsiteX1853" fmla="*/ 1184387 w 6942639"/>
                <a:gd name="connsiteY1853" fmla="*/ 7873800 h 9250612"/>
                <a:gd name="connsiteX1854" fmla="*/ 1193346 w 6942639"/>
                <a:gd name="connsiteY1854" fmla="*/ 7864840 h 9250612"/>
                <a:gd name="connsiteX1855" fmla="*/ 1024601 w 6942639"/>
                <a:gd name="connsiteY1855" fmla="*/ 7864840 h 9250612"/>
                <a:gd name="connsiteX1856" fmla="*/ 1033564 w 6942639"/>
                <a:gd name="connsiteY1856" fmla="*/ 7873800 h 9250612"/>
                <a:gd name="connsiteX1857" fmla="*/ 1024601 w 6942639"/>
                <a:gd name="connsiteY1857" fmla="*/ 7882761 h 9250612"/>
                <a:gd name="connsiteX1858" fmla="*/ 1015642 w 6942639"/>
                <a:gd name="connsiteY1858" fmla="*/ 7873800 h 9250612"/>
                <a:gd name="connsiteX1859" fmla="*/ 1024601 w 6942639"/>
                <a:gd name="connsiteY1859" fmla="*/ 7864840 h 9250612"/>
                <a:gd name="connsiteX1860" fmla="*/ 855864 w 6942639"/>
                <a:gd name="connsiteY1860" fmla="*/ 7864840 h 9250612"/>
                <a:gd name="connsiteX1861" fmla="*/ 864824 w 6942639"/>
                <a:gd name="connsiteY1861" fmla="*/ 7873800 h 9250612"/>
                <a:gd name="connsiteX1862" fmla="*/ 855864 w 6942639"/>
                <a:gd name="connsiteY1862" fmla="*/ 7882761 h 9250612"/>
                <a:gd name="connsiteX1863" fmla="*/ 846903 w 6942639"/>
                <a:gd name="connsiteY1863" fmla="*/ 7873800 h 9250612"/>
                <a:gd name="connsiteX1864" fmla="*/ 855864 w 6942639"/>
                <a:gd name="connsiteY1864" fmla="*/ 7864840 h 9250612"/>
                <a:gd name="connsiteX1865" fmla="*/ 687122 w 6942639"/>
                <a:gd name="connsiteY1865" fmla="*/ 7864840 h 9250612"/>
                <a:gd name="connsiteX1866" fmla="*/ 696083 w 6942639"/>
                <a:gd name="connsiteY1866" fmla="*/ 7873800 h 9250612"/>
                <a:gd name="connsiteX1867" fmla="*/ 687122 w 6942639"/>
                <a:gd name="connsiteY1867" fmla="*/ 7882761 h 9250612"/>
                <a:gd name="connsiteX1868" fmla="*/ 678162 w 6942639"/>
                <a:gd name="connsiteY1868" fmla="*/ 7873800 h 9250612"/>
                <a:gd name="connsiteX1869" fmla="*/ 687122 w 6942639"/>
                <a:gd name="connsiteY1869" fmla="*/ 7864840 h 9250612"/>
                <a:gd name="connsiteX1870" fmla="*/ 518374 w 6942639"/>
                <a:gd name="connsiteY1870" fmla="*/ 7864840 h 9250612"/>
                <a:gd name="connsiteX1871" fmla="*/ 527334 w 6942639"/>
                <a:gd name="connsiteY1871" fmla="*/ 7873800 h 9250612"/>
                <a:gd name="connsiteX1872" fmla="*/ 518374 w 6942639"/>
                <a:gd name="connsiteY1872" fmla="*/ 7882761 h 9250612"/>
                <a:gd name="connsiteX1873" fmla="*/ 509413 w 6942639"/>
                <a:gd name="connsiteY1873" fmla="*/ 7873800 h 9250612"/>
                <a:gd name="connsiteX1874" fmla="*/ 518374 w 6942639"/>
                <a:gd name="connsiteY1874" fmla="*/ 7864840 h 9250612"/>
                <a:gd name="connsiteX1875" fmla="*/ 349634 w 6942639"/>
                <a:gd name="connsiteY1875" fmla="*/ 7864840 h 9250612"/>
                <a:gd name="connsiteX1876" fmla="*/ 358594 w 6942639"/>
                <a:gd name="connsiteY1876" fmla="*/ 7873800 h 9250612"/>
                <a:gd name="connsiteX1877" fmla="*/ 349634 w 6942639"/>
                <a:gd name="connsiteY1877" fmla="*/ 7882761 h 9250612"/>
                <a:gd name="connsiteX1878" fmla="*/ 340673 w 6942639"/>
                <a:gd name="connsiteY1878" fmla="*/ 7873800 h 9250612"/>
                <a:gd name="connsiteX1879" fmla="*/ 349634 w 6942639"/>
                <a:gd name="connsiteY1879" fmla="*/ 7864840 h 9250612"/>
                <a:gd name="connsiteX1880" fmla="*/ 179313 w 6942639"/>
                <a:gd name="connsiteY1880" fmla="*/ 7864840 h 9250612"/>
                <a:gd name="connsiteX1881" fmla="*/ 188274 w 6942639"/>
                <a:gd name="connsiteY1881" fmla="*/ 7873800 h 9250612"/>
                <a:gd name="connsiteX1882" fmla="*/ 179313 w 6942639"/>
                <a:gd name="connsiteY1882" fmla="*/ 7882761 h 9250612"/>
                <a:gd name="connsiteX1883" fmla="*/ 170353 w 6942639"/>
                <a:gd name="connsiteY1883" fmla="*/ 7873800 h 9250612"/>
                <a:gd name="connsiteX1884" fmla="*/ 179313 w 6942639"/>
                <a:gd name="connsiteY1884" fmla="*/ 7864840 h 9250612"/>
                <a:gd name="connsiteX1885" fmla="*/ 8993 w 6942639"/>
                <a:gd name="connsiteY1885" fmla="*/ 7864840 h 9250612"/>
                <a:gd name="connsiteX1886" fmla="*/ 17954 w 6942639"/>
                <a:gd name="connsiteY1886" fmla="*/ 7873800 h 9250612"/>
                <a:gd name="connsiteX1887" fmla="*/ 8993 w 6942639"/>
                <a:gd name="connsiteY1887" fmla="*/ 7882761 h 9250612"/>
                <a:gd name="connsiteX1888" fmla="*/ 33 w 6942639"/>
                <a:gd name="connsiteY1888" fmla="*/ 7873800 h 9250612"/>
                <a:gd name="connsiteX1889" fmla="*/ 8993 w 6942639"/>
                <a:gd name="connsiteY1889" fmla="*/ 7864840 h 9250612"/>
                <a:gd name="connsiteX1890" fmla="*/ 6933679 w 6942639"/>
                <a:gd name="connsiteY1890" fmla="*/ 7693859 h 9250612"/>
                <a:gd name="connsiteX1891" fmla="*/ 6942639 w 6942639"/>
                <a:gd name="connsiteY1891" fmla="*/ 7702819 h 9250612"/>
                <a:gd name="connsiteX1892" fmla="*/ 6933679 w 6942639"/>
                <a:gd name="connsiteY1892" fmla="*/ 7711780 h 9250612"/>
                <a:gd name="connsiteX1893" fmla="*/ 6924718 w 6942639"/>
                <a:gd name="connsiteY1893" fmla="*/ 7702819 h 9250612"/>
                <a:gd name="connsiteX1894" fmla="*/ 6933679 w 6942639"/>
                <a:gd name="connsiteY1894" fmla="*/ 7693859 h 9250612"/>
                <a:gd name="connsiteX1895" fmla="*/ 6763357 w 6942639"/>
                <a:gd name="connsiteY1895" fmla="*/ 7693859 h 9250612"/>
                <a:gd name="connsiteX1896" fmla="*/ 6772318 w 6942639"/>
                <a:gd name="connsiteY1896" fmla="*/ 7702819 h 9250612"/>
                <a:gd name="connsiteX1897" fmla="*/ 6763357 w 6942639"/>
                <a:gd name="connsiteY1897" fmla="*/ 7711780 h 9250612"/>
                <a:gd name="connsiteX1898" fmla="*/ 6754397 w 6942639"/>
                <a:gd name="connsiteY1898" fmla="*/ 7702819 h 9250612"/>
                <a:gd name="connsiteX1899" fmla="*/ 6763357 w 6942639"/>
                <a:gd name="connsiteY1899" fmla="*/ 7693859 h 9250612"/>
                <a:gd name="connsiteX1900" fmla="*/ 6593035 w 6942639"/>
                <a:gd name="connsiteY1900" fmla="*/ 7693859 h 9250612"/>
                <a:gd name="connsiteX1901" fmla="*/ 6601996 w 6942639"/>
                <a:gd name="connsiteY1901" fmla="*/ 7702819 h 9250612"/>
                <a:gd name="connsiteX1902" fmla="*/ 6593035 w 6942639"/>
                <a:gd name="connsiteY1902" fmla="*/ 7711780 h 9250612"/>
                <a:gd name="connsiteX1903" fmla="*/ 6584075 w 6942639"/>
                <a:gd name="connsiteY1903" fmla="*/ 7702819 h 9250612"/>
                <a:gd name="connsiteX1904" fmla="*/ 6593035 w 6942639"/>
                <a:gd name="connsiteY1904" fmla="*/ 7693859 h 9250612"/>
                <a:gd name="connsiteX1905" fmla="*/ 6424294 w 6942639"/>
                <a:gd name="connsiteY1905" fmla="*/ 7693859 h 9250612"/>
                <a:gd name="connsiteX1906" fmla="*/ 6433255 w 6942639"/>
                <a:gd name="connsiteY1906" fmla="*/ 7702819 h 9250612"/>
                <a:gd name="connsiteX1907" fmla="*/ 6424294 w 6942639"/>
                <a:gd name="connsiteY1907" fmla="*/ 7711780 h 9250612"/>
                <a:gd name="connsiteX1908" fmla="*/ 6415334 w 6942639"/>
                <a:gd name="connsiteY1908" fmla="*/ 7702819 h 9250612"/>
                <a:gd name="connsiteX1909" fmla="*/ 6424294 w 6942639"/>
                <a:gd name="connsiteY1909" fmla="*/ 7693859 h 9250612"/>
                <a:gd name="connsiteX1910" fmla="*/ 6255553 w 6942639"/>
                <a:gd name="connsiteY1910" fmla="*/ 7693859 h 9250612"/>
                <a:gd name="connsiteX1911" fmla="*/ 6264514 w 6942639"/>
                <a:gd name="connsiteY1911" fmla="*/ 7702819 h 9250612"/>
                <a:gd name="connsiteX1912" fmla="*/ 6255553 w 6942639"/>
                <a:gd name="connsiteY1912" fmla="*/ 7711780 h 9250612"/>
                <a:gd name="connsiteX1913" fmla="*/ 6246593 w 6942639"/>
                <a:gd name="connsiteY1913" fmla="*/ 7702819 h 9250612"/>
                <a:gd name="connsiteX1914" fmla="*/ 6255553 w 6942639"/>
                <a:gd name="connsiteY1914" fmla="*/ 7693859 h 9250612"/>
                <a:gd name="connsiteX1915" fmla="*/ 6086811 w 6942639"/>
                <a:gd name="connsiteY1915" fmla="*/ 7693859 h 9250612"/>
                <a:gd name="connsiteX1916" fmla="*/ 6095772 w 6942639"/>
                <a:gd name="connsiteY1916" fmla="*/ 7702819 h 9250612"/>
                <a:gd name="connsiteX1917" fmla="*/ 6086811 w 6942639"/>
                <a:gd name="connsiteY1917" fmla="*/ 7711780 h 9250612"/>
                <a:gd name="connsiteX1918" fmla="*/ 6077851 w 6942639"/>
                <a:gd name="connsiteY1918" fmla="*/ 7702819 h 9250612"/>
                <a:gd name="connsiteX1919" fmla="*/ 6086811 w 6942639"/>
                <a:gd name="connsiteY1919" fmla="*/ 7693859 h 9250612"/>
                <a:gd name="connsiteX1920" fmla="*/ 5918069 w 6942639"/>
                <a:gd name="connsiteY1920" fmla="*/ 7693859 h 9250612"/>
                <a:gd name="connsiteX1921" fmla="*/ 5927030 w 6942639"/>
                <a:gd name="connsiteY1921" fmla="*/ 7702819 h 9250612"/>
                <a:gd name="connsiteX1922" fmla="*/ 5918069 w 6942639"/>
                <a:gd name="connsiteY1922" fmla="*/ 7711780 h 9250612"/>
                <a:gd name="connsiteX1923" fmla="*/ 5909109 w 6942639"/>
                <a:gd name="connsiteY1923" fmla="*/ 7702819 h 9250612"/>
                <a:gd name="connsiteX1924" fmla="*/ 5918069 w 6942639"/>
                <a:gd name="connsiteY1924" fmla="*/ 7693859 h 9250612"/>
                <a:gd name="connsiteX1925" fmla="*/ 5749328 w 6942639"/>
                <a:gd name="connsiteY1925" fmla="*/ 7693859 h 9250612"/>
                <a:gd name="connsiteX1926" fmla="*/ 5758289 w 6942639"/>
                <a:gd name="connsiteY1926" fmla="*/ 7702819 h 9250612"/>
                <a:gd name="connsiteX1927" fmla="*/ 5749328 w 6942639"/>
                <a:gd name="connsiteY1927" fmla="*/ 7711780 h 9250612"/>
                <a:gd name="connsiteX1928" fmla="*/ 5740368 w 6942639"/>
                <a:gd name="connsiteY1928" fmla="*/ 7702819 h 9250612"/>
                <a:gd name="connsiteX1929" fmla="*/ 5749328 w 6942639"/>
                <a:gd name="connsiteY1929" fmla="*/ 7693859 h 9250612"/>
                <a:gd name="connsiteX1930" fmla="*/ 5580586 w 6942639"/>
                <a:gd name="connsiteY1930" fmla="*/ 7693859 h 9250612"/>
                <a:gd name="connsiteX1931" fmla="*/ 5589547 w 6942639"/>
                <a:gd name="connsiteY1931" fmla="*/ 7702819 h 9250612"/>
                <a:gd name="connsiteX1932" fmla="*/ 5580586 w 6942639"/>
                <a:gd name="connsiteY1932" fmla="*/ 7711780 h 9250612"/>
                <a:gd name="connsiteX1933" fmla="*/ 5571626 w 6942639"/>
                <a:gd name="connsiteY1933" fmla="*/ 7702819 h 9250612"/>
                <a:gd name="connsiteX1934" fmla="*/ 5580586 w 6942639"/>
                <a:gd name="connsiteY1934" fmla="*/ 7693859 h 9250612"/>
                <a:gd name="connsiteX1935" fmla="*/ 5411845 w 6942639"/>
                <a:gd name="connsiteY1935" fmla="*/ 7693859 h 9250612"/>
                <a:gd name="connsiteX1936" fmla="*/ 5420806 w 6942639"/>
                <a:gd name="connsiteY1936" fmla="*/ 7702819 h 9250612"/>
                <a:gd name="connsiteX1937" fmla="*/ 5411845 w 6942639"/>
                <a:gd name="connsiteY1937" fmla="*/ 7711780 h 9250612"/>
                <a:gd name="connsiteX1938" fmla="*/ 5402885 w 6942639"/>
                <a:gd name="connsiteY1938" fmla="*/ 7702819 h 9250612"/>
                <a:gd name="connsiteX1939" fmla="*/ 5411845 w 6942639"/>
                <a:gd name="connsiteY1939" fmla="*/ 7693859 h 9250612"/>
                <a:gd name="connsiteX1940" fmla="*/ 5243103 w 6942639"/>
                <a:gd name="connsiteY1940" fmla="*/ 7693859 h 9250612"/>
                <a:gd name="connsiteX1941" fmla="*/ 5252064 w 6942639"/>
                <a:gd name="connsiteY1941" fmla="*/ 7702819 h 9250612"/>
                <a:gd name="connsiteX1942" fmla="*/ 5243103 w 6942639"/>
                <a:gd name="connsiteY1942" fmla="*/ 7711780 h 9250612"/>
                <a:gd name="connsiteX1943" fmla="*/ 5234143 w 6942639"/>
                <a:gd name="connsiteY1943" fmla="*/ 7702819 h 9250612"/>
                <a:gd name="connsiteX1944" fmla="*/ 5243103 w 6942639"/>
                <a:gd name="connsiteY1944" fmla="*/ 7693859 h 9250612"/>
                <a:gd name="connsiteX1945" fmla="*/ 5074362 w 6942639"/>
                <a:gd name="connsiteY1945" fmla="*/ 7693859 h 9250612"/>
                <a:gd name="connsiteX1946" fmla="*/ 5083323 w 6942639"/>
                <a:gd name="connsiteY1946" fmla="*/ 7702819 h 9250612"/>
                <a:gd name="connsiteX1947" fmla="*/ 5074362 w 6942639"/>
                <a:gd name="connsiteY1947" fmla="*/ 7711780 h 9250612"/>
                <a:gd name="connsiteX1948" fmla="*/ 5065402 w 6942639"/>
                <a:gd name="connsiteY1948" fmla="*/ 7702819 h 9250612"/>
                <a:gd name="connsiteX1949" fmla="*/ 5074362 w 6942639"/>
                <a:gd name="connsiteY1949" fmla="*/ 7693859 h 9250612"/>
                <a:gd name="connsiteX1950" fmla="*/ 4905620 w 6942639"/>
                <a:gd name="connsiteY1950" fmla="*/ 7693859 h 9250612"/>
                <a:gd name="connsiteX1951" fmla="*/ 4914581 w 6942639"/>
                <a:gd name="connsiteY1951" fmla="*/ 7702819 h 9250612"/>
                <a:gd name="connsiteX1952" fmla="*/ 4905620 w 6942639"/>
                <a:gd name="connsiteY1952" fmla="*/ 7711780 h 9250612"/>
                <a:gd name="connsiteX1953" fmla="*/ 4896660 w 6942639"/>
                <a:gd name="connsiteY1953" fmla="*/ 7702819 h 9250612"/>
                <a:gd name="connsiteX1954" fmla="*/ 4905620 w 6942639"/>
                <a:gd name="connsiteY1954" fmla="*/ 7693859 h 9250612"/>
                <a:gd name="connsiteX1955" fmla="*/ 4736878 w 6942639"/>
                <a:gd name="connsiteY1955" fmla="*/ 7693859 h 9250612"/>
                <a:gd name="connsiteX1956" fmla="*/ 4745839 w 6942639"/>
                <a:gd name="connsiteY1956" fmla="*/ 7702819 h 9250612"/>
                <a:gd name="connsiteX1957" fmla="*/ 4736878 w 6942639"/>
                <a:gd name="connsiteY1957" fmla="*/ 7711780 h 9250612"/>
                <a:gd name="connsiteX1958" fmla="*/ 4727918 w 6942639"/>
                <a:gd name="connsiteY1958" fmla="*/ 7702819 h 9250612"/>
                <a:gd name="connsiteX1959" fmla="*/ 4736878 w 6942639"/>
                <a:gd name="connsiteY1959" fmla="*/ 7693859 h 9250612"/>
                <a:gd name="connsiteX1960" fmla="*/ 4568137 w 6942639"/>
                <a:gd name="connsiteY1960" fmla="*/ 7693859 h 9250612"/>
                <a:gd name="connsiteX1961" fmla="*/ 4577098 w 6942639"/>
                <a:gd name="connsiteY1961" fmla="*/ 7702819 h 9250612"/>
                <a:gd name="connsiteX1962" fmla="*/ 4568137 w 6942639"/>
                <a:gd name="connsiteY1962" fmla="*/ 7711780 h 9250612"/>
                <a:gd name="connsiteX1963" fmla="*/ 4559177 w 6942639"/>
                <a:gd name="connsiteY1963" fmla="*/ 7702819 h 9250612"/>
                <a:gd name="connsiteX1964" fmla="*/ 4568137 w 6942639"/>
                <a:gd name="connsiteY1964" fmla="*/ 7693859 h 9250612"/>
                <a:gd name="connsiteX1965" fmla="*/ 4399396 w 6942639"/>
                <a:gd name="connsiteY1965" fmla="*/ 7693859 h 9250612"/>
                <a:gd name="connsiteX1966" fmla="*/ 4408357 w 6942639"/>
                <a:gd name="connsiteY1966" fmla="*/ 7702819 h 9250612"/>
                <a:gd name="connsiteX1967" fmla="*/ 4399396 w 6942639"/>
                <a:gd name="connsiteY1967" fmla="*/ 7711780 h 9250612"/>
                <a:gd name="connsiteX1968" fmla="*/ 4390436 w 6942639"/>
                <a:gd name="connsiteY1968" fmla="*/ 7702819 h 9250612"/>
                <a:gd name="connsiteX1969" fmla="*/ 4399396 w 6942639"/>
                <a:gd name="connsiteY1969" fmla="*/ 7693859 h 9250612"/>
                <a:gd name="connsiteX1970" fmla="*/ 4230654 w 6942639"/>
                <a:gd name="connsiteY1970" fmla="*/ 7693859 h 9250612"/>
                <a:gd name="connsiteX1971" fmla="*/ 4239615 w 6942639"/>
                <a:gd name="connsiteY1971" fmla="*/ 7702819 h 9250612"/>
                <a:gd name="connsiteX1972" fmla="*/ 4230654 w 6942639"/>
                <a:gd name="connsiteY1972" fmla="*/ 7711780 h 9250612"/>
                <a:gd name="connsiteX1973" fmla="*/ 4221694 w 6942639"/>
                <a:gd name="connsiteY1973" fmla="*/ 7702819 h 9250612"/>
                <a:gd name="connsiteX1974" fmla="*/ 4230654 w 6942639"/>
                <a:gd name="connsiteY1974" fmla="*/ 7693859 h 9250612"/>
                <a:gd name="connsiteX1975" fmla="*/ 4061912 w 6942639"/>
                <a:gd name="connsiteY1975" fmla="*/ 7693859 h 9250612"/>
                <a:gd name="connsiteX1976" fmla="*/ 4070873 w 6942639"/>
                <a:gd name="connsiteY1976" fmla="*/ 7702819 h 9250612"/>
                <a:gd name="connsiteX1977" fmla="*/ 4061912 w 6942639"/>
                <a:gd name="connsiteY1977" fmla="*/ 7711780 h 9250612"/>
                <a:gd name="connsiteX1978" fmla="*/ 4052952 w 6942639"/>
                <a:gd name="connsiteY1978" fmla="*/ 7702819 h 9250612"/>
                <a:gd name="connsiteX1979" fmla="*/ 4061912 w 6942639"/>
                <a:gd name="connsiteY1979" fmla="*/ 7693859 h 9250612"/>
                <a:gd name="connsiteX1980" fmla="*/ 3893170 w 6942639"/>
                <a:gd name="connsiteY1980" fmla="*/ 7693859 h 9250612"/>
                <a:gd name="connsiteX1981" fmla="*/ 3902131 w 6942639"/>
                <a:gd name="connsiteY1981" fmla="*/ 7702819 h 9250612"/>
                <a:gd name="connsiteX1982" fmla="*/ 3893170 w 6942639"/>
                <a:gd name="connsiteY1982" fmla="*/ 7711780 h 9250612"/>
                <a:gd name="connsiteX1983" fmla="*/ 3884210 w 6942639"/>
                <a:gd name="connsiteY1983" fmla="*/ 7702819 h 9250612"/>
                <a:gd name="connsiteX1984" fmla="*/ 3893170 w 6942639"/>
                <a:gd name="connsiteY1984" fmla="*/ 7693859 h 9250612"/>
                <a:gd name="connsiteX1985" fmla="*/ 3724429 w 6942639"/>
                <a:gd name="connsiteY1985" fmla="*/ 7693859 h 9250612"/>
                <a:gd name="connsiteX1986" fmla="*/ 3733390 w 6942639"/>
                <a:gd name="connsiteY1986" fmla="*/ 7702819 h 9250612"/>
                <a:gd name="connsiteX1987" fmla="*/ 3724429 w 6942639"/>
                <a:gd name="connsiteY1987" fmla="*/ 7711780 h 9250612"/>
                <a:gd name="connsiteX1988" fmla="*/ 3715469 w 6942639"/>
                <a:gd name="connsiteY1988" fmla="*/ 7702819 h 9250612"/>
                <a:gd name="connsiteX1989" fmla="*/ 3724429 w 6942639"/>
                <a:gd name="connsiteY1989" fmla="*/ 7693859 h 9250612"/>
                <a:gd name="connsiteX1990" fmla="*/ 3555688 w 6942639"/>
                <a:gd name="connsiteY1990" fmla="*/ 7693859 h 9250612"/>
                <a:gd name="connsiteX1991" fmla="*/ 3564649 w 6942639"/>
                <a:gd name="connsiteY1991" fmla="*/ 7702819 h 9250612"/>
                <a:gd name="connsiteX1992" fmla="*/ 3555688 w 6942639"/>
                <a:gd name="connsiteY1992" fmla="*/ 7711780 h 9250612"/>
                <a:gd name="connsiteX1993" fmla="*/ 3546728 w 6942639"/>
                <a:gd name="connsiteY1993" fmla="*/ 7702819 h 9250612"/>
                <a:gd name="connsiteX1994" fmla="*/ 3555688 w 6942639"/>
                <a:gd name="connsiteY1994" fmla="*/ 7693859 h 9250612"/>
                <a:gd name="connsiteX1995" fmla="*/ 3386975 w 6942639"/>
                <a:gd name="connsiteY1995" fmla="*/ 7693859 h 9250612"/>
                <a:gd name="connsiteX1996" fmla="*/ 3395936 w 6942639"/>
                <a:gd name="connsiteY1996" fmla="*/ 7702819 h 9250612"/>
                <a:gd name="connsiteX1997" fmla="*/ 3386975 w 6942639"/>
                <a:gd name="connsiteY1997" fmla="*/ 7711780 h 9250612"/>
                <a:gd name="connsiteX1998" fmla="*/ 3378000 w 6942639"/>
                <a:gd name="connsiteY1998" fmla="*/ 7702819 h 9250612"/>
                <a:gd name="connsiteX1999" fmla="*/ 3386975 w 6942639"/>
                <a:gd name="connsiteY1999" fmla="*/ 7693859 h 9250612"/>
                <a:gd name="connsiteX2000" fmla="*/ 3218224 w 6942639"/>
                <a:gd name="connsiteY2000" fmla="*/ 7693859 h 9250612"/>
                <a:gd name="connsiteX2001" fmla="*/ 3227192 w 6942639"/>
                <a:gd name="connsiteY2001" fmla="*/ 7702819 h 9250612"/>
                <a:gd name="connsiteX2002" fmla="*/ 3218224 w 6942639"/>
                <a:gd name="connsiteY2002" fmla="*/ 7711780 h 9250612"/>
                <a:gd name="connsiteX2003" fmla="*/ 3209267 w 6942639"/>
                <a:gd name="connsiteY2003" fmla="*/ 7702819 h 9250612"/>
                <a:gd name="connsiteX2004" fmla="*/ 3218224 w 6942639"/>
                <a:gd name="connsiteY2004" fmla="*/ 7693859 h 9250612"/>
                <a:gd name="connsiteX2005" fmla="*/ 3049506 w 6942639"/>
                <a:gd name="connsiteY2005" fmla="*/ 7693859 h 9250612"/>
                <a:gd name="connsiteX2006" fmla="*/ 3058454 w 6942639"/>
                <a:gd name="connsiteY2006" fmla="*/ 7702819 h 9250612"/>
                <a:gd name="connsiteX2007" fmla="*/ 3049506 w 6942639"/>
                <a:gd name="connsiteY2007" fmla="*/ 7711780 h 9250612"/>
                <a:gd name="connsiteX2008" fmla="*/ 3040532 w 6942639"/>
                <a:gd name="connsiteY2008" fmla="*/ 7702819 h 9250612"/>
                <a:gd name="connsiteX2009" fmla="*/ 3049506 w 6942639"/>
                <a:gd name="connsiteY2009" fmla="*/ 7693859 h 9250612"/>
                <a:gd name="connsiteX2010" fmla="*/ 2880760 w 6942639"/>
                <a:gd name="connsiteY2010" fmla="*/ 7693859 h 9250612"/>
                <a:gd name="connsiteX2011" fmla="*/ 2889719 w 6942639"/>
                <a:gd name="connsiteY2011" fmla="*/ 7702819 h 9250612"/>
                <a:gd name="connsiteX2012" fmla="*/ 2880760 w 6942639"/>
                <a:gd name="connsiteY2012" fmla="*/ 7711780 h 9250612"/>
                <a:gd name="connsiteX2013" fmla="*/ 2871799 w 6942639"/>
                <a:gd name="connsiteY2013" fmla="*/ 7702819 h 9250612"/>
                <a:gd name="connsiteX2014" fmla="*/ 2880760 w 6942639"/>
                <a:gd name="connsiteY2014" fmla="*/ 7693859 h 9250612"/>
                <a:gd name="connsiteX2015" fmla="*/ 2712011 w 6942639"/>
                <a:gd name="connsiteY2015" fmla="*/ 7693859 h 9250612"/>
                <a:gd name="connsiteX2016" fmla="*/ 2720984 w 6942639"/>
                <a:gd name="connsiteY2016" fmla="*/ 7702819 h 9250612"/>
                <a:gd name="connsiteX2017" fmla="*/ 2712011 w 6942639"/>
                <a:gd name="connsiteY2017" fmla="*/ 7711780 h 9250612"/>
                <a:gd name="connsiteX2018" fmla="*/ 2703056 w 6942639"/>
                <a:gd name="connsiteY2018" fmla="*/ 7702819 h 9250612"/>
                <a:gd name="connsiteX2019" fmla="*/ 2712011 w 6942639"/>
                <a:gd name="connsiteY2019" fmla="*/ 7693859 h 9250612"/>
                <a:gd name="connsiteX2020" fmla="*/ 2543281 w 6942639"/>
                <a:gd name="connsiteY2020" fmla="*/ 7693859 h 9250612"/>
                <a:gd name="connsiteX2021" fmla="*/ 2552245 w 6942639"/>
                <a:gd name="connsiteY2021" fmla="*/ 7702819 h 9250612"/>
                <a:gd name="connsiteX2022" fmla="*/ 2543281 w 6942639"/>
                <a:gd name="connsiteY2022" fmla="*/ 7711780 h 9250612"/>
                <a:gd name="connsiteX2023" fmla="*/ 2534320 w 6942639"/>
                <a:gd name="connsiteY2023" fmla="*/ 7702819 h 9250612"/>
                <a:gd name="connsiteX2024" fmla="*/ 2543281 w 6942639"/>
                <a:gd name="connsiteY2024" fmla="*/ 7693859 h 9250612"/>
                <a:gd name="connsiteX2025" fmla="*/ 2374529 w 6942639"/>
                <a:gd name="connsiteY2025" fmla="*/ 7693859 h 9250612"/>
                <a:gd name="connsiteX2026" fmla="*/ 2383501 w 6942639"/>
                <a:gd name="connsiteY2026" fmla="*/ 7702819 h 9250612"/>
                <a:gd name="connsiteX2027" fmla="*/ 2374529 w 6942639"/>
                <a:gd name="connsiteY2027" fmla="*/ 7711780 h 9250612"/>
                <a:gd name="connsiteX2028" fmla="*/ 2365566 w 6942639"/>
                <a:gd name="connsiteY2028" fmla="*/ 7702819 h 9250612"/>
                <a:gd name="connsiteX2029" fmla="*/ 2374529 w 6942639"/>
                <a:gd name="connsiteY2029" fmla="*/ 7693859 h 9250612"/>
                <a:gd name="connsiteX2030" fmla="*/ 2205796 w 6942639"/>
                <a:gd name="connsiteY2030" fmla="*/ 7693859 h 9250612"/>
                <a:gd name="connsiteX2031" fmla="*/ 2214756 w 6942639"/>
                <a:gd name="connsiteY2031" fmla="*/ 7702819 h 9250612"/>
                <a:gd name="connsiteX2032" fmla="*/ 2205796 w 6942639"/>
                <a:gd name="connsiteY2032" fmla="*/ 7711780 h 9250612"/>
                <a:gd name="connsiteX2033" fmla="*/ 2196836 w 6942639"/>
                <a:gd name="connsiteY2033" fmla="*/ 7702819 h 9250612"/>
                <a:gd name="connsiteX2034" fmla="*/ 2205796 w 6942639"/>
                <a:gd name="connsiteY2034" fmla="*/ 7693859 h 9250612"/>
                <a:gd name="connsiteX2035" fmla="*/ 2037059 w 6942639"/>
                <a:gd name="connsiteY2035" fmla="*/ 7693859 h 9250612"/>
                <a:gd name="connsiteX2036" fmla="*/ 2046011 w 6942639"/>
                <a:gd name="connsiteY2036" fmla="*/ 7702819 h 9250612"/>
                <a:gd name="connsiteX2037" fmla="*/ 2037059 w 6942639"/>
                <a:gd name="connsiteY2037" fmla="*/ 7711780 h 9250612"/>
                <a:gd name="connsiteX2038" fmla="*/ 2028099 w 6942639"/>
                <a:gd name="connsiteY2038" fmla="*/ 7702819 h 9250612"/>
                <a:gd name="connsiteX2039" fmla="*/ 2037059 w 6942639"/>
                <a:gd name="connsiteY2039" fmla="*/ 7693859 h 9250612"/>
                <a:gd name="connsiteX2040" fmla="*/ 1868322 w 6942639"/>
                <a:gd name="connsiteY2040" fmla="*/ 7693859 h 9250612"/>
                <a:gd name="connsiteX2041" fmla="*/ 1877278 w 6942639"/>
                <a:gd name="connsiteY2041" fmla="*/ 7702819 h 9250612"/>
                <a:gd name="connsiteX2042" fmla="*/ 1868322 w 6942639"/>
                <a:gd name="connsiteY2042" fmla="*/ 7711780 h 9250612"/>
                <a:gd name="connsiteX2043" fmla="*/ 1859357 w 6942639"/>
                <a:gd name="connsiteY2043" fmla="*/ 7702819 h 9250612"/>
                <a:gd name="connsiteX2044" fmla="*/ 1868322 w 6942639"/>
                <a:gd name="connsiteY2044" fmla="*/ 7693859 h 9250612"/>
                <a:gd name="connsiteX2045" fmla="*/ 1699579 w 6942639"/>
                <a:gd name="connsiteY2045" fmla="*/ 7693859 h 9250612"/>
                <a:gd name="connsiteX2046" fmla="*/ 1708540 w 6942639"/>
                <a:gd name="connsiteY2046" fmla="*/ 7702819 h 9250612"/>
                <a:gd name="connsiteX2047" fmla="*/ 1699579 w 6942639"/>
                <a:gd name="connsiteY2047" fmla="*/ 7711780 h 9250612"/>
                <a:gd name="connsiteX2048" fmla="*/ 1690616 w 6942639"/>
                <a:gd name="connsiteY2048" fmla="*/ 7702819 h 9250612"/>
                <a:gd name="connsiteX2049" fmla="*/ 1699579 w 6942639"/>
                <a:gd name="connsiteY2049" fmla="*/ 7693859 h 9250612"/>
                <a:gd name="connsiteX2050" fmla="*/ 1530836 w 6942639"/>
                <a:gd name="connsiteY2050" fmla="*/ 7693859 h 9250612"/>
                <a:gd name="connsiteX2051" fmla="*/ 1539797 w 6942639"/>
                <a:gd name="connsiteY2051" fmla="*/ 7702819 h 9250612"/>
                <a:gd name="connsiteX2052" fmla="*/ 1530836 w 6942639"/>
                <a:gd name="connsiteY2052" fmla="*/ 7711780 h 9250612"/>
                <a:gd name="connsiteX2053" fmla="*/ 1521875 w 6942639"/>
                <a:gd name="connsiteY2053" fmla="*/ 7702819 h 9250612"/>
                <a:gd name="connsiteX2054" fmla="*/ 1530836 w 6942639"/>
                <a:gd name="connsiteY2054" fmla="*/ 7693859 h 9250612"/>
                <a:gd name="connsiteX2055" fmla="*/ 1362091 w 6942639"/>
                <a:gd name="connsiteY2055" fmla="*/ 7693859 h 9250612"/>
                <a:gd name="connsiteX2056" fmla="*/ 1371051 w 6942639"/>
                <a:gd name="connsiteY2056" fmla="*/ 7702819 h 9250612"/>
                <a:gd name="connsiteX2057" fmla="*/ 1362091 w 6942639"/>
                <a:gd name="connsiteY2057" fmla="*/ 7711780 h 9250612"/>
                <a:gd name="connsiteX2058" fmla="*/ 1353131 w 6942639"/>
                <a:gd name="connsiteY2058" fmla="*/ 7702819 h 9250612"/>
                <a:gd name="connsiteX2059" fmla="*/ 1362091 w 6942639"/>
                <a:gd name="connsiteY2059" fmla="*/ 7693859 h 9250612"/>
                <a:gd name="connsiteX2060" fmla="*/ 1193350 w 6942639"/>
                <a:gd name="connsiteY2060" fmla="*/ 7693859 h 9250612"/>
                <a:gd name="connsiteX2061" fmla="*/ 1202311 w 6942639"/>
                <a:gd name="connsiteY2061" fmla="*/ 7702819 h 9250612"/>
                <a:gd name="connsiteX2062" fmla="*/ 1193350 w 6942639"/>
                <a:gd name="connsiteY2062" fmla="*/ 7711780 h 9250612"/>
                <a:gd name="connsiteX2063" fmla="*/ 1184391 w 6942639"/>
                <a:gd name="connsiteY2063" fmla="*/ 7702819 h 9250612"/>
                <a:gd name="connsiteX2064" fmla="*/ 1193350 w 6942639"/>
                <a:gd name="connsiteY2064" fmla="*/ 7693859 h 9250612"/>
                <a:gd name="connsiteX2065" fmla="*/ 1024605 w 6942639"/>
                <a:gd name="connsiteY2065" fmla="*/ 7693859 h 9250612"/>
                <a:gd name="connsiteX2066" fmla="*/ 1033569 w 6942639"/>
                <a:gd name="connsiteY2066" fmla="*/ 7702819 h 9250612"/>
                <a:gd name="connsiteX2067" fmla="*/ 1024605 w 6942639"/>
                <a:gd name="connsiteY2067" fmla="*/ 7711780 h 9250612"/>
                <a:gd name="connsiteX2068" fmla="*/ 1015646 w 6942639"/>
                <a:gd name="connsiteY2068" fmla="*/ 7702819 h 9250612"/>
                <a:gd name="connsiteX2069" fmla="*/ 1024605 w 6942639"/>
                <a:gd name="connsiteY2069" fmla="*/ 7693859 h 9250612"/>
                <a:gd name="connsiteX2070" fmla="*/ 855868 w 6942639"/>
                <a:gd name="connsiteY2070" fmla="*/ 7693859 h 9250612"/>
                <a:gd name="connsiteX2071" fmla="*/ 864828 w 6942639"/>
                <a:gd name="connsiteY2071" fmla="*/ 7702819 h 9250612"/>
                <a:gd name="connsiteX2072" fmla="*/ 855868 w 6942639"/>
                <a:gd name="connsiteY2072" fmla="*/ 7711780 h 9250612"/>
                <a:gd name="connsiteX2073" fmla="*/ 846908 w 6942639"/>
                <a:gd name="connsiteY2073" fmla="*/ 7702819 h 9250612"/>
                <a:gd name="connsiteX2074" fmla="*/ 855868 w 6942639"/>
                <a:gd name="connsiteY2074" fmla="*/ 7693859 h 9250612"/>
                <a:gd name="connsiteX2075" fmla="*/ 687127 w 6942639"/>
                <a:gd name="connsiteY2075" fmla="*/ 7693859 h 9250612"/>
                <a:gd name="connsiteX2076" fmla="*/ 696088 w 6942639"/>
                <a:gd name="connsiteY2076" fmla="*/ 7702819 h 9250612"/>
                <a:gd name="connsiteX2077" fmla="*/ 687127 w 6942639"/>
                <a:gd name="connsiteY2077" fmla="*/ 7711780 h 9250612"/>
                <a:gd name="connsiteX2078" fmla="*/ 678167 w 6942639"/>
                <a:gd name="connsiteY2078" fmla="*/ 7702819 h 9250612"/>
                <a:gd name="connsiteX2079" fmla="*/ 687127 w 6942639"/>
                <a:gd name="connsiteY2079" fmla="*/ 7693859 h 9250612"/>
                <a:gd name="connsiteX2080" fmla="*/ 518377 w 6942639"/>
                <a:gd name="connsiteY2080" fmla="*/ 7693859 h 9250612"/>
                <a:gd name="connsiteX2081" fmla="*/ 527338 w 6942639"/>
                <a:gd name="connsiteY2081" fmla="*/ 7702819 h 9250612"/>
                <a:gd name="connsiteX2082" fmla="*/ 518377 w 6942639"/>
                <a:gd name="connsiteY2082" fmla="*/ 7711780 h 9250612"/>
                <a:gd name="connsiteX2083" fmla="*/ 509417 w 6942639"/>
                <a:gd name="connsiteY2083" fmla="*/ 7702819 h 9250612"/>
                <a:gd name="connsiteX2084" fmla="*/ 518377 w 6942639"/>
                <a:gd name="connsiteY2084" fmla="*/ 7693859 h 9250612"/>
                <a:gd name="connsiteX2085" fmla="*/ 349637 w 6942639"/>
                <a:gd name="connsiteY2085" fmla="*/ 7693859 h 9250612"/>
                <a:gd name="connsiteX2086" fmla="*/ 358598 w 6942639"/>
                <a:gd name="connsiteY2086" fmla="*/ 7702819 h 9250612"/>
                <a:gd name="connsiteX2087" fmla="*/ 349637 w 6942639"/>
                <a:gd name="connsiteY2087" fmla="*/ 7711780 h 9250612"/>
                <a:gd name="connsiteX2088" fmla="*/ 340677 w 6942639"/>
                <a:gd name="connsiteY2088" fmla="*/ 7702819 h 9250612"/>
                <a:gd name="connsiteX2089" fmla="*/ 349637 w 6942639"/>
                <a:gd name="connsiteY2089" fmla="*/ 7693859 h 9250612"/>
                <a:gd name="connsiteX2090" fmla="*/ 179317 w 6942639"/>
                <a:gd name="connsiteY2090" fmla="*/ 7693859 h 9250612"/>
                <a:gd name="connsiteX2091" fmla="*/ 188278 w 6942639"/>
                <a:gd name="connsiteY2091" fmla="*/ 7702819 h 9250612"/>
                <a:gd name="connsiteX2092" fmla="*/ 179317 w 6942639"/>
                <a:gd name="connsiteY2092" fmla="*/ 7711780 h 9250612"/>
                <a:gd name="connsiteX2093" fmla="*/ 170357 w 6942639"/>
                <a:gd name="connsiteY2093" fmla="*/ 7702819 h 9250612"/>
                <a:gd name="connsiteX2094" fmla="*/ 179317 w 6942639"/>
                <a:gd name="connsiteY2094" fmla="*/ 7693859 h 9250612"/>
                <a:gd name="connsiteX2095" fmla="*/ 8998 w 6942639"/>
                <a:gd name="connsiteY2095" fmla="*/ 7693859 h 9250612"/>
                <a:gd name="connsiteX2096" fmla="*/ 17958 w 6942639"/>
                <a:gd name="connsiteY2096" fmla="*/ 7702819 h 9250612"/>
                <a:gd name="connsiteX2097" fmla="*/ 8998 w 6942639"/>
                <a:gd name="connsiteY2097" fmla="*/ 7711780 h 9250612"/>
                <a:gd name="connsiteX2098" fmla="*/ 37 w 6942639"/>
                <a:gd name="connsiteY2098" fmla="*/ 7702819 h 9250612"/>
                <a:gd name="connsiteX2099" fmla="*/ 8998 w 6942639"/>
                <a:gd name="connsiteY2099" fmla="*/ 7693859 h 9250612"/>
                <a:gd name="connsiteX2100" fmla="*/ 6933679 w 6942639"/>
                <a:gd name="connsiteY2100" fmla="*/ 7522877 h 9250612"/>
                <a:gd name="connsiteX2101" fmla="*/ 6942639 w 6942639"/>
                <a:gd name="connsiteY2101" fmla="*/ 7531837 h 9250612"/>
                <a:gd name="connsiteX2102" fmla="*/ 6933679 w 6942639"/>
                <a:gd name="connsiteY2102" fmla="*/ 7540798 h 9250612"/>
                <a:gd name="connsiteX2103" fmla="*/ 6924718 w 6942639"/>
                <a:gd name="connsiteY2103" fmla="*/ 7531837 h 9250612"/>
                <a:gd name="connsiteX2104" fmla="*/ 6933679 w 6942639"/>
                <a:gd name="connsiteY2104" fmla="*/ 7522877 h 9250612"/>
                <a:gd name="connsiteX2105" fmla="*/ 6763357 w 6942639"/>
                <a:gd name="connsiteY2105" fmla="*/ 7522877 h 9250612"/>
                <a:gd name="connsiteX2106" fmla="*/ 6772318 w 6942639"/>
                <a:gd name="connsiteY2106" fmla="*/ 7531837 h 9250612"/>
                <a:gd name="connsiteX2107" fmla="*/ 6763357 w 6942639"/>
                <a:gd name="connsiteY2107" fmla="*/ 7540798 h 9250612"/>
                <a:gd name="connsiteX2108" fmla="*/ 6754397 w 6942639"/>
                <a:gd name="connsiteY2108" fmla="*/ 7531837 h 9250612"/>
                <a:gd name="connsiteX2109" fmla="*/ 6763357 w 6942639"/>
                <a:gd name="connsiteY2109" fmla="*/ 7522877 h 9250612"/>
                <a:gd name="connsiteX2110" fmla="*/ 6593035 w 6942639"/>
                <a:gd name="connsiteY2110" fmla="*/ 7522877 h 9250612"/>
                <a:gd name="connsiteX2111" fmla="*/ 6601996 w 6942639"/>
                <a:gd name="connsiteY2111" fmla="*/ 7531837 h 9250612"/>
                <a:gd name="connsiteX2112" fmla="*/ 6593035 w 6942639"/>
                <a:gd name="connsiteY2112" fmla="*/ 7540798 h 9250612"/>
                <a:gd name="connsiteX2113" fmla="*/ 6584075 w 6942639"/>
                <a:gd name="connsiteY2113" fmla="*/ 7531837 h 9250612"/>
                <a:gd name="connsiteX2114" fmla="*/ 6593035 w 6942639"/>
                <a:gd name="connsiteY2114" fmla="*/ 7522877 h 9250612"/>
                <a:gd name="connsiteX2115" fmla="*/ 6424294 w 6942639"/>
                <a:gd name="connsiteY2115" fmla="*/ 7522877 h 9250612"/>
                <a:gd name="connsiteX2116" fmla="*/ 6433255 w 6942639"/>
                <a:gd name="connsiteY2116" fmla="*/ 7531837 h 9250612"/>
                <a:gd name="connsiteX2117" fmla="*/ 6424294 w 6942639"/>
                <a:gd name="connsiteY2117" fmla="*/ 7540798 h 9250612"/>
                <a:gd name="connsiteX2118" fmla="*/ 6415334 w 6942639"/>
                <a:gd name="connsiteY2118" fmla="*/ 7531837 h 9250612"/>
                <a:gd name="connsiteX2119" fmla="*/ 6424294 w 6942639"/>
                <a:gd name="connsiteY2119" fmla="*/ 7522877 h 9250612"/>
                <a:gd name="connsiteX2120" fmla="*/ 6255553 w 6942639"/>
                <a:gd name="connsiteY2120" fmla="*/ 7522877 h 9250612"/>
                <a:gd name="connsiteX2121" fmla="*/ 6264514 w 6942639"/>
                <a:gd name="connsiteY2121" fmla="*/ 7531837 h 9250612"/>
                <a:gd name="connsiteX2122" fmla="*/ 6255553 w 6942639"/>
                <a:gd name="connsiteY2122" fmla="*/ 7540798 h 9250612"/>
                <a:gd name="connsiteX2123" fmla="*/ 6246593 w 6942639"/>
                <a:gd name="connsiteY2123" fmla="*/ 7531837 h 9250612"/>
                <a:gd name="connsiteX2124" fmla="*/ 6255553 w 6942639"/>
                <a:gd name="connsiteY2124" fmla="*/ 7522877 h 9250612"/>
                <a:gd name="connsiteX2125" fmla="*/ 6086811 w 6942639"/>
                <a:gd name="connsiteY2125" fmla="*/ 7522877 h 9250612"/>
                <a:gd name="connsiteX2126" fmla="*/ 6095772 w 6942639"/>
                <a:gd name="connsiteY2126" fmla="*/ 7531837 h 9250612"/>
                <a:gd name="connsiteX2127" fmla="*/ 6086811 w 6942639"/>
                <a:gd name="connsiteY2127" fmla="*/ 7540798 h 9250612"/>
                <a:gd name="connsiteX2128" fmla="*/ 6077851 w 6942639"/>
                <a:gd name="connsiteY2128" fmla="*/ 7531837 h 9250612"/>
                <a:gd name="connsiteX2129" fmla="*/ 6086811 w 6942639"/>
                <a:gd name="connsiteY2129" fmla="*/ 7522877 h 9250612"/>
                <a:gd name="connsiteX2130" fmla="*/ 5918069 w 6942639"/>
                <a:gd name="connsiteY2130" fmla="*/ 7522877 h 9250612"/>
                <a:gd name="connsiteX2131" fmla="*/ 5927030 w 6942639"/>
                <a:gd name="connsiteY2131" fmla="*/ 7531837 h 9250612"/>
                <a:gd name="connsiteX2132" fmla="*/ 5918069 w 6942639"/>
                <a:gd name="connsiteY2132" fmla="*/ 7540798 h 9250612"/>
                <a:gd name="connsiteX2133" fmla="*/ 5909109 w 6942639"/>
                <a:gd name="connsiteY2133" fmla="*/ 7531837 h 9250612"/>
                <a:gd name="connsiteX2134" fmla="*/ 5918069 w 6942639"/>
                <a:gd name="connsiteY2134" fmla="*/ 7522877 h 9250612"/>
                <a:gd name="connsiteX2135" fmla="*/ 5749328 w 6942639"/>
                <a:gd name="connsiteY2135" fmla="*/ 7522877 h 9250612"/>
                <a:gd name="connsiteX2136" fmla="*/ 5758289 w 6942639"/>
                <a:gd name="connsiteY2136" fmla="*/ 7531837 h 9250612"/>
                <a:gd name="connsiteX2137" fmla="*/ 5749328 w 6942639"/>
                <a:gd name="connsiteY2137" fmla="*/ 7540798 h 9250612"/>
                <a:gd name="connsiteX2138" fmla="*/ 5740368 w 6942639"/>
                <a:gd name="connsiteY2138" fmla="*/ 7531837 h 9250612"/>
                <a:gd name="connsiteX2139" fmla="*/ 5749328 w 6942639"/>
                <a:gd name="connsiteY2139" fmla="*/ 7522877 h 9250612"/>
                <a:gd name="connsiteX2140" fmla="*/ 5580586 w 6942639"/>
                <a:gd name="connsiteY2140" fmla="*/ 7522877 h 9250612"/>
                <a:gd name="connsiteX2141" fmla="*/ 5589547 w 6942639"/>
                <a:gd name="connsiteY2141" fmla="*/ 7531837 h 9250612"/>
                <a:gd name="connsiteX2142" fmla="*/ 5580586 w 6942639"/>
                <a:gd name="connsiteY2142" fmla="*/ 7540798 h 9250612"/>
                <a:gd name="connsiteX2143" fmla="*/ 5571626 w 6942639"/>
                <a:gd name="connsiteY2143" fmla="*/ 7531837 h 9250612"/>
                <a:gd name="connsiteX2144" fmla="*/ 5580586 w 6942639"/>
                <a:gd name="connsiteY2144" fmla="*/ 7522877 h 9250612"/>
                <a:gd name="connsiteX2145" fmla="*/ 5411845 w 6942639"/>
                <a:gd name="connsiteY2145" fmla="*/ 7522877 h 9250612"/>
                <a:gd name="connsiteX2146" fmla="*/ 5420806 w 6942639"/>
                <a:gd name="connsiteY2146" fmla="*/ 7531837 h 9250612"/>
                <a:gd name="connsiteX2147" fmla="*/ 5411845 w 6942639"/>
                <a:gd name="connsiteY2147" fmla="*/ 7540798 h 9250612"/>
                <a:gd name="connsiteX2148" fmla="*/ 5402885 w 6942639"/>
                <a:gd name="connsiteY2148" fmla="*/ 7531837 h 9250612"/>
                <a:gd name="connsiteX2149" fmla="*/ 5411845 w 6942639"/>
                <a:gd name="connsiteY2149" fmla="*/ 7522877 h 9250612"/>
                <a:gd name="connsiteX2150" fmla="*/ 5243103 w 6942639"/>
                <a:gd name="connsiteY2150" fmla="*/ 7522877 h 9250612"/>
                <a:gd name="connsiteX2151" fmla="*/ 5252064 w 6942639"/>
                <a:gd name="connsiteY2151" fmla="*/ 7531837 h 9250612"/>
                <a:gd name="connsiteX2152" fmla="*/ 5243103 w 6942639"/>
                <a:gd name="connsiteY2152" fmla="*/ 7540798 h 9250612"/>
                <a:gd name="connsiteX2153" fmla="*/ 5234143 w 6942639"/>
                <a:gd name="connsiteY2153" fmla="*/ 7531837 h 9250612"/>
                <a:gd name="connsiteX2154" fmla="*/ 5243103 w 6942639"/>
                <a:gd name="connsiteY2154" fmla="*/ 7522877 h 9250612"/>
                <a:gd name="connsiteX2155" fmla="*/ 5074362 w 6942639"/>
                <a:gd name="connsiteY2155" fmla="*/ 7522877 h 9250612"/>
                <a:gd name="connsiteX2156" fmla="*/ 5083323 w 6942639"/>
                <a:gd name="connsiteY2156" fmla="*/ 7531837 h 9250612"/>
                <a:gd name="connsiteX2157" fmla="*/ 5074362 w 6942639"/>
                <a:gd name="connsiteY2157" fmla="*/ 7540798 h 9250612"/>
                <a:gd name="connsiteX2158" fmla="*/ 5065402 w 6942639"/>
                <a:gd name="connsiteY2158" fmla="*/ 7531837 h 9250612"/>
                <a:gd name="connsiteX2159" fmla="*/ 5074362 w 6942639"/>
                <a:gd name="connsiteY2159" fmla="*/ 7522877 h 9250612"/>
                <a:gd name="connsiteX2160" fmla="*/ 4905620 w 6942639"/>
                <a:gd name="connsiteY2160" fmla="*/ 7522877 h 9250612"/>
                <a:gd name="connsiteX2161" fmla="*/ 4914581 w 6942639"/>
                <a:gd name="connsiteY2161" fmla="*/ 7531837 h 9250612"/>
                <a:gd name="connsiteX2162" fmla="*/ 4905620 w 6942639"/>
                <a:gd name="connsiteY2162" fmla="*/ 7540798 h 9250612"/>
                <a:gd name="connsiteX2163" fmla="*/ 4896660 w 6942639"/>
                <a:gd name="connsiteY2163" fmla="*/ 7531837 h 9250612"/>
                <a:gd name="connsiteX2164" fmla="*/ 4905620 w 6942639"/>
                <a:gd name="connsiteY2164" fmla="*/ 7522877 h 9250612"/>
                <a:gd name="connsiteX2165" fmla="*/ 4736878 w 6942639"/>
                <a:gd name="connsiteY2165" fmla="*/ 7522877 h 9250612"/>
                <a:gd name="connsiteX2166" fmla="*/ 4745839 w 6942639"/>
                <a:gd name="connsiteY2166" fmla="*/ 7531837 h 9250612"/>
                <a:gd name="connsiteX2167" fmla="*/ 4736878 w 6942639"/>
                <a:gd name="connsiteY2167" fmla="*/ 7540798 h 9250612"/>
                <a:gd name="connsiteX2168" fmla="*/ 4727918 w 6942639"/>
                <a:gd name="connsiteY2168" fmla="*/ 7531837 h 9250612"/>
                <a:gd name="connsiteX2169" fmla="*/ 4736878 w 6942639"/>
                <a:gd name="connsiteY2169" fmla="*/ 7522877 h 9250612"/>
                <a:gd name="connsiteX2170" fmla="*/ 4568137 w 6942639"/>
                <a:gd name="connsiteY2170" fmla="*/ 7522877 h 9250612"/>
                <a:gd name="connsiteX2171" fmla="*/ 4577098 w 6942639"/>
                <a:gd name="connsiteY2171" fmla="*/ 7531837 h 9250612"/>
                <a:gd name="connsiteX2172" fmla="*/ 4568137 w 6942639"/>
                <a:gd name="connsiteY2172" fmla="*/ 7540798 h 9250612"/>
                <a:gd name="connsiteX2173" fmla="*/ 4559177 w 6942639"/>
                <a:gd name="connsiteY2173" fmla="*/ 7531837 h 9250612"/>
                <a:gd name="connsiteX2174" fmla="*/ 4568137 w 6942639"/>
                <a:gd name="connsiteY2174" fmla="*/ 7522877 h 9250612"/>
                <a:gd name="connsiteX2175" fmla="*/ 4399396 w 6942639"/>
                <a:gd name="connsiteY2175" fmla="*/ 7522877 h 9250612"/>
                <a:gd name="connsiteX2176" fmla="*/ 4408357 w 6942639"/>
                <a:gd name="connsiteY2176" fmla="*/ 7531837 h 9250612"/>
                <a:gd name="connsiteX2177" fmla="*/ 4399396 w 6942639"/>
                <a:gd name="connsiteY2177" fmla="*/ 7540798 h 9250612"/>
                <a:gd name="connsiteX2178" fmla="*/ 4390436 w 6942639"/>
                <a:gd name="connsiteY2178" fmla="*/ 7531837 h 9250612"/>
                <a:gd name="connsiteX2179" fmla="*/ 4399396 w 6942639"/>
                <a:gd name="connsiteY2179" fmla="*/ 7522877 h 9250612"/>
                <a:gd name="connsiteX2180" fmla="*/ 4230654 w 6942639"/>
                <a:gd name="connsiteY2180" fmla="*/ 7522877 h 9250612"/>
                <a:gd name="connsiteX2181" fmla="*/ 4239615 w 6942639"/>
                <a:gd name="connsiteY2181" fmla="*/ 7531837 h 9250612"/>
                <a:gd name="connsiteX2182" fmla="*/ 4230654 w 6942639"/>
                <a:gd name="connsiteY2182" fmla="*/ 7540798 h 9250612"/>
                <a:gd name="connsiteX2183" fmla="*/ 4221694 w 6942639"/>
                <a:gd name="connsiteY2183" fmla="*/ 7531837 h 9250612"/>
                <a:gd name="connsiteX2184" fmla="*/ 4230654 w 6942639"/>
                <a:gd name="connsiteY2184" fmla="*/ 7522877 h 9250612"/>
                <a:gd name="connsiteX2185" fmla="*/ 4061912 w 6942639"/>
                <a:gd name="connsiteY2185" fmla="*/ 7522877 h 9250612"/>
                <a:gd name="connsiteX2186" fmla="*/ 4070873 w 6942639"/>
                <a:gd name="connsiteY2186" fmla="*/ 7531837 h 9250612"/>
                <a:gd name="connsiteX2187" fmla="*/ 4061912 w 6942639"/>
                <a:gd name="connsiteY2187" fmla="*/ 7540798 h 9250612"/>
                <a:gd name="connsiteX2188" fmla="*/ 4052952 w 6942639"/>
                <a:gd name="connsiteY2188" fmla="*/ 7531837 h 9250612"/>
                <a:gd name="connsiteX2189" fmla="*/ 4061912 w 6942639"/>
                <a:gd name="connsiteY2189" fmla="*/ 7522877 h 9250612"/>
                <a:gd name="connsiteX2190" fmla="*/ 3893170 w 6942639"/>
                <a:gd name="connsiteY2190" fmla="*/ 7522877 h 9250612"/>
                <a:gd name="connsiteX2191" fmla="*/ 3902131 w 6942639"/>
                <a:gd name="connsiteY2191" fmla="*/ 7531837 h 9250612"/>
                <a:gd name="connsiteX2192" fmla="*/ 3893170 w 6942639"/>
                <a:gd name="connsiteY2192" fmla="*/ 7540798 h 9250612"/>
                <a:gd name="connsiteX2193" fmla="*/ 3884210 w 6942639"/>
                <a:gd name="connsiteY2193" fmla="*/ 7531837 h 9250612"/>
                <a:gd name="connsiteX2194" fmla="*/ 3893170 w 6942639"/>
                <a:gd name="connsiteY2194" fmla="*/ 7522877 h 9250612"/>
                <a:gd name="connsiteX2195" fmla="*/ 3724429 w 6942639"/>
                <a:gd name="connsiteY2195" fmla="*/ 7522877 h 9250612"/>
                <a:gd name="connsiteX2196" fmla="*/ 3733390 w 6942639"/>
                <a:gd name="connsiteY2196" fmla="*/ 7531837 h 9250612"/>
                <a:gd name="connsiteX2197" fmla="*/ 3724429 w 6942639"/>
                <a:gd name="connsiteY2197" fmla="*/ 7540798 h 9250612"/>
                <a:gd name="connsiteX2198" fmla="*/ 3715469 w 6942639"/>
                <a:gd name="connsiteY2198" fmla="*/ 7531837 h 9250612"/>
                <a:gd name="connsiteX2199" fmla="*/ 3724429 w 6942639"/>
                <a:gd name="connsiteY2199" fmla="*/ 7522877 h 9250612"/>
                <a:gd name="connsiteX2200" fmla="*/ 3555688 w 6942639"/>
                <a:gd name="connsiteY2200" fmla="*/ 7522877 h 9250612"/>
                <a:gd name="connsiteX2201" fmla="*/ 3564649 w 6942639"/>
                <a:gd name="connsiteY2201" fmla="*/ 7531837 h 9250612"/>
                <a:gd name="connsiteX2202" fmla="*/ 3555688 w 6942639"/>
                <a:gd name="connsiteY2202" fmla="*/ 7540798 h 9250612"/>
                <a:gd name="connsiteX2203" fmla="*/ 3546728 w 6942639"/>
                <a:gd name="connsiteY2203" fmla="*/ 7531837 h 9250612"/>
                <a:gd name="connsiteX2204" fmla="*/ 3555688 w 6942639"/>
                <a:gd name="connsiteY2204" fmla="*/ 7522877 h 9250612"/>
                <a:gd name="connsiteX2205" fmla="*/ 3386978 w 6942639"/>
                <a:gd name="connsiteY2205" fmla="*/ 7522877 h 9250612"/>
                <a:gd name="connsiteX2206" fmla="*/ 3395938 w 6942639"/>
                <a:gd name="connsiteY2206" fmla="*/ 7531837 h 9250612"/>
                <a:gd name="connsiteX2207" fmla="*/ 3386978 w 6942639"/>
                <a:gd name="connsiteY2207" fmla="*/ 7540798 h 9250612"/>
                <a:gd name="connsiteX2208" fmla="*/ 3378002 w 6942639"/>
                <a:gd name="connsiteY2208" fmla="*/ 7531837 h 9250612"/>
                <a:gd name="connsiteX2209" fmla="*/ 3386978 w 6942639"/>
                <a:gd name="connsiteY2209" fmla="*/ 7522877 h 9250612"/>
                <a:gd name="connsiteX2210" fmla="*/ 3218226 w 6942639"/>
                <a:gd name="connsiteY2210" fmla="*/ 7522877 h 9250612"/>
                <a:gd name="connsiteX2211" fmla="*/ 3227195 w 6942639"/>
                <a:gd name="connsiteY2211" fmla="*/ 7531837 h 9250612"/>
                <a:gd name="connsiteX2212" fmla="*/ 3218226 w 6942639"/>
                <a:gd name="connsiteY2212" fmla="*/ 7540798 h 9250612"/>
                <a:gd name="connsiteX2213" fmla="*/ 3209269 w 6942639"/>
                <a:gd name="connsiteY2213" fmla="*/ 7531837 h 9250612"/>
                <a:gd name="connsiteX2214" fmla="*/ 3218226 w 6942639"/>
                <a:gd name="connsiteY2214" fmla="*/ 7522877 h 9250612"/>
                <a:gd name="connsiteX2215" fmla="*/ 3049510 w 6942639"/>
                <a:gd name="connsiteY2215" fmla="*/ 7522877 h 9250612"/>
                <a:gd name="connsiteX2216" fmla="*/ 3058457 w 6942639"/>
                <a:gd name="connsiteY2216" fmla="*/ 7531837 h 9250612"/>
                <a:gd name="connsiteX2217" fmla="*/ 3049510 w 6942639"/>
                <a:gd name="connsiteY2217" fmla="*/ 7540798 h 9250612"/>
                <a:gd name="connsiteX2218" fmla="*/ 3040535 w 6942639"/>
                <a:gd name="connsiteY2218" fmla="*/ 7531837 h 9250612"/>
                <a:gd name="connsiteX2219" fmla="*/ 3049510 w 6942639"/>
                <a:gd name="connsiteY2219" fmla="*/ 7522877 h 9250612"/>
                <a:gd name="connsiteX2220" fmla="*/ 2880764 w 6942639"/>
                <a:gd name="connsiteY2220" fmla="*/ 7522877 h 9250612"/>
                <a:gd name="connsiteX2221" fmla="*/ 2889722 w 6942639"/>
                <a:gd name="connsiteY2221" fmla="*/ 7531837 h 9250612"/>
                <a:gd name="connsiteX2222" fmla="*/ 2880764 w 6942639"/>
                <a:gd name="connsiteY2222" fmla="*/ 7540798 h 9250612"/>
                <a:gd name="connsiteX2223" fmla="*/ 2871803 w 6942639"/>
                <a:gd name="connsiteY2223" fmla="*/ 7531837 h 9250612"/>
                <a:gd name="connsiteX2224" fmla="*/ 2880764 w 6942639"/>
                <a:gd name="connsiteY2224" fmla="*/ 7522877 h 9250612"/>
                <a:gd name="connsiteX2225" fmla="*/ 2712014 w 6942639"/>
                <a:gd name="connsiteY2225" fmla="*/ 7522877 h 9250612"/>
                <a:gd name="connsiteX2226" fmla="*/ 2720989 w 6942639"/>
                <a:gd name="connsiteY2226" fmla="*/ 7531837 h 9250612"/>
                <a:gd name="connsiteX2227" fmla="*/ 2712014 w 6942639"/>
                <a:gd name="connsiteY2227" fmla="*/ 7540798 h 9250612"/>
                <a:gd name="connsiteX2228" fmla="*/ 2703059 w 6942639"/>
                <a:gd name="connsiteY2228" fmla="*/ 7531837 h 9250612"/>
                <a:gd name="connsiteX2229" fmla="*/ 2712014 w 6942639"/>
                <a:gd name="connsiteY2229" fmla="*/ 7522877 h 9250612"/>
                <a:gd name="connsiteX2230" fmla="*/ 2543285 w 6942639"/>
                <a:gd name="connsiteY2230" fmla="*/ 7522877 h 9250612"/>
                <a:gd name="connsiteX2231" fmla="*/ 2552249 w 6942639"/>
                <a:gd name="connsiteY2231" fmla="*/ 7531837 h 9250612"/>
                <a:gd name="connsiteX2232" fmla="*/ 2543285 w 6942639"/>
                <a:gd name="connsiteY2232" fmla="*/ 7540798 h 9250612"/>
                <a:gd name="connsiteX2233" fmla="*/ 2534325 w 6942639"/>
                <a:gd name="connsiteY2233" fmla="*/ 7531837 h 9250612"/>
                <a:gd name="connsiteX2234" fmla="*/ 2543285 w 6942639"/>
                <a:gd name="connsiteY2234" fmla="*/ 7522877 h 9250612"/>
                <a:gd name="connsiteX2235" fmla="*/ 2374532 w 6942639"/>
                <a:gd name="connsiteY2235" fmla="*/ 7522877 h 9250612"/>
                <a:gd name="connsiteX2236" fmla="*/ 2383505 w 6942639"/>
                <a:gd name="connsiteY2236" fmla="*/ 7531837 h 9250612"/>
                <a:gd name="connsiteX2237" fmla="*/ 2374532 w 6942639"/>
                <a:gd name="connsiteY2237" fmla="*/ 7540798 h 9250612"/>
                <a:gd name="connsiteX2238" fmla="*/ 2365569 w 6942639"/>
                <a:gd name="connsiteY2238" fmla="*/ 7531837 h 9250612"/>
                <a:gd name="connsiteX2239" fmla="*/ 2374532 w 6942639"/>
                <a:gd name="connsiteY2239" fmla="*/ 7522877 h 9250612"/>
                <a:gd name="connsiteX2240" fmla="*/ 2205801 w 6942639"/>
                <a:gd name="connsiteY2240" fmla="*/ 7522877 h 9250612"/>
                <a:gd name="connsiteX2241" fmla="*/ 2214761 w 6942639"/>
                <a:gd name="connsiteY2241" fmla="*/ 7531837 h 9250612"/>
                <a:gd name="connsiteX2242" fmla="*/ 2205801 w 6942639"/>
                <a:gd name="connsiteY2242" fmla="*/ 7540798 h 9250612"/>
                <a:gd name="connsiteX2243" fmla="*/ 2196839 w 6942639"/>
                <a:gd name="connsiteY2243" fmla="*/ 7531837 h 9250612"/>
                <a:gd name="connsiteX2244" fmla="*/ 2205801 w 6942639"/>
                <a:gd name="connsiteY2244" fmla="*/ 7522877 h 9250612"/>
                <a:gd name="connsiteX2245" fmla="*/ 2037063 w 6942639"/>
                <a:gd name="connsiteY2245" fmla="*/ 7522877 h 9250612"/>
                <a:gd name="connsiteX2246" fmla="*/ 2046016 w 6942639"/>
                <a:gd name="connsiteY2246" fmla="*/ 7531837 h 9250612"/>
                <a:gd name="connsiteX2247" fmla="*/ 2037063 w 6942639"/>
                <a:gd name="connsiteY2247" fmla="*/ 7540798 h 9250612"/>
                <a:gd name="connsiteX2248" fmla="*/ 2028105 w 6942639"/>
                <a:gd name="connsiteY2248" fmla="*/ 7531837 h 9250612"/>
                <a:gd name="connsiteX2249" fmla="*/ 2037063 w 6942639"/>
                <a:gd name="connsiteY2249" fmla="*/ 7522877 h 9250612"/>
                <a:gd name="connsiteX2250" fmla="*/ 1868328 w 6942639"/>
                <a:gd name="connsiteY2250" fmla="*/ 7522877 h 9250612"/>
                <a:gd name="connsiteX2251" fmla="*/ 1877284 w 6942639"/>
                <a:gd name="connsiteY2251" fmla="*/ 7531837 h 9250612"/>
                <a:gd name="connsiteX2252" fmla="*/ 1868328 w 6942639"/>
                <a:gd name="connsiteY2252" fmla="*/ 7540798 h 9250612"/>
                <a:gd name="connsiteX2253" fmla="*/ 1859362 w 6942639"/>
                <a:gd name="connsiteY2253" fmla="*/ 7531837 h 9250612"/>
                <a:gd name="connsiteX2254" fmla="*/ 1868328 w 6942639"/>
                <a:gd name="connsiteY2254" fmla="*/ 7522877 h 9250612"/>
                <a:gd name="connsiteX2255" fmla="*/ 1699583 w 6942639"/>
                <a:gd name="connsiteY2255" fmla="*/ 7522877 h 9250612"/>
                <a:gd name="connsiteX2256" fmla="*/ 1708545 w 6942639"/>
                <a:gd name="connsiteY2256" fmla="*/ 7531837 h 9250612"/>
                <a:gd name="connsiteX2257" fmla="*/ 1699583 w 6942639"/>
                <a:gd name="connsiteY2257" fmla="*/ 7540798 h 9250612"/>
                <a:gd name="connsiteX2258" fmla="*/ 1690620 w 6942639"/>
                <a:gd name="connsiteY2258" fmla="*/ 7531837 h 9250612"/>
                <a:gd name="connsiteX2259" fmla="*/ 1699583 w 6942639"/>
                <a:gd name="connsiteY2259" fmla="*/ 7522877 h 9250612"/>
                <a:gd name="connsiteX2260" fmla="*/ 1530841 w 6942639"/>
                <a:gd name="connsiteY2260" fmla="*/ 7522877 h 9250612"/>
                <a:gd name="connsiteX2261" fmla="*/ 1539802 w 6942639"/>
                <a:gd name="connsiteY2261" fmla="*/ 7531837 h 9250612"/>
                <a:gd name="connsiteX2262" fmla="*/ 1530841 w 6942639"/>
                <a:gd name="connsiteY2262" fmla="*/ 7540798 h 9250612"/>
                <a:gd name="connsiteX2263" fmla="*/ 1521880 w 6942639"/>
                <a:gd name="connsiteY2263" fmla="*/ 7531837 h 9250612"/>
                <a:gd name="connsiteX2264" fmla="*/ 1530841 w 6942639"/>
                <a:gd name="connsiteY2264" fmla="*/ 7522877 h 9250612"/>
                <a:gd name="connsiteX2265" fmla="*/ 1362096 w 6942639"/>
                <a:gd name="connsiteY2265" fmla="*/ 7522877 h 9250612"/>
                <a:gd name="connsiteX2266" fmla="*/ 1371056 w 6942639"/>
                <a:gd name="connsiteY2266" fmla="*/ 7531837 h 9250612"/>
                <a:gd name="connsiteX2267" fmla="*/ 1362096 w 6942639"/>
                <a:gd name="connsiteY2267" fmla="*/ 7540798 h 9250612"/>
                <a:gd name="connsiteX2268" fmla="*/ 1353135 w 6942639"/>
                <a:gd name="connsiteY2268" fmla="*/ 7531837 h 9250612"/>
                <a:gd name="connsiteX2269" fmla="*/ 1362096 w 6942639"/>
                <a:gd name="connsiteY2269" fmla="*/ 7522877 h 9250612"/>
                <a:gd name="connsiteX2270" fmla="*/ 1193355 w 6942639"/>
                <a:gd name="connsiteY2270" fmla="*/ 7522877 h 9250612"/>
                <a:gd name="connsiteX2271" fmla="*/ 1202315 w 6942639"/>
                <a:gd name="connsiteY2271" fmla="*/ 7531837 h 9250612"/>
                <a:gd name="connsiteX2272" fmla="*/ 1193355 w 6942639"/>
                <a:gd name="connsiteY2272" fmla="*/ 7540798 h 9250612"/>
                <a:gd name="connsiteX2273" fmla="*/ 1184396 w 6942639"/>
                <a:gd name="connsiteY2273" fmla="*/ 7531837 h 9250612"/>
                <a:gd name="connsiteX2274" fmla="*/ 1193355 w 6942639"/>
                <a:gd name="connsiteY2274" fmla="*/ 7522877 h 9250612"/>
                <a:gd name="connsiteX2275" fmla="*/ 1024610 w 6942639"/>
                <a:gd name="connsiteY2275" fmla="*/ 7522877 h 9250612"/>
                <a:gd name="connsiteX2276" fmla="*/ 1033573 w 6942639"/>
                <a:gd name="connsiteY2276" fmla="*/ 7531837 h 9250612"/>
                <a:gd name="connsiteX2277" fmla="*/ 1024610 w 6942639"/>
                <a:gd name="connsiteY2277" fmla="*/ 7540798 h 9250612"/>
                <a:gd name="connsiteX2278" fmla="*/ 1015651 w 6942639"/>
                <a:gd name="connsiteY2278" fmla="*/ 7531837 h 9250612"/>
                <a:gd name="connsiteX2279" fmla="*/ 1024610 w 6942639"/>
                <a:gd name="connsiteY2279" fmla="*/ 7522877 h 9250612"/>
                <a:gd name="connsiteX2280" fmla="*/ 855873 w 6942639"/>
                <a:gd name="connsiteY2280" fmla="*/ 7522877 h 9250612"/>
                <a:gd name="connsiteX2281" fmla="*/ 864833 w 6942639"/>
                <a:gd name="connsiteY2281" fmla="*/ 7531837 h 9250612"/>
                <a:gd name="connsiteX2282" fmla="*/ 855873 w 6942639"/>
                <a:gd name="connsiteY2282" fmla="*/ 7540798 h 9250612"/>
                <a:gd name="connsiteX2283" fmla="*/ 846913 w 6942639"/>
                <a:gd name="connsiteY2283" fmla="*/ 7531837 h 9250612"/>
                <a:gd name="connsiteX2284" fmla="*/ 855873 w 6942639"/>
                <a:gd name="connsiteY2284" fmla="*/ 7522877 h 9250612"/>
                <a:gd name="connsiteX2285" fmla="*/ 687132 w 6942639"/>
                <a:gd name="connsiteY2285" fmla="*/ 7522877 h 9250612"/>
                <a:gd name="connsiteX2286" fmla="*/ 696092 w 6942639"/>
                <a:gd name="connsiteY2286" fmla="*/ 7531837 h 9250612"/>
                <a:gd name="connsiteX2287" fmla="*/ 687132 w 6942639"/>
                <a:gd name="connsiteY2287" fmla="*/ 7540798 h 9250612"/>
                <a:gd name="connsiteX2288" fmla="*/ 678172 w 6942639"/>
                <a:gd name="connsiteY2288" fmla="*/ 7531837 h 9250612"/>
                <a:gd name="connsiteX2289" fmla="*/ 687132 w 6942639"/>
                <a:gd name="connsiteY2289" fmla="*/ 7522877 h 9250612"/>
                <a:gd name="connsiteX2290" fmla="*/ 518381 w 6942639"/>
                <a:gd name="connsiteY2290" fmla="*/ 7522877 h 9250612"/>
                <a:gd name="connsiteX2291" fmla="*/ 527342 w 6942639"/>
                <a:gd name="connsiteY2291" fmla="*/ 7531837 h 9250612"/>
                <a:gd name="connsiteX2292" fmla="*/ 518381 w 6942639"/>
                <a:gd name="connsiteY2292" fmla="*/ 7540798 h 9250612"/>
                <a:gd name="connsiteX2293" fmla="*/ 509421 w 6942639"/>
                <a:gd name="connsiteY2293" fmla="*/ 7531837 h 9250612"/>
                <a:gd name="connsiteX2294" fmla="*/ 518381 w 6942639"/>
                <a:gd name="connsiteY2294" fmla="*/ 7522877 h 9250612"/>
                <a:gd name="connsiteX2295" fmla="*/ 349641 w 6942639"/>
                <a:gd name="connsiteY2295" fmla="*/ 7522877 h 9250612"/>
                <a:gd name="connsiteX2296" fmla="*/ 358602 w 6942639"/>
                <a:gd name="connsiteY2296" fmla="*/ 7531837 h 9250612"/>
                <a:gd name="connsiteX2297" fmla="*/ 349641 w 6942639"/>
                <a:gd name="connsiteY2297" fmla="*/ 7540798 h 9250612"/>
                <a:gd name="connsiteX2298" fmla="*/ 340681 w 6942639"/>
                <a:gd name="connsiteY2298" fmla="*/ 7531837 h 9250612"/>
                <a:gd name="connsiteX2299" fmla="*/ 349641 w 6942639"/>
                <a:gd name="connsiteY2299" fmla="*/ 7522877 h 9250612"/>
                <a:gd name="connsiteX2300" fmla="*/ 179321 w 6942639"/>
                <a:gd name="connsiteY2300" fmla="*/ 7522877 h 9250612"/>
                <a:gd name="connsiteX2301" fmla="*/ 188282 w 6942639"/>
                <a:gd name="connsiteY2301" fmla="*/ 7531837 h 9250612"/>
                <a:gd name="connsiteX2302" fmla="*/ 179321 w 6942639"/>
                <a:gd name="connsiteY2302" fmla="*/ 7540798 h 9250612"/>
                <a:gd name="connsiteX2303" fmla="*/ 170361 w 6942639"/>
                <a:gd name="connsiteY2303" fmla="*/ 7531837 h 9250612"/>
                <a:gd name="connsiteX2304" fmla="*/ 179321 w 6942639"/>
                <a:gd name="connsiteY2304" fmla="*/ 7522877 h 9250612"/>
                <a:gd name="connsiteX2305" fmla="*/ 9002 w 6942639"/>
                <a:gd name="connsiteY2305" fmla="*/ 7522877 h 9250612"/>
                <a:gd name="connsiteX2306" fmla="*/ 17962 w 6942639"/>
                <a:gd name="connsiteY2306" fmla="*/ 7531837 h 9250612"/>
                <a:gd name="connsiteX2307" fmla="*/ 9002 w 6942639"/>
                <a:gd name="connsiteY2307" fmla="*/ 7540798 h 9250612"/>
                <a:gd name="connsiteX2308" fmla="*/ 41 w 6942639"/>
                <a:gd name="connsiteY2308" fmla="*/ 7531837 h 9250612"/>
                <a:gd name="connsiteX2309" fmla="*/ 9002 w 6942639"/>
                <a:gd name="connsiteY2309" fmla="*/ 7522877 h 9250612"/>
                <a:gd name="connsiteX2310" fmla="*/ 6933679 w 6942639"/>
                <a:gd name="connsiteY2310" fmla="*/ 7351896 h 9250612"/>
                <a:gd name="connsiteX2311" fmla="*/ 6942639 w 6942639"/>
                <a:gd name="connsiteY2311" fmla="*/ 7360856 h 9250612"/>
                <a:gd name="connsiteX2312" fmla="*/ 6933679 w 6942639"/>
                <a:gd name="connsiteY2312" fmla="*/ 7369817 h 9250612"/>
                <a:gd name="connsiteX2313" fmla="*/ 6924718 w 6942639"/>
                <a:gd name="connsiteY2313" fmla="*/ 7360856 h 9250612"/>
                <a:gd name="connsiteX2314" fmla="*/ 6933679 w 6942639"/>
                <a:gd name="connsiteY2314" fmla="*/ 7351896 h 9250612"/>
                <a:gd name="connsiteX2315" fmla="*/ 6763357 w 6942639"/>
                <a:gd name="connsiteY2315" fmla="*/ 7351896 h 9250612"/>
                <a:gd name="connsiteX2316" fmla="*/ 6772318 w 6942639"/>
                <a:gd name="connsiteY2316" fmla="*/ 7360856 h 9250612"/>
                <a:gd name="connsiteX2317" fmla="*/ 6763357 w 6942639"/>
                <a:gd name="connsiteY2317" fmla="*/ 7369817 h 9250612"/>
                <a:gd name="connsiteX2318" fmla="*/ 6754397 w 6942639"/>
                <a:gd name="connsiteY2318" fmla="*/ 7360856 h 9250612"/>
                <a:gd name="connsiteX2319" fmla="*/ 6763357 w 6942639"/>
                <a:gd name="connsiteY2319" fmla="*/ 7351896 h 9250612"/>
                <a:gd name="connsiteX2320" fmla="*/ 6593035 w 6942639"/>
                <a:gd name="connsiteY2320" fmla="*/ 7351896 h 9250612"/>
                <a:gd name="connsiteX2321" fmla="*/ 6601996 w 6942639"/>
                <a:gd name="connsiteY2321" fmla="*/ 7360856 h 9250612"/>
                <a:gd name="connsiteX2322" fmla="*/ 6593035 w 6942639"/>
                <a:gd name="connsiteY2322" fmla="*/ 7369817 h 9250612"/>
                <a:gd name="connsiteX2323" fmla="*/ 6584075 w 6942639"/>
                <a:gd name="connsiteY2323" fmla="*/ 7360856 h 9250612"/>
                <a:gd name="connsiteX2324" fmla="*/ 6593035 w 6942639"/>
                <a:gd name="connsiteY2324" fmla="*/ 7351896 h 9250612"/>
                <a:gd name="connsiteX2325" fmla="*/ 6424294 w 6942639"/>
                <a:gd name="connsiteY2325" fmla="*/ 7351896 h 9250612"/>
                <a:gd name="connsiteX2326" fmla="*/ 6433255 w 6942639"/>
                <a:gd name="connsiteY2326" fmla="*/ 7360856 h 9250612"/>
                <a:gd name="connsiteX2327" fmla="*/ 6424294 w 6942639"/>
                <a:gd name="connsiteY2327" fmla="*/ 7369817 h 9250612"/>
                <a:gd name="connsiteX2328" fmla="*/ 6415334 w 6942639"/>
                <a:gd name="connsiteY2328" fmla="*/ 7360856 h 9250612"/>
                <a:gd name="connsiteX2329" fmla="*/ 6424294 w 6942639"/>
                <a:gd name="connsiteY2329" fmla="*/ 7351896 h 9250612"/>
                <a:gd name="connsiteX2330" fmla="*/ 6255553 w 6942639"/>
                <a:gd name="connsiteY2330" fmla="*/ 7351896 h 9250612"/>
                <a:gd name="connsiteX2331" fmla="*/ 6264514 w 6942639"/>
                <a:gd name="connsiteY2331" fmla="*/ 7360856 h 9250612"/>
                <a:gd name="connsiteX2332" fmla="*/ 6255553 w 6942639"/>
                <a:gd name="connsiteY2332" fmla="*/ 7369817 h 9250612"/>
                <a:gd name="connsiteX2333" fmla="*/ 6246593 w 6942639"/>
                <a:gd name="connsiteY2333" fmla="*/ 7360856 h 9250612"/>
                <a:gd name="connsiteX2334" fmla="*/ 6255553 w 6942639"/>
                <a:gd name="connsiteY2334" fmla="*/ 7351896 h 9250612"/>
                <a:gd name="connsiteX2335" fmla="*/ 6086811 w 6942639"/>
                <a:gd name="connsiteY2335" fmla="*/ 7351896 h 9250612"/>
                <a:gd name="connsiteX2336" fmla="*/ 6095772 w 6942639"/>
                <a:gd name="connsiteY2336" fmla="*/ 7360856 h 9250612"/>
                <a:gd name="connsiteX2337" fmla="*/ 6086811 w 6942639"/>
                <a:gd name="connsiteY2337" fmla="*/ 7369817 h 9250612"/>
                <a:gd name="connsiteX2338" fmla="*/ 6077851 w 6942639"/>
                <a:gd name="connsiteY2338" fmla="*/ 7360856 h 9250612"/>
                <a:gd name="connsiteX2339" fmla="*/ 6086811 w 6942639"/>
                <a:gd name="connsiteY2339" fmla="*/ 7351896 h 9250612"/>
                <a:gd name="connsiteX2340" fmla="*/ 5918069 w 6942639"/>
                <a:gd name="connsiteY2340" fmla="*/ 7351896 h 9250612"/>
                <a:gd name="connsiteX2341" fmla="*/ 5927030 w 6942639"/>
                <a:gd name="connsiteY2341" fmla="*/ 7360856 h 9250612"/>
                <a:gd name="connsiteX2342" fmla="*/ 5918069 w 6942639"/>
                <a:gd name="connsiteY2342" fmla="*/ 7369817 h 9250612"/>
                <a:gd name="connsiteX2343" fmla="*/ 5909109 w 6942639"/>
                <a:gd name="connsiteY2343" fmla="*/ 7360856 h 9250612"/>
                <a:gd name="connsiteX2344" fmla="*/ 5918069 w 6942639"/>
                <a:gd name="connsiteY2344" fmla="*/ 7351896 h 9250612"/>
                <a:gd name="connsiteX2345" fmla="*/ 5749328 w 6942639"/>
                <a:gd name="connsiteY2345" fmla="*/ 7351896 h 9250612"/>
                <a:gd name="connsiteX2346" fmla="*/ 5758289 w 6942639"/>
                <a:gd name="connsiteY2346" fmla="*/ 7360856 h 9250612"/>
                <a:gd name="connsiteX2347" fmla="*/ 5749328 w 6942639"/>
                <a:gd name="connsiteY2347" fmla="*/ 7369817 h 9250612"/>
                <a:gd name="connsiteX2348" fmla="*/ 5740368 w 6942639"/>
                <a:gd name="connsiteY2348" fmla="*/ 7360856 h 9250612"/>
                <a:gd name="connsiteX2349" fmla="*/ 5749328 w 6942639"/>
                <a:gd name="connsiteY2349" fmla="*/ 7351896 h 9250612"/>
                <a:gd name="connsiteX2350" fmla="*/ 5580586 w 6942639"/>
                <a:gd name="connsiteY2350" fmla="*/ 7351896 h 9250612"/>
                <a:gd name="connsiteX2351" fmla="*/ 5589547 w 6942639"/>
                <a:gd name="connsiteY2351" fmla="*/ 7360856 h 9250612"/>
                <a:gd name="connsiteX2352" fmla="*/ 5580586 w 6942639"/>
                <a:gd name="connsiteY2352" fmla="*/ 7369817 h 9250612"/>
                <a:gd name="connsiteX2353" fmla="*/ 5571626 w 6942639"/>
                <a:gd name="connsiteY2353" fmla="*/ 7360856 h 9250612"/>
                <a:gd name="connsiteX2354" fmla="*/ 5580586 w 6942639"/>
                <a:gd name="connsiteY2354" fmla="*/ 7351896 h 9250612"/>
                <a:gd name="connsiteX2355" fmla="*/ 5411845 w 6942639"/>
                <a:gd name="connsiteY2355" fmla="*/ 7351896 h 9250612"/>
                <a:gd name="connsiteX2356" fmla="*/ 5420806 w 6942639"/>
                <a:gd name="connsiteY2356" fmla="*/ 7360856 h 9250612"/>
                <a:gd name="connsiteX2357" fmla="*/ 5411845 w 6942639"/>
                <a:gd name="connsiteY2357" fmla="*/ 7369817 h 9250612"/>
                <a:gd name="connsiteX2358" fmla="*/ 5402885 w 6942639"/>
                <a:gd name="connsiteY2358" fmla="*/ 7360856 h 9250612"/>
                <a:gd name="connsiteX2359" fmla="*/ 5411845 w 6942639"/>
                <a:gd name="connsiteY2359" fmla="*/ 7351896 h 9250612"/>
                <a:gd name="connsiteX2360" fmla="*/ 5243103 w 6942639"/>
                <a:gd name="connsiteY2360" fmla="*/ 7351896 h 9250612"/>
                <a:gd name="connsiteX2361" fmla="*/ 5252064 w 6942639"/>
                <a:gd name="connsiteY2361" fmla="*/ 7360856 h 9250612"/>
                <a:gd name="connsiteX2362" fmla="*/ 5243103 w 6942639"/>
                <a:gd name="connsiteY2362" fmla="*/ 7369817 h 9250612"/>
                <a:gd name="connsiteX2363" fmla="*/ 5234143 w 6942639"/>
                <a:gd name="connsiteY2363" fmla="*/ 7360856 h 9250612"/>
                <a:gd name="connsiteX2364" fmla="*/ 5243103 w 6942639"/>
                <a:gd name="connsiteY2364" fmla="*/ 7351896 h 9250612"/>
                <a:gd name="connsiteX2365" fmla="*/ 5074362 w 6942639"/>
                <a:gd name="connsiteY2365" fmla="*/ 7351896 h 9250612"/>
                <a:gd name="connsiteX2366" fmla="*/ 5083323 w 6942639"/>
                <a:gd name="connsiteY2366" fmla="*/ 7360856 h 9250612"/>
                <a:gd name="connsiteX2367" fmla="*/ 5074362 w 6942639"/>
                <a:gd name="connsiteY2367" fmla="*/ 7369817 h 9250612"/>
                <a:gd name="connsiteX2368" fmla="*/ 5065402 w 6942639"/>
                <a:gd name="connsiteY2368" fmla="*/ 7360856 h 9250612"/>
                <a:gd name="connsiteX2369" fmla="*/ 5074362 w 6942639"/>
                <a:gd name="connsiteY2369" fmla="*/ 7351896 h 9250612"/>
                <a:gd name="connsiteX2370" fmla="*/ 4905620 w 6942639"/>
                <a:gd name="connsiteY2370" fmla="*/ 7351896 h 9250612"/>
                <a:gd name="connsiteX2371" fmla="*/ 4914581 w 6942639"/>
                <a:gd name="connsiteY2371" fmla="*/ 7360856 h 9250612"/>
                <a:gd name="connsiteX2372" fmla="*/ 4905620 w 6942639"/>
                <a:gd name="connsiteY2372" fmla="*/ 7369817 h 9250612"/>
                <a:gd name="connsiteX2373" fmla="*/ 4896660 w 6942639"/>
                <a:gd name="connsiteY2373" fmla="*/ 7360856 h 9250612"/>
                <a:gd name="connsiteX2374" fmla="*/ 4905620 w 6942639"/>
                <a:gd name="connsiteY2374" fmla="*/ 7351896 h 9250612"/>
                <a:gd name="connsiteX2375" fmla="*/ 4736878 w 6942639"/>
                <a:gd name="connsiteY2375" fmla="*/ 7351896 h 9250612"/>
                <a:gd name="connsiteX2376" fmla="*/ 4745839 w 6942639"/>
                <a:gd name="connsiteY2376" fmla="*/ 7360856 h 9250612"/>
                <a:gd name="connsiteX2377" fmla="*/ 4736878 w 6942639"/>
                <a:gd name="connsiteY2377" fmla="*/ 7369817 h 9250612"/>
                <a:gd name="connsiteX2378" fmla="*/ 4727918 w 6942639"/>
                <a:gd name="connsiteY2378" fmla="*/ 7360856 h 9250612"/>
                <a:gd name="connsiteX2379" fmla="*/ 4736878 w 6942639"/>
                <a:gd name="connsiteY2379" fmla="*/ 7351896 h 9250612"/>
                <a:gd name="connsiteX2380" fmla="*/ 4568137 w 6942639"/>
                <a:gd name="connsiteY2380" fmla="*/ 7351896 h 9250612"/>
                <a:gd name="connsiteX2381" fmla="*/ 4577098 w 6942639"/>
                <a:gd name="connsiteY2381" fmla="*/ 7360856 h 9250612"/>
                <a:gd name="connsiteX2382" fmla="*/ 4568137 w 6942639"/>
                <a:gd name="connsiteY2382" fmla="*/ 7369817 h 9250612"/>
                <a:gd name="connsiteX2383" fmla="*/ 4559177 w 6942639"/>
                <a:gd name="connsiteY2383" fmla="*/ 7360856 h 9250612"/>
                <a:gd name="connsiteX2384" fmla="*/ 4568137 w 6942639"/>
                <a:gd name="connsiteY2384" fmla="*/ 7351896 h 9250612"/>
                <a:gd name="connsiteX2385" fmla="*/ 4399396 w 6942639"/>
                <a:gd name="connsiteY2385" fmla="*/ 7351896 h 9250612"/>
                <a:gd name="connsiteX2386" fmla="*/ 4408357 w 6942639"/>
                <a:gd name="connsiteY2386" fmla="*/ 7360856 h 9250612"/>
                <a:gd name="connsiteX2387" fmla="*/ 4399396 w 6942639"/>
                <a:gd name="connsiteY2387" fmla="*/ 7369817 h 9250612"/>
                <a:gd name="connsiteX2388" fmla="*/ 4390436 w 6942639"/>
                <a:gd name="connsiteY2388" fmla="*/ 7360856 h 9250612"/>
                <a:gd name="connsiteX2389" fmla="*/ 4399396 w 6942639"/>
                <a:gd name="connsiteY2389" fmla="*/ 7351896 h 9250612"/>
                <a:gd name="connsiteX2390" fmla="*/ 4230654 w 6942639"/>
                <a:gd name="connsiteY2390" fmla="*/ 7351896 h 9250612"/>
                <a:gd name="connsiteX2391" fmla="*/ 4239615 w 6942639"/>
                <a:gd name="connsiteY2391" fmla="*/ 7360856 h 9250612"/>
                <a:gd name="connsiteX2392" fmla="*/ 4230654 w 6942639"/>
                <a:gd name="connsiteY2392" fmla="*/ 7369817 h 9250612"/>
                <a:gd name="connsiteX2393" fmla="*/ 4221694 w 6942639"/>
                <a:gd name="connsiteY2393" fmla="*/ 7360856 h 9250612"/>
                <a:gd name="connsiteX2394" fmla="*/ 4230654 w 6942639"/>
                <a:gd name="connsiteY2394" fmla="*/ 7351896 h 9250612"/>
                <a:gd name="connsiteX2395" fmla="*/ 4061912 w 6942639"/>
                <a:gd name="connsiteY2395" fmla="*/ 7351896 h 9250612"/>
                <a:gd name="connsiteX2396" fmla="*/ 4070873 w 6942639"/>
                <a:gd name="connsiteY2396" fmla="*/ 7360856 h 9250612"/>
                <a:gd name="connsiteX2397" fmla="*/ 4061912 w 6942639"/>
                <a:gd name="connsiteY2397" fmla="*/ 7369817 h 9250612"/>
                <a:gd name="connsiteX2398" fmla="*/ 4052952 w 6942639"/>
                <a:gd name="connsiteY2398" fmla="*/ 7360856 h 9250612"/>
                <a:gd name="connsiteX2399" fmla="*/ 4061912 w 6942639"/>
                <a:gd name="connsiteY2399" fmla="*/ 7351896 h 9250612"/>
                <a:gd name="connsiteX2400" fmla="*/ 3893170 w 6942639"/>
                <a:gd name="connsiteY2400" fmla="*/ 7351896 h 9250612"/>
                <a:gd name="connsiteX2401" fmla="*/ 3902131 w 6942639"/>
                <a:gd name="connsiteY2401" fmla="*/ 7360856 h 9250612"/>
                <a:gd name="connsiteX2402" fmla="*/ 3893170 w 6942639"/>
                <a:gd name="connsiteY2402" fmla="*/ 7369817 h 9250612"/>
                <a:gd name="connsiteX2403" fmla="*/ 3884210 w 6942639"/>
                <a:gd name="connsiteY2403" fmla="*/ 7360856 h 9250612"/>
                <a:gd name="connsiteX2404" fmla="*/ 3893170 w 6942639"/>
                <a:gd name="connsiteY2404" fmla="*/ 7351896 h 9250612"/>
                <a:gd name="connsiteX2405" fmla="*/ 3724429 w 6942639"/>
                <a:gd name="connsiteY2405" fmla="*/ 7351896 h 9250612"/>
                <a:gd name="connsiteX2406" fmla="*/ 3733390 w 6942639"/>
                <a:gd name="connsiteY2406" fmla="*/ 7360856 h 9250612"/>
                <a:gd name="connsiteX2407" fmla="*/ 3724429 w 6942639"/>
                <a:gd name="connsiteY2407" fmla="*/ 7369817 h 9250612"/>
                <a:gd name="connsiteX2408" fmla="*/ 3715469 w 6942639"/>
                <a:gd name="connsiteY2408" fmla="*/ 7360856 h 9250612"/>
                <a:gd name="connsiteX2409" fmla="*/ 3724429 w 6942639"/>
                <a:gd name="connsiteY2409" fmla="*/ 7351896 h 9250612"/>
                <a:gd name="connsiteX2410" fmla="*/ 3555688 w 6942639"/>
                <a:gd name="connsiteY2410" fmla="*/ 7351896 h 9250612"/>
                <a:gd name="connsiteX2411" fmla="*/ 3564649 w 6942639"/>
                <a:gd name="connsiteY2411" fmla="*/ 7360856 h 9250612"/>
                <a:gd name="connsiteX2412" fmla="*/ 3555688 w 6942639"/>
                <a:gd name="connsiteY2412" fmla="*/ 7369817 h 9250612"/>
                <a:gd name="connsiteX2413" fmla="*/ 3546728 w 6942639"/>
                <a:gd name="connsiteY2413" fmla="*/ 7360856 h 9250612"/>
                <a:gd name="connsiteX2414" fmla="*/ 3555688 w 6942639"/>
                <a:gd name="connsiteY2414" fmla="*/ 7351896 h 9250612"/>
                <a:gd name="connsiteX2415" fmla="*/ 3386981 w 6942639"/>
                <a:gd name="connsiteY2415" fmla="*/ 7351896 h 9250612"/>
                <a:gd name="connsiteX2416" fmla="*/ 3395941 w 6942639"/>
                <a:gd name="connsiteY2416" fmla="*/ 7360856 h 9250612"/>
                <a:gd name="connsiteX2417" fmla="*/ 3386981 w 6942639"/>
                <a:gd name="connsiteY2417" fmla="*/ 7369817 h 9250612"/>
                <a:gd name="connsiteX2418" fmla="*/ 3378003 w 6942639"/>
                <a:gd name="connsiteY2418" fmla="*/ 7360856 h 9250612"/>
                <a:gd name="connsiteX2419" fmla="*/ 3386981 w 6942639"/>
                <a:gd name="connsiteY2419" fmla="*/ 7351896 h 9250612"/>
                <a:gd name="connsiteX2420" fmla="*/ 3218228 w 6942639"/>
                <a:gd name="connsiteY2420" fmla="*/ 7351896 h 9250612"/>
                <a:gd name="connsiteX2421" fmla="*/ 3227198 w 6942639"/>
                <a:gd name="connsiteY2421" fmla="*/ 7360856 h 9250612"/>
                <a:gd name="connsiteX2422" fmla="*/ 3218228 w 6942639"/>
                <a:gd name="connsiteY2422" fmla="*/ 7369817 h 9250612"/>
                <a:gd name="connsiteX2423" fmla="*/ 3209271 w 6942639"/>
                <a:gd name="connsiteY2423" fmla="*/ 7360856 h 9250612"/>
                <a:gd name="connsiteX2424" fmla="*/ 3218228 w 6942639"/>
                <a:gd name="connsiteY2424" fmla="*/ 7351896 h 9250612"/>
                <a:gd name="connsiteX2425" fmla="*/ 3049513 w 6942639"/>
                <a:gd name="connsiteY2425" fmla="*/ 7351896 h 9250612"/>
                <a:gd name="connsiteX2426" fmla="*/ 3058460 w 6942639"/>
                <a:gd name="connsiteY2426" fmla="*/ 7360856 h 9250612"/>
                <a:gd name="connsiteX2427" fmla="*/ 3049513 w 6942639"/>
                <a:gd name="connsiteY2427" fmla="*/ 7369817 h 9250612"/>
                <a:gd name="connsiteX2428" fmla="*/ 3040538 w 6942639"/>
                <a:gd name="connsiteY2428" fmla="*/ 7360856 h 9250612"/>
                <a:gd name="connsiteX2429" fmla="*/ 3049513 w 6942639"/>
                <a:gd name="connsiteY2429" fmla="*/ 7351896 h 9250612"/>
                <a:gd name="connsiteX2430" fmla="*/ 2880768 w 6942639"/>
                <a:gd name="connsiteY2430" fmla="*/ 7351896 h 9250612"/>
                <a:gd name="connsiteX2431" fmla="*/ 2889726 w 6942639"/>
                <a:gd name="connsiteY2431" fmla="*/ 7360856 h 9250612"/>
                <a:gd name="connsiteX2432" fmla="*/ 2880768 w 6942639"/>
                <a:gd name="connsiteY2432" fmla="*/ 7369817 h 9250612"/>
                <a:gd name="connsiteX2433" fmla="*/ 2871806 w 6942639"/>
                <a:gd name="connsiteY2433" fmla="*/ 7360856 h 9250612"/>
                <a:gd name="connsiteX2434" fmla="*/ 2880768 w 6942639"/>
                <a:gd name="connsiteY2434" fmla="*/ 7351896 h 9250612"/>
                <a:gd name="connsiteX2435" fmla="*/ 2712017 w 6942639"/>
                <a:gd name="connsiteY2435" fmla="*/ 7351896 h 9250612"/>
                <a:gd name="connsiteX2436" fmla="*/ 2720993 w 6942639"/>
                <a:gd name="connsiteY2436" fmla="*/ 7360856 h 9250612"/>
                <a:gd name="connsiteX2437" fmla="*/ 2712017 w 6942639"/>
                <a:gd name="connsiteY2437" fmla="*/ 7369817 h 9250612"/>
                <a:gd name="connsiteX2438" fmla="*/ 2703062 w 6942639"/>
                <a:gd name="connsiteY2438" fmla="*/ 7360856 h 9250612"/>
                <a:gd name="connsiteX2439" fmla="*/ 2712017 w 6942639"/>
                <a:gd name="connsiteY2439" fmla="*/ 7351896 h 9250612"/>
                <a:gd name="connsiteX2440" fmla="*/ 2543289 w 6942639"/>
                <a:gd name="connsiteY2440" fmla="*/ 7351896 h 9250612"/>
                <a:gd name="connsiteX2441" fmla="*/ 2552254 w 6942639"/>
                <a:gd name="connsiteY2441" fmla="*/ 7360856 h 9250612"/>
                <a:gd name="connsiteX2442" fmla="*/ 2543289 w 6942639"/>
                <a:gd name="connsiteY2442" fmla="*/ 7369817 h 9250612"/>
                <a:gd name="connsiteX2443" fmla="*/ 2534329 w 6942639"/>
                <a:gd name="connsiteY2443" fmla="*/ 7360856 h 9250612"/>
                <a:gd name="connsiteX2444" fmla="*/ 2543289 w 6942639"/>
                <a:gd name="connsiteY2444" fmla="*/ 7351896 h 9250612"/>
                <a:gd name="connsiteX2445" fmla="*/ 2374535 w 6942639"/>
                <a:gd name="connsiteY2445" fmla="*/ 7351896 h 9250612"/>
                <a:gd name="connsiteX2446" fmla="*/ 2383510 w 6942639"/>
                <a:gd name="connsiteY2446" fmla="*/ 7360856 h 9250612"/>
                <a:gd name="connsiteX2447" fmla="*/ 2374535 w 6942639"/>
                <a:gd name="connsiteY2447" fmla="*/ 7369817 h 9250612"/>
                <a:gd name="connsiteX2448" fmla="*/ 2365572 w 6942639"/>
                <a:gd name="connsiteY2448" fmla="*/ 7360856 h 9250612"/>
                <a:gd name="connsiteX2449" fmla="*/ 2374535 w 6942639"/>
                <a:gd name="connsiteY2449" fmla="*/ 7351896 h 9250612"/>
                <a:gd name="connsiteX2450" fmla="*/ 2205805 w 6942639"/>
                <a:gd name="connsiteY2450" fmla="*/ 7351896 h 9250612"/>
                <a:gd name="connsiteX2451" fmla="*/ 2214765 w 6942639"/>
                <a:gd name="connsiteY2451" fmla="*/ 7360856 h 9250612"/>
                <a:gd name="connsiteX2452" fmla="*/ 2205805 w 6942639"/>
                <a:gd name="connsiteY2452" fmla="*/ 7369817 h 9250612"/>
                <a:gd name="connsiteX2453" fmla="*/ 2196841 w 6942639"/>
                <a:gd name="connsiteY2453" fmla="*/ 7360856 h 9250612"/>
                <a:gd name="connsiteX2454" fmla="*/ 2205805 w 6942639"/>
                <a:gd name="connsiteY2454" fmla="*/ 7351896 h 9250612"/>
                <a:gd name="connsiteX2455" fmla="*/ 2037066 w 6942639"/>
                <a:gd name="connsiteY2455" fmla="*/ 7351896 h 9250612"/>
                <a:gd name="connsiteX2456" fmla="*/ 2046022 w 6942639"/>
                <a:gd name="connsiteY2456" fmla="*/ 7360856 h 9250612"/>
                <a:gd name="connsiteX2457" fmla="*/ 2037066 w 6942639"/>
                <a:gd name="connsiteY2457" fmla="*/ 7369817 h 9250612"/>
                <a:gd name="connsiteX2458" fmla="*/ 2028109 w 6942639"/>
                <a:gd name="connsiteY2458" fmla="*/ 7360856 h 9250612"/>
                <a:gd name="connsiteX2459" fmla="*/ 2037066 w 6942639"/>
                <a:gd name="connsiteY2459" fmla="*/ 7351896 h 9250612"/>
                <a:gd name="connsiteX2460" fmla="*/ 1868333 w 6942639"/>
                <a:gd name="connsiteY2460" fmla="*/ 7351896 h 9250612"/>
                <a:gd name="connsiteX2461" fmla="*/ 1877288 w 6942639"/>
                <a:gd name="connsiteY2461" fmla="*/ 7360856 h 9250612"/>
                <a:gd name="connsiteX2462" fmla="*/ 1868333 w 6942639"/>
                <a:gd name="connsiteY2462" fmla="*/ 7369817 h 9250612"/>
                <a:gd name="connsiteX2463" fmla="*/ 1859367 w 6942639"/>
                <a:gd name="connsiteY2463" fmla="*/ 7360856 h 9250612"/>
                <a:gd name="connsiteX2464" fmla="*/ 1868333 w 6942639"/>
                <a:gd name="connsiteY2464" fmla="*/ 7351896 h 9250612"/>
                <a:gd name="connsiteX2465" fmla="*/ 1699588 w 6942639"/>
                <a:gd name="connsiteY2465" fmla="*/ 7351896 h 9250612"/>
                <a:gd name="connsiteX2466" fmla="*/ 1708550 w 6942639"/>
                <a:gd name="connsiteY2466" fmla="*/ 7360856 h 9250612"/>
                <a:gd name="connsiteX2467" fmla="*/ 1699588 w 6942639"/>
                <a:gd name="connsiteY2467" fmla="*/ 7369817 h 9250612"/>
                <a:gd name="connsiteX2468" fmla="*/ 1690625 w 6942639"/>
                <a:gd name="connsiteY2468" fmla="*/ 7360856 h 9250612"/>
                <a:gd name="connsiteX2469" fmla="*/ 1699588 w 6942639"/>
                <a:gd name="connsiteY2469" fmla="*/ 7351896 h 9250612"/>
                <a:gd name="connsiteX2470" fmla="*/ 1530845 w 6942639"/>
                <a:gd name="connsiteY2470" fmla="*/ 7351896 h 9250612"/>
                <a:gd name="connsiteX2471" fmla="*/ 1539806 w 6942639"/>
                <a:gd name="connsiteY2471" fmla="*/ 7360856 h 9250612"/>
                <a:gd name="connsiteX2472" fmla="*/ 1530845 w 6942639"/>
                <a:gd name="connsiteY2472" fmla="*/ 7369817 h 9250612"/>
                <a:gd name="connsiteX2473" fmla="*/ 1521884 w 6942639"/>
                <a:gd name="connsiteY2473" fmla="*/ 7360856 h 9250612"/>
                <a:gd name="connsiteX2474" fmla="*/ 1530845 w 6942639"/>
                <a:gd name="connsiteY2474" fmla="*/ 7351896 h 9250612"/>
                <a:gd name="connsiteX2475" fmla="*/ 1362100 w 6942639"/>
                <a:gd name="connsiteY2475" fmla="*/ 7351896 h 9250612"/>
                <a:gd name="connsiteX2476" fmla="*/ 1371060 w 6942639"/>
                <a:gd name="connsiteY2476" fmla="*/ 7360856 h 9250612"/>
                <a:gd name="connsiteX2477" fmla="*/ 1362100 w 6942639"/>
                <a:gd name="connsiteY2477" fmla="*/ 7369817 h 9250612"/>
                <a:gd name="connsiteX2478" fmla="*/ 1353140 w 6942639"/>
                <a:gd name="connsiteY2478" fmla="*/ 7360856 h 9250612"/>
                <a:gd name="connsiteX2479" fmla="*/ 1362100 w 6942639"/>
                <a:gd name="connsiteY2479" fmla="*/ 7351896 h 9250612"/>
                <a:gd name="connsiteX2480" fmla="*/ 1193359 w 6942639"/>
                <a:gd name="connsiteY2480" fmla="*/ 7351896 h 9250612"/>
                <a:gd name="connsiteX2481" fmla="*/ 1202320 w 6942639"/>
                <a:gd name="connsiteY2481" fmla="*/ 7360856 h 9250612"/>
                <a:gd name="connsiteX2482" fmla="*/ 1193359 w 6942639"/>
                <a:gd name="connsiteY2482" fmla="*/ 7369817 h 9250612"/>
                <a:gd name="connsiteX2483" fmla="*/ 1184400 w 6942639"/>
                <a:gd name="connsiteY2483" fmla="*/ 7360856 h 9250612"/>
                <a:gd name="connsiteX2484" fmla="*/ 1193359 w 6942639"/>
                <a:gd name="connsiteY2484" fmla="*/ 7351896 h 9250612"/>
                <a:gd name="connsiteX2485" fmla="*/ 1024613 w 6942639"/>
                <a:gd name="connsiteY2485" fmla="*/ 7351896 h 9250612"/>
                <a:gd name="connsiteX2486" fmla="*/ 1033577 w 6942639"/>
                <a:gd name="connsiteY2486" fmla="*/ 7360856 h 9250612"/>
                <a:gd name="connsiteX2487" fmla="*/ 1024613 w 6942639"/>
                <a:gd name="connsiteY2487" fmla="*/ 7369817 h 9250612"/>
                <a:gd name="connsiteX2488" fmla="*/ 1015654 w 6942639"/>
                <a:gd name="connsiteY2488" fmla="*/ 7360856 h 9250612"/>
                <a:gd name="connsiteX2489" fmla="*/ 1024613 w 6942639"/>
                <a:gd name="connsiteY2489" fmla="*/ 7351896 h 9250612"/>
                <a:gd name="connsiteX2490" fmla="*/ 855878 w 6942639"/>
                <a:gd name="connsiteY2490" fmla="*/ 7351896 h 9250612"/>
                <a:gd name="connsiteX2491" fmla="*/ 864837 w 6942639"/>
                <a:gd name="connsiteY2491" fmla="*/ 7360856 h 9250612"/>
                <a:gd name="connsiteX2492" fmla="*/ 855878 w 6942639"/>
                <a:gd name="connsiteY2492" fmla="*/ 7369817 h 9250612"/>
                <a:gd name="connsiteX2493" fmla="*/ 846917 w 6942639"/>
                <a:gd name="connsiteY2493" fmla="*/ 7360856 h 9250612"/>
                <a:gd name="connsiteX2494" fmla="*/ 855878 w 6942639"/>
                <a:gd name="connsiteY2494" fmla="*/ 7351896 h 9250612"/>
                <a:gd name="connsiteX2495" fmla="*/ 687136 w 6942639"/>
                <a:gd name="connsiteY2495" fmla="*/ 7351896 h 9250612"/>
                <a:gd name="connsiteX2496" fmla="*/ 696097 w 6942639"/>
                <a:gd name="connsiteY2496" fmla="*/ 7360856 h 9250612"/>
                <a:gd name="connsiteX2497" fmla="*/ 687136 w 6942639"/>
                <a:gd name="connsiteY2497" fmla="*/ 7369817 h 9250612"/>
                <a:gd name="connsiteX2498" fmla="*/ 678176 w 6942639"/>
                <a:gd name="connsiteY2498" fmla="*/ 7360856 h 9250612"/>
                <a:gd name="connsiteX2499" fmla="*/ 687136 w 6942639"/>
                <a:gd name="connsiteY2499" fmla="*/ 7351896 h 9250612"/>
                <a:gd name="connsiteX2500" fmla="*/ 518385 w 6942639"/>
                <a:gd name="connsiteY2500" fmla="*/ 7351896 h 9250612"/>
                <a:gd name="connsiteX2501" fmla="*/ 527345 w 6942639"/>
                <a:gd name="connsiteY2501" fmla="*/ 7360856 h 9250612"/>
                <a:gd name="connsiteX2502" fmla="*/ 518385 w 6942639"/>
                <a:gd name="connsiteY2502" fmla="*/ 7369817 h 9250612"/>
                <a:gd name="connsiteX2503" fmla="*/ 509425 w 6942639"/>
                <a:gd name="connsiteY2503" fmla="*/ 7360856 h 9250612"/>
                <a:gd name="connsiteX2504" fmla="*/ 518385 w 6942639"/>
                <a:gd name="connsiteY2504" fmla="*/ 7351896 h 9250612"/>
                <a:gd name="connsiteX2505" fmla="*/ 349645 w 6942639"/>
                <a:gd name="connsiteY2505" fmla="*/ 7351896 h 9250612"/>
                <a:gd name="connsiteX2506" fmla="*/ 358606 w 6942639"/>
                <a:gd name="connsiteY2506" fmla="*/ 7360856 h 9250612"/>
                <a:gd name="connsiteX2507" fmla="*/ 349645 w 6942639"/>
                <a:gd name="connsiteY2507" fmla="*/ 7369817 h 9250612"/>
                <a:gd name="connsiteX2508" fmla="*/ 340685 w 6942639"/>
                <a:gd name="connsiteY2508" fmla="*/ 7360856 h 9250612"/>
                <a:gd name="connsiteX2509" fmla="*/ 349645 w 6942639"/>
                <a:gd name="connsiteY2509" fmla="*/ 7351896 h 9250612"/>
                <a:gd name="connsiteX2510" fmla="*/ 179325 w 6942639"/>
                <a:gd name="connsiteY2510" fmla="*/ 7351896 h 9250612"/>
                <a:gd name="connsiteX2511" fmla="*/ 188286 w 6942639"/>
                <a:gd name="connsiteY2511" fmla="*/ 7360856 h 9250612"/>
                <a:gd name="connsiteX2512" fmla="*/ 179325 w 6942639"/>
                <a:gd name="connsiteY2512" fmla="*/ 7369817 h 9250612"/>
                <a:gd name="connsiteX2513" fmla="*/ 170365 w 6942639"/>
                <a:gd name="connsiteY2513" fmla="*/ 7360856 h 9250612"/>
                <a:gd name="connsiteX2514" fmla="*/ 179325 w 6942639"/>
                <a:gd name="connsiteY2514" fmla="*/ 7351896 h 9250612"/>
                <a:gd name="connsiteX2515" fmla="*/ 9006 w 6942639"/>
                <a:gd name="connsiteY2515" fmla="*/ 7351896 h 9250612"/>
                <a:gd name="connsiteX2516" fmla="*/ 17966 w 6942639"/>
                <a:gd name="connsiteY2516" fmla="*/ 7360856 h 9250612"/>
                <a:gd name="connsiteX2517" fmla="*/ 9006 w 6942639"/>
                <a:gd name="connsiteY2517" fmla="*/ 7369817 h 9250612"/>
                <a:gd name="connsiteX2518" fmla="*/ 45 w 6942639"/>
                <a:gd name="connsiteY2518" fmla="*/ 7360856 h 9250612"/>
                <a:gd name="connsiteX2519" fmla="*/ 9006 w 6942639"/>
                <a:gd name="connsiteY2519" fmla="*/ 7351896 h 9250612"/>
                <a:gd name="connsiteX2520" fmla="*/ 6933679 w 6942639"/>
                <a:gd name="connsiteY2520" fmla="*/ 7180915 h 9250612"/>
                <a:gd name="connsiteX2521" fmla="*/ 6942639 w 6942639"/>
                <a:gd name="connsiteY2521" fmla="*/ 7189875 h 9250612"/>
                <a:gd name="connsiteX2522" fmla="*/ 6933679 w 6942639"/>
                <a:gd name="connsiteY2522" fmla="*/ 7198836 h 9250612"/>
                <a:gd name="connsiteX2523" fmla="*/ 6924718 w 6942639"/>
                <a:gd name="connsiteY2523" fmla="*/ 7189875 h 9250612"/>
                <a:gd name="connsiteX2524" fmla="*/ 6933679 w 6942639"/>
                <a:gd name="connsiteY2524" fmla="*/ 7180915 h 9250612"/>
                <a:gd name="connsiteX2525" fmla="*/ 6763357 w 6942639"/>
                <a:gd name="connsiteY2525" fmla="*/ 7180915 h 9250612"/>
                <a:gd name="connsiteX2526" fmla="*/ 6772318 w 6942639"/>
                <a:gd name="connsiteY2526" fmla="*/ 7189875 h 9250612"/>
                <a:gd name="connsiteX2527" fmla="*/ 6763357 w 6942639"/>
                <a:gd name="connsiteY2527" fmla="*/ 7198836 h 9250612"/>
                <a:gd name="connsiteX2528" fmla="*/ 6754397 w 6942639"/>
                <a:gd name="connsiteY2528" fmla="*/ 7189875 h 9250612"/>
                <a:gd name="connsiteX2529" fmla="*/ 6763357 w 6942639"/>
                <a:gd name="connsiteY2529" fmla="*/ 7180915 h 9250612"/>
                <a:gd name="connsiteX2530" fmla="*/ 6593035 w 6942639"/>
                <a:gd name="connsiteY2530" fmla="*/ 7180915 h 9250612"/>
                <a:gd name="connsiteX2531" fmla="*/ 6601996 w 6942639"/>
                <a:gd name="connsiteY2531" fmla="*/ 7189875 h 9250612"/>
                <a:gd name="connsiteX2532" fmla="*/ 6593035 w 6942639"/>
                <a:gd name="connsiteY2532" fmla="*/ 7198836 h 9250612"/>
                <a:gd name="connsiteX2533" fmla="*/ 6584075 w 6942639"/>
                <a:gd name="connsiteY2533" fmla="*/ 7189875 h 9250612"/>
                <a:gd name="connsiteX2534" fmla="*/ 6593035 w 6942639"/>
                <a:gd name="connsiteY2534" fmla="*/ 7180915 h 9250612"/>
                <a:gd name="connsiteX2535" fmla="*/ 6424294 w 6942639"/>
                <a:gd name="connsiteY2535" fmla="*/ 7180915 h 9250612"/>
                <a:gd name="connsiteX2536" fmla="*/ 6433255 w 6942639"/>
                <a:gd name="connsiteY2536" fmla="*/ 7189875 h 9250612"/>
                <a:gd name="connsiteX2537" fmla="*/ 6424294 w 6942639"/>
                <a:gd name="connsiteY2537" fmla="*/ 7198836 h 9250612"/>
                <a:gd name="connsiteX2538" fmla="*/ 6415334 w 6942639"/>
                <a:gd name="connsiteY2538" fmla="*/ 7189875 h 9250612"/>
                <a:gd name="connsiteX2539" fmla="*/ 6424294 w 6942639"/>
                <a:gd name="connsiteY2539" fmla="*/ 7180915 h 9250612"/>
                <a:gd name="connsiteX2540" fmla="*/ 6255553 w 6942639"/>
                <a:gd name="connsiteY2540" fmla="*/ 7180915 h 9250612"/>
                <a:gd name="connsiteX2541" fmla="*/ 6264514 w 6942639"/>
                <a:gd name="connsiteY2541" fmla="*/ 7189875 h 9250612"/>
                <a:gd name="connsiteX2542" fmla="*/ 6255553 w 6942639"/>
                <a:gd name="connsiteY2542" fmla="*/ 7198836 h 9250612"/>
                <a:gd name="connsiteX2543" fmla="*/ 6246593 w 6942639"/>
                <a:gd name="connsiteY2543" fmla="*/ 7189875 h 9250612"/>
                <a:gd name="connsiteX2544" fmla="*/ 6255553 w 6942639"/>
                <a:gd name="connsiteY2544" fmla="*/ 7180915 h 9250612"/>
                <a:gd name="connsiteX2545" fmla="*/ 6086811 w 6942639"/>
                <a:gd name="connsiteY2545" fmla="*/ 7180915 h 9250612"/>
                <a:gd name="connsiteX2546" fmla="*/ 6095772 w 6942639"/>
                <a:gd name="connsiteY2546" fmla="*/ 7189875 h 9250612"/>
                <a:gd name="connsiteX2547" fmla="*/ 6086811 w 6942639"/>
                <a:gd name="connsiteY2547" fmla="*/ 7198836 h 9250612"/>
                <a:gd name="connsiteX2548" fmla="*/ 6077851 w 6942639"/>
                <a:gd name="connsiteY2548" fmla="*/ 7189875 h 9250612"/>
                <a:gd name="connsiteX2549" fmla="*/ 6086811 w 6942639"/>
                <a:gd name="connsiteY2549" fmla="*/ 7180915 h 9250612"/>
                <a:gd name="connsiteX2550" fmla="*/ 5918069 w 6942639"/>
                <a:gd name="connsiteY2550" fmla="*/ 7180915 h 9250612"/>
                <a:gd name="connsiteX2551" fmla="*/ 5927030 w 6942639"/>
                <a:gd name="connsiteY2551" fmla="*/ 7189875 h 9250612"/>
                <a:gd name="connsiteX2552" fmla="*/ 5918069 w 6942639"/>
                <a:gd name="connsiteY2552" fmla="*/ 7198836 h 9250612"/>
                <a:gd name="connsiteX2553" fmla="*/ 5909109 w 6942639"/>
                <a:gd name="connsiteY2553" fmla="*/ 7189875 h 9250612"/>
                <a:gd name="connsiteX2554" fmla="*/ 5918069 w 6942639"/>
                <a:gd name="connsiteY2554" fmla="*/ 7180915 h 9250612"/>
                <a:gd name="connsiteX2555" fmla="*/ 5749328 w 6942639"/>
                <a:gd name="connsiteY2555" fmla="*/ 7180915 h 9250612"/>
                <a:gd name="connsiteX2556" fmla="*/ 5758289 w 6942639"/>
                <a:gd name="connsiteY2556" fmla="*/ 7189875 h 9250612"/>
                <a:gd name="connsiteX2557" fmla="*/ 5749328 w 6942639"/>
                <a:gd name="connsiteY2557" fmla="*/ 7198836 h 9250612"/>
                <a:gd name="connsiteX2558" fmla="*/ 5740368 w 6942639"/>
                <a:gd name="connsiteY2558" fmla="*/ 7189875 h 9250612"/>
                <a:gd name="connsiteX2559" fmla="*/ 5749328 w 6942639"/>
                <a:gd name="connsiteY2559" fmla="*/ 7180915 h 9250612"/>
                <a:gd name="connsiteX2560" fmla="*/ 5580586 w 6942639"/>
                <a:gd name="connsiteY2560" fmla="*/ 7180915 h 9250612"/>
                <a:gd name="connsiteX2561" fmla="*/ 5589547 w 6942639"/>
                <a:gd name="connsiteY2561" fmla="*/ 7189875 h 9250612"/>
                <a:gd name="connsiteX2562" fmla="*/ 5580586 w 6942639"/>
                <a:gd name="connsiteY2562" fmla="*/ 7198836 h 9250612"/>
                <a:gd name="connsiteX2563" fmla="*/ 5571626 w 6942639"/>
                <a:gd name="connsiteY2563" fmla="*/ 7189875 h 9250612"/>
                <a:gd name="connsiteX2564" fmla="*/ 5580586 w 6942639"/>
                <a:gd name="connsiteY2564" fmla="*/ 7180915 h 9250612"/>
                <a:gd name="connsiteX2565" fmla="*/ 5411845 w 6942639"/>
                <a:gd name="connsiteY2565" fmla="*/ 7180915 h 9250612"/>
                <a:gd name="connsiteX2566" fmla="*/ 5420806 w 6942639"/>
                <a:gd name="connsiteY2566" fmla="*/ 7189875 h 9250612"/>
                <a:gd name="connsiteX2567" fmla="*/ 5411845 w 6942639"/>
                <a:gd name="connsiteY2567" fmla="*/ 7198836 h 9250612"/>
                <a:gd name="connsiteX2568" fmla="*/ 5402885 w 6942639"/>
                <a:gd name="connsiteY2568" fmla="*/ 7189875 h 9250612"/>
                <a:gd name="connsiteX2569" fmla="*/ 5411845 w 6942639"/>
                <a:gd name="connsiteY2569" fmla="*/ 7180915 h 9250612"/>
                <a:gd name="connsiteX2570" fmla="*/ 5243103 w 6942639"/>
                <a:gd name="connsiteY2570" fmla="*/ 7180915 h 9250612"/>
                <a:gd name="connsiteX2571" fmla="*/ 5252064 w 6942639"/>
                <a:gd name="connsiteY2571" fmla="*/ 7189875 h 9250612"/>
                <a:gd name="connsiteX2572" fmla="*/ 5243103 w 6942639"/>
                <a:gd name="connsiteY2572" fmla="*/ 7198836 h 9250612"/>
                <a:gd name="connsiteX2573" fmla="*/ 5234143 w 6942639"/>
                <a:gd name="connsiteY2573" fmla="*/ 7189875 h 9250612"/>
                <a:gd name="connsiteX2574" fmla="*/ 5243103 w 6942639"/>
                <a:gd name="connsiteY2574" fmla="*/ 7180915 h 9250612"/>
                <a:gd name="connsiteX2575" fmla="*/ 5074362 w 6942639"/>
                <a:gd name="connsiteY2575" fmla="*/ 7180915 h 9250612"/>
                <a:gd name="connsiteX2576" fmla="*/ 5083323 w 6942639"/>
                <a:gd name="connsiteY2576" fmla="*/ 7189875 h 9250612"/>
                <a:gd name="connsiteX2577" fmla="*/ 5074362 w 6942639"/>
                <a:gd name="connsiteY2577" fmla="*/ 7198836 h 9250612"/>
                <a:gd name="connsiteX2578" fmla="*/ 5065402 w 6942639"/>
                <a:gd name="connsiteY2578" fmla="*/ 7189875 h 9250612"/>
                <a:gd name="connsiteX2579" fmla="*/ 5074362 w 6942639"/>
                <a:gd name="connsiteY2579" fmla="*/ 7180915 h 9250612"/>
                <a:gd name="connsiteX2580" fmla="*/ 4905620 w 6942639"/>
                <a:gd name="connsiteY2580" fmla="*/ 7180915 h 9250612"/>
                <a:gd name="connsiteX2581" fmla="*/ 4914581 w 6942639"/>
                <a:gd name="connsiteY2581" fmla="*/ 7189875 h 9250612"/>
                <a:gd name="connsiteX2582" fmla="*/ 4905620 w 6942639"/>
                <a:gd name="connsiteY2582" fmla="*/ 7198836 h 9250612"/>
                <a:gd name="connsiteX2583" fmla="*/ 4896660 w 6942639"/>
                <a:gd name="connsiteY2583" fmla="*/ 7189875 h 9250612"/>
                <a:gd name="connsiteX2584" fmla="*/ 4905620 w 6942639"/>
                <a:gd name="connsiteY2584" fmla="*/ 7180915 h 9250612"/>
                <a:gd name="connsiteX2585" fmla="*/ 4736878 w 6942639"/>
                <a:gd name="connsiteY2585" fmla="*/ 7180915 h 9250612"/>
                <a:gd name="connsiteX2586" fmla="*/ 4745839 w 6942639"/>
                <a:gd name="connsiteY2586" fmla="*/ 7189875 h 9250612"/>
                <a:gd name="connsiteX2587" fmla="*/ 4736878 w 6942639"/>
                <a:gd name="connsiteY2587" fmla="*/ 7198836 h 9250612"/>
                <a:gd name="connsiteX2588" fmla="*/ 4727918 w 6942639"/>
                <a:gd name="connsiteY2588" fmla="*/ 7189875 h 9250612"/>
                <a:gd name="connsiteX2589" fmla="*/ 4736878 w 6942639"/>
                <a:gd name="connsiteY2589" fmla="*/ 7180915 h 9250612"/>
                <a:gd name="connsiteX2590" fmla="*/ 4568137 w 6942639"/>
                <a:gd name="connsiteY2590" fmla="*/ 7180915 h 9250612"/>
                <a:gd name="connsiteX2591" fmla="*/ 4577098 w 6942639"/>
                <a:gd name="connsiteY2591" fmla="*/ 7189875 h 9250612"/>
                <a:gd name="connsiteX2592" fmla="*/ 4568137 w 6942639"/>
                <a:gd name="connsiteY2592" fmla="*/ 7198836 h 9250612"/>
                <a:gd name="connsiteX2593" fmla="*/ 4559177 w 6942639"/>
                <a:gd name="connsiteY2593" fmla="*/ 7189875 h 9250612"/>
                <a:gd name="connsiteX2594" fmla="*/ 4568137 w 6942639"/>
                <a:gd name="connsiteY2594" fmla="*/ 7180915 h 9250612"/>
                <a:gd name="connsiteX2595" fmla="*/ 4399396 w 6942639"/>
                <a:gd name="connsiteY2595" fmla="*/ 7180915 h 9250612"/>
                <a:gd name="connsiteX2596" fmla="*/ 4408357 w 6942639"/>
                <a:gd name="connsiteY2596" fmla="*/ 7189875 h 9250612"/>
                <a:gd name="connsiteX2597" fmla="*/ 4399396 w 6942639"/>
                <a:gd name="connsiteY2597" fmla="*/ 7198836 h 9250612"/>
                <a:gd name="connsiteX2598" fmla="*/ 4390436 w 6942639"/>
                <a:gd name="connsiteY2598" fmla="*/ 7189875 h 9250612"/>
                <a:gd name="connsiteX2599" fmla="*/ 4399396 w 6942639"/>
                <a:gd name="connsiteY2599" fmla="*/ 7180915 h 9250612"/>
                <a:gd name="connsiteX2600" fmla="*/ 4230654 w 6942639"/>
                <a:gd name="connsiteY2600" fmla="*/ 7180915 h 9250612"/>
                <a:gd name="connsiteX2601" fmla="*/ 4239615 w 6942639"/>
                <a:gd name="connsiteY2601" fmla="*/ 7189875 h 9250612"/>
                <a:gd name="connsiteX2602" fmla="*/ 4230654 w 6942639"/>
                <a:gd name="connsiteY2602" fmla="*/ 7198836 h 9250612"/>
                <a:gd name="connsiteX2603" fmla="*/ 4221694 w 6942639"/>
                <a:gd name="connsiteY2603" fmla="*/ 7189875 h 9250612"/>
                <a:gd name="connsiteX2604" fmla="*/ 4230654 w 6942639"/>
                <a:gd name="connsiteY2604" fmla="*/ 7180915 h 9250612"/>
                <a:gd name="connsiteX2605" fmla="*/ 4061912 w 6942639"/>
                <a:gd name="connsiteY2605" fmla="*/ 7180915 h 9250612"/>
                <a:gd name="connsiteX2606" fmla="*/ 4070873 w 6942639"/>
                <a:gd name="connsiteY2606" fmla="*/ 7189875 h 9250612"/>
                <a:gd name="connsiteX2607" fmla="*/ 4061912 w 6942639"/>
                <a:gd name="connsiteY2607" fmla="*/ 7198836 h 9250612"/>
                <a:gd name="connsiteX2608" fmla="*/ 4052952 w 6942639"/>
                <a:gd name="connsiteY2608" fmla="*/ 7189875 h 9250612"/>
                <a:gd name="connsiteX2609" fmla="*/ 4061912 w 6942639"/>
                <a:gd name="connsiteY2609" fmla="*/ 7180915 h 9250612"/>
                <a:gd name="connsiteX2610" fmla="*/ 3893170 w 6942639"/>
                <a:gd name="connsiteY2610" fmla="*/ 7180915 h 9250612"/>
                <a:gd name="connsiteX2611" fmla="*/ 3902131 w 6942639"/>
                <a:gd name="connsiteY2611" fmla="*/ 7189875 h 9250612"/>
                <a:gd name="connsiteX2612" fmla="*/ 3893170 w 6942639"/>
                <a:gd name="connsiteY2612" fmla="*/ 7198836 h 9250612"/>
                <a:gd name="connsiteX2613" fmla="*/ 3884210 w 6942639"/>
                <a:gd name="connsiteY2613" fmla="*/ 7189875 h 9250612"/>
                <a:gd name="connsiteX2614" fmla="*/ 3893170 w 6942639"/>
                <a:gd name="connsiteY2614" fmla="*/ 7180915 h 9250612"/>
                <a:gd name="connsiteX2615" fmla="*/ 3724429 w 6942639"/>
                <a:gd name="connsiteY2615" fmla="*/ 7180915 h 9250612"/>
                <a:gd name="connsiteX2616" fmla="*/ 3733390 w 6942639"/>
                <a:gd name="connsiteY2616" fmla="*/ 7189875 h 9250612"/>
                <a:gd name="connsiteX2617" fmla="*/ 3724429 w 6942639"/>
                <a:gd name="connsiteY2617" fmla="*/ 7198836 h 9250612"/>
                <a:gd name="connsiteX2618" fmla="*/ 3715469 w 6942639"/>
                <a:gd name="connsiteY2618" fmla="*/ 7189875 h 9250612"/>
                <a:gd name="connsiteX2619" fmla="*/ 3724429 w 6942639"/>
                <a:gd name="connsiteY2619" fmla="*/ 7180915 h 9250612"/>
                <a:gd name="connsiteX2620" fmla="*/ 3555688 w 6942639"/>
                <a:gd name="connsiteY2620" fmla="*/ 7180915 h 9250612"/>
                <a:gd name="connsiteX2621" fmla="*/ 3564649 w 6942639"/>
                <a:gd name="connsiteY2621" fmla="*/ 7189875 h 9250612"/>
                <a:gd name="connsiteX2622" fmla="*/ 3555688 w 6942639"/>
                <a:gd name="connsiteY2622" fmla="*/ 7198836 h 9250612"/>
                <a:gd name="connsiteX2623" fmla="*/ 3546728 w 6942639"/>
                <a:gd name="connsiteY2623" fmla="*/ 7189875 h 9250612"/>
                <a:gd name="connsiteX2624" fmla="*/ 3555688 w 6942639"/>
                <a:gd name="connsiteY2624" fmla="*/ 7180915 h 9250612"/>
                <a:gd name="connsiteX2625" fmla="*/ 3386984 w 6942639"/>
                <a:gd name="connsiteY2625" fmla="*/ 7180915 h 9250612"/>
                <a:gd name="connsiteX2626" fmla="*/ 3395944 w 6942639"/>
                <a:gd name="connsiteY2626" fmla="*/ 7189875 h 9250612"/>
                <a:gd name="connsiteX2627" fmla="*/ 3386984 w 6942639"/>
                <a:gd name="connsiteY2627" fmla="*/ 7198836 h 9250612"/>
                <a:gd name="connsiteX2628" fmla="*/ 3378005 w 6942639"/>
                <a:gd name="connsiteY2628" fmla="*/ 7189875 h 9250612"/>
                <a:gd name="connsiteX2629" fmla="*/ 3386984 w 6942639"/>
                <a:gd name="connsiteY2629" fmla="*/ 7180915 h 9250612"/>
                <a:gd name="connsiteX2630" fmla="*/ 3218230 w 6942639"/>
                <a:gd name="connsiteY2630" fmla="*/ 7180915 h 9250612"/>
                <a:gd name="connsiteX2631" fmla="*/ 3227201 w 6942639"/>
                <a:gd name="connsiteY2631" fmla="*/ 7189875 h 9250612"/>
                <a:gd name="connsiteX2632" fmla="*/ 3218230 w 6942639"/>
                <a:gd name="connsiteY2632" fmla="*/ 7198836 h 9250612"/>
                <a:gd name="connsiteX2633" fmla="*/ 3209273 w 6942639"/>
                <a:gd name="connsiteY2633" fmla="*/ 7189875 h 9250612"/>
                <a:gd name="connsiteX2634" fmla="*/ 3218230 w 6942639"/>
                <a:gd name="connsiteY2634" fmla="*/ 7180915 h 9250612"/>
                <a:gd name="connsiteX2635" fmla="*/ 3049516 w 6942639"/>
                <a:gd name="connsiteY2635" fmla="*/ 7180915 h 9250612"/>
                <a:gd name="connsiteX2636" fmla="*/ 3058463 w 6942639"/>
                <a:gd name="connsiteY2636" fmla="*/ 7189875 h 9250612"/>
                <a:gd name="connsiteX2637" fmla="*/ 3049516 w 6942639"/>
                <a:gd name="connsiteY2637" fmla="*/ 7198836 h 9250612"/>
                <a:gd name="connsiteX2638" fmla="*/ 3040541 w 6942639"/>
                <a:gd name="connsiteY2638" fmla="*/ 7189875 h 9250612"/>
                <a:gd name="connsiteX2639" fmla="*/ 3049516 w 6942639"/>
                <a:gd name="connsiteY2639" fmla="*/ 7180915 h 9250612"/>
                <a:gd name="connsiteX2640" fmla="*/ 2880772 w 6942639"/>
                <a:gd name="connsiteY2640" fmla="*/ 7180915 h 9250612"/>
                <a:gd name="connsiteX2641" fmla="*/ 2889730 w 6942639"/>
                <a:gd name="connsiteY2641" fmla="*/ 7189875 h 9250612"/>
                <a:gd name="connsiteX2642" fmla="*/ 2880772 w 6942639"/>
                <a:gd name="connsiteY2642" fmla="*/ 7198836 h 9250612"/>
                <a:gd name="connsiteX2643" fmla="*/ 2871810 w 6942639"/>
                <a:gd name="connsiteY2643" fmla="*/ 7189875 h 9250612"/>
                <a:gd name="connsiteX2644" fmla="*/ 2880772 w 6942639"/>
                <a:gd name="connsiteY2644" fmla="*/ 7180915 h 9250612"/>
                <a:gd name="connsiteX2645" fmla="*/ 2712020 w 6942639"/>
                <a:gd name="connsiteY2645" fmla="*/ 7180915 h 9250612"/>
                <a:gd name="connsiteX2646" fmla="*/ 2720997 w 6942639"/>
                <a:gd name="connsiteY2646" fmla="*/ 7189875 h 9250612"/>
                <a:gd name="connsiteX2647" fmla="*/ 2712020 w 6942639"/>
                <a:gd name="connsiteY2647" fmla="*/ 7198836 h 9250612"/>
                <a:gd name="connsiteX2648" fmla="*/ 2703065 w 6942639"/>
                <a:gd name="connsiteY2648" fmla="*/ 7189875 h 9250612"/>
                <a:gd name="connsiteX2649" fmla="*/ 2712020 w 6942639"/>
                <a:gd name="connsiteY2649" fmla="*/ 7180915 h 9250612"/>
                <a:gd name="connsiteX2650" fmla="*/ 2543294 w 6942639"/>
                <a:gd name="connsiteY2650" fmla="*/ 7180915 h 9250612"/>
                <a:gd name="connsiteX2651" fmla="*/ 2552258 w 6942639"/>
                <a:gd name="connsiteY2651" fmla="*/ 7189875 h 9250612"/>
                <a:gd name="connsiteX2652" fmla="*/ 2543294 w 6942639"/>
                <a:gd name="connsiteY2652" fmla="*/ 7198836 h 9250612"/>
                <a:gd name="connsiteX2653" fmla="*/ 2534334 w 6942639"/>
                <a:gd name="connsiteY2653" fmla="*/ 7189875 h 9250612"/>
                <a:gd name="connsiteX2654" fmla="*/ 2543294 w 6942639"/>
                <a:gd name="connsiteY2654" fmla="*/ 7180915 h 9250612"/>
                <a:gd name="connsiteX2655" fmla="*/ 2374538 w 6942639"/>
                <a:gd name="connsiteY2655" fmla="*/ 7180915 h 9250612"/>
                <a:gd name="connsiteX2656" fmla="*/ 2383514 w 6942639"/>
                <a:gd name="connsiteY2656" fmla="*/ 7189875 h 9250612"/>
                <a:gd name="connsiteX2657" fmla="*/ 2374538 w 6942639"/>
                <a:gd name="connsiteY2657" fmla="*/ 7198836 h 9250612"/>
                <a:gd name="connsiteX2658" fmla="*/ 2365575 w 6942639"/>
                <a:gd name="connsiteY2658" fmla="*/ 7189875 h 9250612"/>
                <a:gd name="connsiteX2659" fmla="*/ 2374538 w 6942639"/>
                <a:gd name="connsiteY2659" fmla="*/ 7180915 h 9250612"/>
                <a:gd name="connsiteX2660" fmla="*/ 2205809 w 6942639"/>
                <a:gd name="connsiteY2660" fmla="*/ 7180915 h 9250612"/>
                <a:gd name="connsiteX2661" fmla="*/ 2214768 w 6942639"/>
                <a:gd name="connsiteY2661" fmla="*/ 7189875 h 9250612"/>
                <a:gd name="connsiteX2662" fmla="*/ 2205809 w 6942639"/>
                <a:gd name="connsiteY2662" fmla="*/ 7198836 h 9250612"/>
                <a:gd name="connsiteX2663" fmla="*/ 2196844 w 6942639"/>
                <a:gd name="connsiteY2663" fmla="*/ 7189875 h 9250612"/>
                <a:gd name="connsiteX2664" fmla="*/ 2205809 w 6942639"/>
                <a:gd name="connsiteY2664" fmla="*/ 7180915 h 9250612"/>
                <a:gd name="connsiteX2665" fmla="*/ 2037069 w 6942639"/>
                <a:gd name="connsiteY2665" fmla="*/ 7180915 h 9250612"/>
                <a:gd name="connsiteX2666" fmla="*/ 2046025 w 6942639"/>
                <a:gd name="connsiteY2666" fmla="*/ 7189875 h 9250612"/>
                <a:gd name="connsiteX2667" fmla="*/ 2037069 w 6942639"/>
                <a:gd name="connsiteY2667" fmla="*/ 7198836 h 9250612"/>
                <a:gd name="connsiteX2668" fmla="*/ 2028114 w 6942639"/>
                <a:gd name="connsiteY2668" fmla="*/ 7189875 h 9250612"/>
                <a:gd name="connsiteX2669" fmla="*/ 2037069 w 6942639"/>
                <a:gd name="connsiteY2669" fmla="*/ 7180915 h 9250612"/>
                <a:gd name="connsiteX2670" fmla="*/ 1868337 w 6942639"/>
                <a:gd name="connsiteY2670" fmla="*/ 7180915 h 9250612"/>
                <a:gd name="connsiteX2671" fmla="*/ 1877293 w 6942639"/>
                <a:gd name="connsiteY2671" fmla="*/ 7189875 h 9250612"/>
                <a:gd name="connsiteX2672" fmla="*/ 1868337 w 6942639"/>
                <a:gd name="connsiteY2672" fmla="*/ 7198836 h 9250612"/>
                <a:gd name="connsiteX2673" fmla="*/ 1859371 w 6942639"/>
                <a:gd name="connsiteY2673" fmla="*/ 7189875 h 9250612"/>
                <a:gd name="connsiteX2674" fmla="*/ 1868337 w 6942639"/>
                <a:gd name="connsiteY2674" fmla="*/ 7180915 h 9250612"/>
                <a:gd name="connsiteX2675" fmla="*/ 1699592 w 6942639"/>
                <a:gd name="connsiteY2675" fmla="*/ 7180915 h 9250612"/>
                <a:gd name="connsiteX2676" fmla="*/ 1708555 w 6942639"/>
                <a:gd name="connsiteY2676" fmla="*/ 7189875 h 9250612"/>
                <a:gd name="connsiteX2677" fmla="*/ 1699592 w 6942639"/>
                <a:gd name="connsiteY2677" fmla="*/ 7198836 h 9250612"/>
                <a:gd name="connsiteX2678" fmla="*/ 1690629 w 6942639"/>
                <a:gd name="connsiteY2678" fmla="*/ 7189875 h 9250612"/>
                <a:gd name="connsiteX2679" fmla="*/ 1699592 w 6942639"/>
                <a:gd name="connsiteY2679" fmla="*/ 7180915 h 9250612"/>
                <a:gd name="connsiteX2680" fmla="*/ 1530850 w 6942639"/>
                <a:gd name="connsiteY2680" fmla="*/ 7180915 h 9250612"/>
                <a:gd name="connsiteX2681" fmla="*/ 1539811 w 6942639"/>
                <a:gd name="connsiteY2681" fmla="*/ 7189875 h 9250612"/>
                <a:gd name="connsiteX2682" fmla="*/ 1530850 w 6942639"/>
                <a:gd name="connsiteY2682" fmla="*/ 7198836 h 9250612"/>
                <a:gd name="connsiteX2683" fmla="*/ 1521889 w 6942639"/>
                <a:gd name="connsiteY2683" fmla="*/ 7189875 h 9250612"/>
                <a:gd name="connsiteX2684" fmla="*/ 1530850 w 6942639"/>
                <a:gd name="connsiteY2684" fmla="*/ 7180915 h 9250612"/>
                <a:gd name="connsiteX2685" fmla="*/ 1362105 w 6942639"/>
                <a:gd name="connsiteY2685" fmla="*/ 7180915 h 9250612"/>
                <a:gd name="connsiteX2686" fmla="*/ 1371065 w 6942639"/>
                <a:gd name="connsiteY2686" fmla="*/ 7189875 h 9250612"/>
                <a:gd name="connsiteX2687" fmla="*/ 1362105 w 6942639"/>
                <a:gd name="connsiteY2687" fmla="*/ 7198836 h 9250612"/>
                <a:gd name="connsiteX2688" fmla="*/ 1353144 w 6942639"/>
                <a:gd name="connsiteY2688" fmla="*/ 7189875 h 9250612"/>
                <a:gd name="connsiteX2689" fmla="*/ 1362105 w 6942639"/>
                <a:gd name="connsiteY2689" fmla="*/ 7180915 h 9250612"/>
                <a:gd name="connsiteX2690" fmla="*/ 1193364 w 6942639"/>
                <a:gd name="connsiteY2690" fmla="*/ 7180915 h 9250612"/>
                <a:gd name="connsiteX2691" fmla="*/ 1202324 w 6942639"/>
                <a:gd name="connsiteY2691" fmla="*/ 7189875 h 9250612"/>
                <a:gd name="connsiteX2692" fmla="*/ 1193364 w 6942639"/>
                <a:gd name="connsiteY2692" fmla="*/ 7198836 h 9250612"/>
                <a:gd name="connsiteX2693" fmla="*/ 1184405 w 6942639"/>
                <a:gd name="connsiteY2693" fmla="*/ 7189875 h 9250612"/>
                <a:gd name="connsiteX2694" fmla="*/ 1193364 w 6942639"/>
                <a:gd name="connsiteY2694" fmla="*/ 7180915 h 9250612"/>
                <a:gd name="connsiteX2695" fmla="*/ 1024617 w 6942639"/>
                <a:gd name="connsiteY2695" fmla="*/ 7180915 h 9250612"/>
                <a:gd name="connsiteX2696" fmla="*/ 1033581 w 6942639"/>
                <a:gd name="connsiteY2696" fmla="*/ 7189875 h 9250612"/>
                <a:gd name="connsiteX2697" fmla="*/ 1024617 w 6942639"/>
                <a:gd name="connsiteY2697" fmla="*/ 7198836 h 9250612"/>
                <a:gd name="connsiteX2698" fmla="*/ 1015659 w 6942639"/>
                <a:gd name="connsiteY2698" fmla="*/ 7189875 h 9250612"/>
                <a:gd name="connsiteX2699" fmla="*/ 1024617 w 6942639"/>
                <a:gd name="connsiteY2699" fmla="*/ 7180915 h 9250612"/>
                <a:gd name="connsiteX2700" fmla="*/ 855882 w 6942639"/>
                <a:gd name="connsiteY2700" fmla="*/ 7180915 h 9250612"/>
                <a:gd name="connsiteX2701" fmla="*/ 864842 w 6942639"/>
                <a:gd name="connsiteY2701" fmla="*/ 7189875 h 9250612"/>
                <a:gd name="connsiteX2702" fmla="*/ 855882 w 6942639"/>
                <a:gd name="connsiteY2702" fmla="*/ 7198836 h 9250612"/>
                <a:gd name="connsiteX2703" fmla="*/ 846922 w 6942639"/>
                <a:gd name="connsiteY2703" fmla="*/ 7189875 h 9250612"/>
                <a:gd name="connsiteX2704" fmla="*/ 855882 w 6942639"/>
                <a:gd name="connsiteY2704" fmla="*/ 7180915 h 9250612"/>
                <a:gd name="connsiteX2705" fmla="*/ 687141 w 6942639"/>
                <a:gd name="connsiteY2705" fmla="*/ 7180915 h 9250612"/>
                <a:gd name="connsiteX2706" fmla="*/ 696101 w 6942639"/>
                <a:gd name="connsiteY2706" fmla="*/ 7189875 h 9250612"/>
                <a:gd name="connsiteX2707" fmla="*/ 687141 w 6942639"/>
                <a:gd name="connsiteY2707" fmla="*/ 7198836 h 9250612"/>
                <a:gd name="connsiteX2708" fmla="*/ 678181 w 6942639"/>
                <a:gd name="connsiteY2708" fmla="*/ 7189875 h 9250612"/>
                <a:gd name="connsiteX2709" fmla="*/ 687141 w 6942639"/>
                <a:gd name="connsiteY2709" fmla="*/ 7180915 h 9250612"/>
                <a:gd name="connsiteX2710" fmla="*/ 518389 w 6942639"/>
                <a:gd name="connsiteY2710" fmla="*/ 7180915 h 9250612"/>
                <a:gd name="connsiteX2711" fmla="*/ 527349 w 6942639"/>
                <a:gd name="connsiteY2711" fmla="*/ 7189875 h 9250612"/>
                <a:gd name="connsiteX2712" fmla="*/ 518389 w 6942639"/>
                <a:gd name="connsiteY2712" fmla="*/ 7198836 h 9250612"/>
                <a:gd name="connsiteX2713" fmla="*/ 509428 w 6942639"/>
                <a:gd name="connsiteY2713" fmla="*/ 7189875 h 9250612"/>
                <a:gd name="connsiteX2714" fmla="*/ 518389 w 6942639"/>
                <a:gd name="connsiteY2714" fmla="*/ 7180915 h 9250612"/>
                <a:gd name="connsiteX2715" fmla="*/ 349649 w 6942639"/>
                <a:gd name="connsiteY2715" fmla="*/ 7180915 h 9250612"/>
                <a:gd name="connsiteX2716" fmla="*/ 358610 w 6942639"/>
                <a:gd name="connsiteY2716" fmla="*/ 7189875 h 9250612"/>
                <a:gd name="connsiteX2717" fmla="*/ 349649 w 6942639"/>
                <a:gd name="connsiteY2717" fmla="*/ 7198836 h 9250612"/>
                <a:gd name="connsiteX2718" fmla="*/ 340689 w 6942639"/>
                <a:gd name="connsiteY2718" fmla="*/ 7189875 h 9250612"/>
                <a:gd name="connsiteX2719" fmla="*/ 349649 w 6942639"/>
                <a:gd name="connsiteY2719" fmla="*/ 7180915 h 9250612"/>
                <a:gd name="connsiteX2720" fmla="*/ 179329 w 6942639"/>
                <a:gd name="connsiteY2720" fmla="*/ 7180915 h 9250612"/>
                <a:gd name="connsiteX2721" fmla="*/ 188290 w 6942639"/>
                <a:gd name="connsiteY2721" fmla="*/ 7189875 h 9250612"/>
                <a:gd name="connsiteX2722" fmla="*/ 179329 w 6942639"/>
                <a:gd name="connsiteY2722" fmla="*/ 7198836 h 9250612"/>
                <a:gd name="connsiteX2723" fmla="*/ 170369 w 6942639"/>
                <a:gd name="connsiteY2723" fmla="*/ 7189875 h 9250612"/>
                <a:gd name="connsiteX2724" fmla="*/ 179329 w 6942639"/>
                <a:gd name="connsiteY2724" fmla="*/ 7180915 h 9250612"/>
                <a:gd name="connsiteX2725" fmla="*/ 9010 w 6942639"/>
                <a:gd name="connsiteY2725" fmla="*/ 7180915 h 9250612"/>
                <a:gd name="connsiteX2726" fmla="*/ 17970 w 6942639"/>
                <a:gd name="connsiteY2726" fmla="*/ 7189875 h 9250612"/>
                <a:gd name="connsiteX2727" fmla="*/ 9010 w 6942639"/>
                <a:gd name="connsiteY2727" fmla="*/ 7198836 h 9250612"/>
                <a:gd name="connsiteX2728" fmla="*/ 49 w 6942639"/>
                <a:gd name="connsiteY2728" fmla="*/ 7189875 h 9250612"/>
                <a:gd name="connsiteX2729" fmla="*/ 9010 w 6942639"/>
                <a:gd name="connsiteY2729" fmla="*/ 7180915 h 9250612"/>
                <a:gd name="connsiteX2730" fmla="*/ 6933679 w 6942639"/>
                <a:gd name="connsiteY2730" fmla="*/ 7009934 h 9250612"/>
                <a:gd name="connsiteX2731" fmla="*/ 6942639 w 6942639"/>
                <a:gd name="connsiteY2731" fmla="*/ 7018894 h 9250612"/>
                <a:gd name="connsiteX2732" fmla="*/ 6933679 w 6942639"/>
                <a:gd name="connsiteY2732" fmla="*/ 7027855 h 9250612"/>
                <a:gd name="connsiteX2733" fmla="*/ 6924718 w 6942639"/>
                <a:gd name="connsiteY2733" fmla="*/ 7018894 h 9250612"/>
                <a:gd name="connsiteX2734" fmla="*/ 6933679 w 6942639"/>
                <a:gd name="connsiteY2734" fmla="*/ 7009934 h 9250612"/>
                <a:gd name="connsiteX2735" fmla="*/ 6763357 w 6942639"/>
                <a:gd name="connsiteY2735" fmla="*/ 7009934 h 9250612"/>
                <a:gd name="connsiteX2736" fmla="*/ 6772318 w 6942639"/>
                <a:gd name="connsiteY2736" fmla="*/ 7018894 h 9250612"/>
                <a:gd name="connsiteX2737" fmla="*/ 6763357 w 6942639"/>
                <a:gd name="connsiteY2737" fmla="*/ 7027855 h 9250612"/>
                <a:gd name="connsiteX2738" fmla="*/ 6754397 w 6942639"/>
                <a:gd name="connsiteY2738" fmla="*/ 7018894 h 9250612"/>
                <a:gd name="connsiteX2739" fmla="*/ 6763357 w 6942639"/>
                <a:gd name="connsiteY2739" fmla="*/ 7009934 h 9250612"/>
                <a:gd name="connsiteX2740" fmla="*/ 6593035 w 6942639"/>
                <a:gd name="connsiteY2740" fmla="*/ 7009934 h 9250612"/>
                <a:gd name="connsiteX2741" fmla="*/ 6601996 w 6942639"/>
                <a:gd name="connsiteY2741" fmla="*/ 7018894 h 9250612"/>
                <a:gd name="connsiteX2742" fmla="*/ 6593035 w 6942639"/>
                <a:gd name="connsiteY2742" fmla="*/ 7027855 h 9250612"/>
                <a:gd name="connsiteX2743" fmla="*/ 6584075 w 6942639"/>
                <a:gd name="connsiteY2743" fmla="*/ 7018894 h 9250612"/>
                <a:gd name="connsiteX2744" fmla="*/ 6593035 w 6942639"/>
                <a:gd name="connsiteY2744" fmla="*/ 7009934 h 9250612"/>
                <a:gd name="connsiteX2745" fmla="*/ 6424294 w 6942639"/>
                <a:gd name="connsiteY2745" fmla="*/ 7009934 h 9250612"/>
                <a:gd name="connsiteX2746" fmla="*/ 6433255 w 6942639"/>
                <a:gd name="connsiteY2746" fmla="*/ 7018894 h 9250612"/>
                <a:gd name="connsiteX2747" fmla="*/ 6424294 w 6942639"/>
                <a:gd name="connsiteY2747" fmla="*/ 7027855 h 9250612"/>
                <a:gd name="connsiteX2748" fmla="*/ 6415334 w 6942639"/>
                <a:gd name="connsiteY2748" fmla="*/ 7018894 h 9250612"/>
                <a:gd name="connsiteX2749" fmla="*/ 6424294 w 6942639"/>
                <a:gd name="connsiteY2749" fmla="*/ 7009934 h 9250612"/>
                <a:gd name="connsiteX2750" fmla="*/ 6255553 w 6942639"/>
                <a:gd name="connsiteY2750" fmla="*/ 7009934 h 9250612"/>
                <a:gd name="connsiteX2751" fmla="*/ 6264514 w 6942639"/>
                <a:gd name="connsiteY2751" fmla="*/ 7018894 h 9250612"/>
                <a:gd name="connsiteX2752" fmla="*/ 6255553 w 6942639"/>
                <a:gd name="connsiteY2752" fmla="*/ 7027855 h 9250612"/>
                <a:gd name="connsiteX2753" fmla="*/ 6246593 w 6942639"/>
                <a:gd name="connsiteY2753" fmla="*/ 7018894 h 9250612"/>
                <a:gd name="connsiteX2754" fmla="*/ 6255553 w 6942639"/>
                <a:gd name="connsiteY2754" fmla="*/ 7009934 h 9250612"/>
                <a:gd name="connsiteX2755" fmla="*/ 6086811 w 6942639"/>
                <a:gd name="connsiteY2755" fmla="*/ 7009934 h 9250612"/>
                <a:gd name="connsiteX2756" fmla="*/ 6095772 w 6942639"/>
                <a:gd name="connsiteY2756" fmla="*/ 7018894 h 9250612"/>
                <a:gd name="connsiteX2757" fmla="*/ 6086811 w 6942639"/>
                <a:gd name="connsiteY2757" fmla="*/ 7027855 h 9250612"/>
                <a:gd name="connsiteX2758" fmla="*/ 6077851 w 6942639"/>
                <a:gd name="connsiteY2758" fmla="*/ 7018894 h 9250612"/>
                <a:gd name="connsiteX2759" fmla="*/ 6086811 w 6942639"/>
                <a:gd name="connsiteY2759" fmla="*/ 7009934 h 9250612"/>
                <a:gd name="connsiteX2760" fmla="*/ 5918069 w 6942639"/>
                <a:gd name="connsiteY2760" fmla="*/ 7009934 h 9250612"/>
                <a:gd name="connsiteX2761" fmla="*/ 5927030 w 6942639"/>
                <a:gd name="connsiteY2761" fmla="*/ 7018894 h 9250612"/>
                <a:gd name="connsiteX2762" fmla="*/ 5918069 w 6942639"/>
                <a:gd name="connsiteY2762" fmla="*/ 7027855 h 9250612"/>
                <a:gd name="connsiteX2763" fmla="*/ 5909109 w 6942639"/>
                <a:gd name="connsiteY2763" fmla="*/ 7018894 h 9250612"/>
                <a:gd name="connsiteX2764" fmla="*/ 5918069 w 6942639"/>
                <a:gd name="connsiteY2764" fmla="*/ 7009934 h 9250612"/>
                <a:gd name="connsiteX2765" fmla="*/ 5749328 w 6942639"/>
                <a:gd name="connsiteY2765" fmla="*/ 7009934 h 9250612"/>
                <a:gd name="connsiteX2766" fmla="*/ 5758289 w 6942639"/>
                <a:gd name="connsiteY2766" fmla="*/ 7018894 h 9250612"/>
                <a:gd name="connsiteX2767" fmla="*/ 5749328 w 6942639"/>
                <a:gd name="connsiteY2767" fmla="*/ 7027855 h 9250612"/>
                <a:gd name="connsiteX2768" fmla="*/ 5740368 w 6942639"/>
                <a:gd name="connsiteY2768" fmla="*/ 7018894 h 9250612"/>
                <a:gd name="connsiteX2769" fmla="*/ 5749328 w 6942639"/>
                <a:gd name="connsiteY2769" fmla="*/ 7009934 h 9250612"/>
                <a:gd name="connsiteX2770" fmla="*/ 5580586 w 6942639"/>
                <a:gd name="connsiteY2770" fmla="*/ 7009934 h 9250612"/>
                <a:gd name="connsiteX2771" fmla="*/ 5589547 w 6942639"/>
                <a:gd name="connsiteY2771" fmla="*/ 7018894 h 9250612"/>
                <a:gd name="connsiteX2772" fmla="*/ 5580586 w 6942639"/>
                <a:gd name="connsiteY2772" fmla="*/ 7027855 h 9250612"/>
                <a:gd name="connsiteX2773" fmla="*/ 5571626 w 6942639"/>
                <a:gd name="connsiteY2773" fmla="*/ 7018894 h 9250612"/>
                <a:gd name="connsiteX2774" fmla="*/ 5580586 w 6942639"/>
                <a:gd name="connsiteY2774" fmla="*/ 7009934 h 9250612"/>
                <a:gd name="connsiteX2775" fmla="*/ 5411845 w 6942639"/>
                <a:gd name="connsiteY2775" fmla="*/ 7009934 h 9250612"/>
                <a:gd name="connsiteX2776" fmla="*/ 5420806 w 6942639"/>
                <a:gd name="connsiteY2776" fmla="*/ 7018894 h 9250612"/>
                <a:gd name="connsiteX2777" fmla="*/ 5411845 w 6942639"/>
                <a:gd name="connsiteY2777" fmla="*/ 7027855 h 9250612"/>
                <a:gd name="connsiteX2778" fmla="*/ 5402885 w 6942639"/>
                <a:gd name="connsiteY2778" fmla="*/ 7018894 h 9250612"/>
                <a:gd name="connsiteX2779" fmla="*/ 5411845 w 6942639"/>
                <a:gd name="connsiteY2779" fmla="*/ 7009934 h 9250612"/>
                <a:gd name="connsiteX2780" fmla="*/ 5243103 w 6942639"/>
                <a:gd name="connsiteY2780" fmla="*/ 7009934 h 9250612"/>
                <a:gd name="connsiteX2781" fmla="*/ 5252064 w 6942639"/>
                <a:gd name="connsiteY2781" fmla="*/ 7018894 h 9250612"/>
                <a:gd name="connsiteX2782" fmla="*/ 5243103 w 6942639"/>
                <a:gd name="connsiteY2782" fmla="*/ 7027855 h 9250612"/>
                <a:gd name="connsiteX2783" fmla="*/ 5234143 w 6942639"/>
                <a:gd name="connsiteY2783" fmla="*/ 7018894 h 9250612"/>
                <a:gd name="connsiteX2784" fmla="*/ 5243103 w 6942639"/>
                <a:gd name="connsiteY2784" fmla="*/ 7009934 h 9250612"/>
                <a:gd name="connsiteX2785" fmla="*/ 5074362 w 6942639"/>
                <a:gd name="connsiteY2785" fmla="*/ 7009934 h 9250612"/>
                <a:gd name="connsiteX2786" fmla="*/ 5083323 w 6942639"/>
                <a:gd name="connsiteY2786" fmla="*/ 7018894 h 9250612"/>
                <a:gd name="connsiteX2787" fmla="*/ 5074362 w 6942639"/>
                <a:gd name="connsiteY2787" fmla="*/ 7027855 h 9250612"/>
                <a:gd name="connsiteX2788" fmla="*/ 5065402 w 6942639"/>
                <a:gd name="connsiteY2788" fmla="*/ 7018894 h 9250612"/>
                <a:gd name="connsiteX2789" fmla="*/ 5074362 w 6942639"/>
                <a:gd name="connsiteY2789" fmla="*/ 7009934 h 9250612"/>
                <a:gd name="connsiteX2790" fmla="*/ 4905620 w 6942639"/>
                <a:gd name="connsiteY2790" fmla="*/ 7009934 h 9250612"/>
                <a:gd name="connsiteX2791" fmla="*/ 4914581 w 6942639"/>
                <a:gd name="connsiteY2791" fmla="*/ 7018894 h 9250612"/>
                <a:gd name="connsiteX2792" fmla="*/ 4905620 w 6942639"/>
                <a:gd name="connsiteY2792" fmla="*/ 7027855 h 9250612"/>
                <a:gd name="connsiteX2793" fmla="*/ 4896660 w 6942639"/>
                <a:gd name="connsiteY2793" fmla="*/ 7018894 h 9250612"/>
                <a:gd name="connsiteX2794" fmla="*/ 4905620 w 6942639"/>
                <a:gd name="connsiteY2794" fmla="*/ 7009934 h 9250612"/>
                <a:gd name="connsiteX2795" fmla="*/ 4736878 w 6942639"/>
                <a:gd name="connsiteY2795" fmla="*/ 7009934 h 9250612"/>
                <a:gd name="connsiteX2796" fmla="*/ 4745839 w 6942639"/>
                <a:gd name="connsiteY2796" fmla="*/ 7018894 h 9250612"/>
                <a:gd name="connsiteX2797" fmla="*/ 4736878 w 6942639"/>
                <a:gd name="connsiteY2797" fmla="*/ 7027855 h 9250612"/>
                <a:gd name="connsiteX2798" fmla="*/ 4727918 w 6942639"/>
                <a:gd name="connsiteY2798" fmla="*/ 7018894 h 9250612"/>
                <a:gd name="connsiteX2799" fmla="*/ 4736878 w 6942639"/>
                <a:gd name="connsiteY2799" fmla="*/ 7009934 h 9250612"/>
                <a:gd name="connsiteX2800" fmla="*/ 4568137 w 6942639"/>
                <a:gd name="connsiteY2800" fmla="*/ 7009934 h 9250612"/>
                <a:gd name="connsiteX2801" fmla="*/ 4577098 w 6942639"/>
                <a:gd name="connsiteY2801" fmla="*/ 7018894 h 9250612"/>
                <a:gd name="connsiteX2802" fmla="*/ 4568137 w 6942639"/>
                <a:gd name="connsiteY2802" fmla="*/ 7027855 h 9250612"/>
                <a:gd name="connsiteX2803" fmla="*/ 4559177 w 6942639"/>
                <a:gd name="connsiteY2803" fmla="*/ 7018894 h 9250612"/>
                <a:gd name="connsiteX2804" fmla="*/ 4568137 w 6942639"/>
                <a:gd name="connsiteY2804" fmla="*/ 7009934 h 9250612"/>
                <a:gd name="connsiteX2805" fmla="*/ 4399396 w 6942639"/>
                <a:gd name="connsiteY2805" fmla="*/ 7009934 h 9250612"/>
                <a:gd name="connsiteX2806" fmla="*/ 4408357 w 6942639"/>
                <a:gd name="connsiteY2806" fmla="*/ 7018894 h 9250612"/>
                <a:gd name="connsiteX2807" fmla="*/ 4399396 w 6942639"/>
                <a:gd name="connsiteY2807" fmla="*/ 7027855 h 9250612"/>
                <a:gd name="connsiteX2808" fmla="*/ 4390436 w 6942639"/>
                <a:gd name="connsiteY2808" fmla="*/ 7018894 h 9250612"/>
                <a:gd name="connsiteX2809" fmla="*/ 4399396 w 6942639"/>
                <a:gd name="connsiteY2809" fmla="*/ 7009934 h 9250612"/>
                <a:gd name="connsiteX2810" fmla="*/ 4230654 w 6942639"/>
                <a:gd name="connsiteY2810" fmla="*/ 7009934 h 9250612"/>
                <a:gd name="connsiteX2811" fmla="*/ 4239615 w 6942639"/>
                <a:gd name="connsiteY2811" fmla="*/ 7018894 h 9250612"/>
                <a:gd name="connsiteX2812" fmla="*/ 4230654 w 6942639"/>
                <a:gd name="connsiteY2812" fmla="*/ 7027855 h 9250612"/>
                <a:gd name="connsiteX2813" fmla="*/ 4221694 w 6942639"/>
                <a:gd name="connsiteY2813" fmla="*/ 7018894 h 9250612"/>
                <a:gd name="connsiteX2814" fmla="*/ 4230654 w 6942639"/>
                <a:gd name="connsiteY2814" fmla="*/ 7009934 h 9250612"/>
                <a:gd name="connsiteX2815" fmla="*/ 4061912 w 6942639"/>
                <a:gd name="connsiteY2815" fmla="*/ 7009934 h 9250612"/>
                <a:gd name="connsiteX2816" fmla="*/ 4070873 w 6942639"/>
                <a:gd name="connsiteY2816" fmla="*/ 7018894 h 9250612"/>
                <a:gd name="connsiteX2817" fmla="*/ 4061912 w 6942639"/>
                <a:gd name="connsiteY2817" fmla="*/ 7027855 h 9250612"/>
                <a:gd name="connsiteX2818" fmla="*/ 4052952 w 6942639"/>
                <a:gd name="connsiteY2818" fmla="*/ 7018894 h 9250612"/>
                <a:gd name="connsiteX2819" fmla="*/ 4061912 w 6942639"/>
                <a:gd name="connsiteY2819" fmla="*/ 7009934 h 9250612"/>
                <a:gd name="connsiteX2820" fmla="*/ 3893170 w 6942639"/>
                <a:gd name="connsiteY2820" fmla="*/ 7009934 h 9250612"/>
                <a:gd name="connsiteX2821" fmla="*/ 3902131 w 6942639"/>
                <a:gd name="connsiteY2821" fmla="*/ 7018894 h 9250612"/>
                <a:gd name="connsiteX2822" fmla="*/ 3893170 w 6942639"/>
                <a:gd name="connsiteY2822" fmla="*/ 7027855 h 9250612"/>
                <a:gd name="connsiteX2823" fmla="*/ 3884210 w 6942639"/>
                <a:gd name="connsiteY2823" fmla="*/ 7018894 h 9250612"/>
                <a:gd name="connsiteX2824" fmla="*/ 3893170 w 6942639"/>
                <a:gd name="connsiteY2824" fmla="*/ 7009934 h 9250612"/>
                <a:gd name="connsiteX2825" fmla="*/ 3724429 w 6942639"/>
                <a:gd name="connsiteY2825" fmla="*/ 7009934 h 9250612"/>
                <a:gd name="connsiteX2826" fmla="*/ 3733390 w 6942639"/>
                <a:gd name="connsiteY2826" fmla="*/ 7018894 h 9250612"/>
                <a:gd name="connsiteX2827" fmla="*/ 3724429 w 6942639"/>
                <a:gd name="connsiteY2827" fmla="*/ 7027855 h 9250612"/>
                <a:gd name="connsiteX2828" fmla="*/ 3715469 w 6942639"/>
                <a:gd name="connsiteY2828" fmla="*/ 7018894 h 9250612"/>
                <a:gd name="connsiteX2829" fmla="*/ 3724429 w 6942639"/>
                <a:gd name="connsiteY2829" fmla="*/ 7009934 h 9250612"/>
                <a:gd name="connsiteX2830" fmla="*/ 3555688 w 6942639"/>
                <a:gd name="connsiteY2830" fmla="*/ 7009934 h 9250612"/>
                <a:gd name="connsiteX2831" fmla="*/ 3564649 w 6942639"/>
                <a:gd name="connsiteY2831" fmla="*/ 7018894 h 9250612"/>
                <a:gd name="connsiteX2832" fmla="*/ 3555688 w 6942639"/>
                <a:gd name="connsiteY2832" fmla="*/ 7027855 h 9250612"/>
                <a:gd name="connsiteX2833" fmla="*/ 3546728 w 6942639"/>
                <a:gd name="connsiteY2833" fmla="*/ 7018894 h 9250612"/>
                <a:gd name="connsiteX2834" fmla="*/ 3555688 w 6942639"/>
                <a:gd name="connsiteY2834" fmla="*/ 7009934 h 9250612"/>
                <a:gd name="connsiteX2835" fmla="*/ 3386987 w 6942639"/>
                <a:gd name="connsiteY2835" fmla="*/ 7009934 h 9250612"/>
                <a:gd name="connsiteX2836" fmla="*/ 3395947 w 6942639"/>
                <a:gd name="connsiteY2836" fmla="*/ 7018894 h 9250612"/>
                <a:gd name="connsiteX2837" fmla="*/ 3386987 w 6942639"/>
                <a:gd name="connsiteY2837" fmla="*/ 7027855 h 9250612"/>
                <a:gd name="connsiteX2838" fmla="*/ 3378006 w 6942639"/>
                <a:gd name="connsiteY2838" fmla="*/ 7018894 h 9250612"/>
                <a:gd name="connsiteX2839" fmla="*/ 3386987 w 6942639"/>
                <a:gd name="connsiteY2839" fmla="*/ 7009934 h 9250612"/>
                <a:gd name="connsiteX2840" fmla="*/ 3218232 w 6942639"/>
                <a:gd name="connsiteY2840" fmla="*/ 7009934 h 9250612"/>
                <a:gd name="connsiteX2841" fmla="*/ 3227204 w 6942639"/>
                <a:gd name="connsiteY2841" fmla="*/ 7018894 h 9250612"/>
                <a:gd name="connsiteX2842" fmla="*/ 3218232 w 6942639"/>
                <a:gd name="connsiteY2842" fmla="*/ 7027855 h 9250612"/>
                <a:gd name="connsiteX2843" fmla="*/ 3209275 w 6942639"/>
                <a:gd name="connsiteY2843" fmla="*/ 7018894 h 9250612"/>
                <a:gd name="connsiteX2844" fmla="*/ 3218232 w 6942639"/>
                <a:gd name="connsiteY2844" fmla="*/ 7009934 h 9250612"/>
                <a:gd name="connsiteX2845" fmla="*/ 3049519 w 6942639"/>
                <a:gd name="connsiteY2845" fmla="*/ 7009934 h 9250612"/>
                <a:gd name="connsiteX2846" fmla="*/ 3058466 w 6942639"/>
                <a:gd name="connsiteY2846" fmla="*/ 7018894 h 9250612"/>
                <a:gd name="connsiteX2847" fmla="*/ 3049519 w 6942639"/>
                <a:gd name="connsiteY2847" fmla="*/ 7027855 h 9250612"/>
                <a:gd name="connsiteX2848" fmla="*/ 3040544 w 6942639"/>
                <a:gd name="connsiteY2848" fmla="*/ 7018894 h 9250612"/>
                <a:gd name="connsiteX2849" fmla="*/ 3049519 w 6942639"/>
                <a:gd name="connsiteY2849" fmla="*/ 7009934 h 9250612"/>
                <a:gd name="connsiteX2850" fmla="*/ 2880776 w 6942639"/>
                <a:gd name="connsiteY2850" fmla="*/ 7009934 h 9250612"/>
                <a:gd name="connsiteX2851" fmla="*/ 2889733 w 6942639"/>
                <a:gd name="connsiteY2851" fmla="*/ 7018894 h 9250612"/>
                <a:gd name="connsiteX2852" fmla="*/ 2880776 w 6942639"/>
                <a:gd name="connsiteY2852" fmla="*/ 7027855 h 9250612"/>
                <a:gd name="connsiteX2853" fmla="*/ 2871813 w 6942639"/>
                <a:gd name="connsiteY2853" fmla="*/ 7018894 h 9250612"/>
                <a:gd name="connsiteX2854" fmla="*/ 2880776 w 6942639"/>
                <a:gd name="connsiteY2854" fmla="*/ 7009934 h 9250612"/>
                <a:gd name="connsiteX2855" fmla="*/ 2712023 w 6942639"/>
                <a:gd name="connsiteY2855" fmla="*/ 7009934 h 9250612"/>
                <a:gd name="connsiteX2856" fmla="*/ 2721002 w 6942639"/>
                <a:gd name="connsiteY2856" fmla="*/ 7018894 h 9250612"/>
                <a:gd name="connsiteX2857" fmla="*/ 2712023 w 6942639"/>
                <a:gd name="connsiteY2857" fmla="*/ 7027855 h 9250612"/>
                <a:gd name="connsiteX2858" fmla="*/ 2703068 w 6942639"/>
                <a:gd name="connsiteY2858" fmla="*/ 7018894 h 9250612"/>
                <a:gd name="connsiteX2859" fmla="*/ 2712023 w 6942639"/>
                <a:gd name="connsiteY2859" fmla="*/ 7009934 h 9250612"/>
                <a:gd name="connsiteX2860" fmla="*/ 2543298 w 6942639"/>
                <a:gd name="connsiteY2860" fmla="*/ 7009934 h 9250612"/>
                <a:gd name="connsiteX2861" fmla="*/ 2552263 w 6942639"/>
                <a:gd name="connsiteY2861" fmla="*/ 7018894 h 9250612"/>
                <a:gd name="connsiteX2862" fmla="*/ 2543298 w 6942639"/>
                <a:gd name="connsiteY2862" fmla="*/ 7027855 h 9250612"/>
                <a:gd name="connsiteX2863" fmla="*/ 2534338 w 6942639"/>
                <a:gd name="connsiteY2863" fmla="*/ 7018894 h 9250612"/>
                <a:gd name="connsiteX2864" fmla="*/ 2543298 w 6942639"/>
                <a:gd name="connsiteY2864" fmla="*/ 7009934 h 9250612"/>
                <a:gd name="connsiteX2865" fmla="*/ 2374541 w 6942639"/>
                <a:gd name="connsiteY2865" fmla="*/ 7009934 h 9250612"/>
                <a:gd name="connsiteX2866" fmla="*/ 2383519 w 6942639"/>
                <a:gd name="connsiteY2866" fmla="*/ 7018894 h 9250612"/>
                <a:gd name="connsiteX2867" fmla="*/ 2374541 w 6942639"/>
                <a:gd name="connsiteY2867" fmla="*/ 7027855 h 9250612"/>
                <a:gd name="connsiteX2868" fmla="*/ 2365578 w 6942639"/>
                <a:gd name="connsiteY2868" fmla="*/ 7018894 h 9250612"/>
                <a:gd name="connsiteX2869" fmla="*/ 2374541 w 6942639"/>
                <a:gd name="connsiteY2869" fmla="*/ 7009934 h 9250612"/>
                <a:gd name="connsiteX2870" fmla="*/ 2205813 w 6942639"/>
                <a:gd name="connsiteY2870" fmla="*/ 7009934 h 9250612"/>
                <a:gd name="connsiteX2871" fmla="*/ 2214773 w 6942639"/>
                <a:gd name="connsiteY2871" fmla="*/ 7018894 h 9250612"/>
                <a:gd name="connsiteX2872" fmla="*/ 2205813 w 6942639"/>
                <a:gd name="connsiteY2872" fmla="*/ 7027855 h 9250612"/>
                <a:gd name="connsiteX2873" fmla="*/ 2196847 w 6942639"/>
                <a:gd name="connsiteY2873" fmla="*/ 7018894 h 9250612"/>
                <a:gd name="connsiteX2874" fmla="*/ 2205813 w 6942639"/>
                <a:gd name="connsiteY2874" fmla="*/ 7009934 h 9250612"/>
                <a:gd name="connsiteX2875" fmla="*/ 2037072 w 6942639"/>
                <a:gd name="connsiteY2875" fmla="*/ 7009934 h 9250612"/>
                <a:gd name="connsiteX2876" fmla="*/ 2046031 w 6942639"/>
                <a:gd name="connsiteY2876" fmla="*/ 7018894 h 9250612"/>
                <a:gd name="connsiteX2877" fmla="*/ 2037072 w 6942639"/>
                <a:gd name="connsiteY2877" fmla="*/ 7027855 h 9250612"/>
                <a:gd name="connsiteX2878" fmla="*/ 2028118 w 6942639"/>
                <a:gd name="connsiteY2878" fmla="*/ 7018894 h 9250612"/>
                <a:gd name="connsiteX2879" fmla="*/ 2037072 w 6942639"/>
                <a:gd name="connsiteY2879" fmla="*/ 7009934 h 9250612"/>
                <a:gd name="connsiteX2880" fmla="*/ 1868342 w 6942639"/>
                <a:gd name="connsiteY2880" fmla="*/ 7009934 h 9250612"/>
                <a:gd name="connsiteX2881" fmla="*/ 1877298 w 6942639"/>
                <a:gd name="connsiteY2881" fmla="*/ 7018894 h 9250612"/>
                <a:gd name="connsiteX2882" fmla="*/ 1868342 w 6942639"/>
                <a:gd name="connsiteY2882" fmla="*/ 7027855 h 9250612"/>
                <a:gd name="connsiteX2883" fmla="*/ 1859375 w 6942639"/>
                <a:gd name="connsiteY2883" fmla="*/ 7018894 h 9250612"/>
                <a:gd name="connsiteX2884" fmla="*/ 1868342 w 6942639"/>
                <a:gd name="connsiteY2884" fmla="*/ 7009934 h 9250612"/>
                <a:gd name="connsiteX2885" fmla="*/ 1699597 w 6942639"/>
                <a:gd name="connsiteY2885" fmla="*/ 7009934 h 9250612"/>
                <a:gd name="connsiteX2886" fmla="*/ 1708560 w 6942639"/>
                <a:gd name="connsiteY2886" fmla="*/ 7018894 h 9250612"/>
                <a:gd name="connsiteX2887" fmla="*/ 1699597 w 6942639"/>
                <a:gd name="connsiteY2887" fmla="*/ 7027855 h 9250612"/>
                <a:gd name="connsiteX2888" fmla="*/ 1690634 w 6942639"/>
                <a:gd name="connsiteY2888" fmla="*/ 7018894 h 9250612"/>
                <a:gd name="connsiteX2889" fmla="*/ 1699597 w 6942639"/>
                <a:gd name="connsiteY2889" fmla="*/ 7009934 h 9250612"/>
                <a:gd name="connsiteX2890" fmla="*/ 1530855 w 6942639"/>
                <a:gd name="connsiteY2890" fmla="*/ 7009934 h 9250612"/>
                <a:gd name="connsiteX2891" fmla="*/ 1539816 w 6942639"/>
                <a:gd name="connsiteY2891" fmla="*/ 7018894 h 9250612"/>
                <a:gd name="connsiteX2892" fmla="*/ 1530855 w 6942639"/>
                <a:gd name="connsiteY2892" fmla="*/ 7027855 h 9250612"/>
                <a:gd name="connsiteX2893" fmla="*/ 1521894 w 6942639"/>
                <a:gd name="connsiteY2893" fmla="*/ 7018894 h 9250612"/>
                <a:gd name="connsiteX2894" fmla="*/ 1530855 w 6942639"/>
                <a:gd name="connsiteY2894" fmla="*/ 7009934 h 9250612"/>
                <a:gd name="connsiteX2895" fmla="*/ 1362109 w 6942639"/>
                <a:gd name="connsiteY2895" fmla="*/ 7009934 h 9250612"/>
                <a:gd name="connsiteX2896" fmla="*/ 1371069 w 6942639"/>
                <a:gd name="connsiteY2896" fmla="*/ 7018894 h 9250612"/>
                <a:gd name="connsiteX2897" fmla="*/ 1362109 w 6942639"/>
                <a:gd name="connsiteY2897" fmla="*/ 7027855 h 9250612"/>
                <a:gd name="connsiteX2898" fmla="*/ 1353149 w 6942639"/>
                <a:gd name="connsiteY2898" fmla="*/ 7018894 h 9250612"/>
                <a:gd name="connsiteX2899" fmla="*/ 1362109 w 6942639"/>
                <a:gd name="connsiteY2899" fmla="*/ 7009934 h 9250612"/>
                <a:gd name="connsiteX2900" fmla="*/ 1193368 w 6942639"/>
                <a:gd name="connsiteY2900" fmla="*/ 7009934 h 9250612"/>
                <a:gd name="connsiteX2901" fmla="*/ 1202329 w 6942639"/>
                <a:gd name="connsiteY2901" fmla="*/ 7018894 h 9250612"/>
                <a:gd name="connsiteX2902" fmla="*/ 1193368 w 6942639"/>
                <a:gd name="connsiteY2902" fmla="*/ 7027855 h 9250612"/>
                <a:gd name="connsiteX2903" fmla="*/ 1184409 w 6942639"/>
                <a:gd name="connsiteY2903" fmla="*/ 7018894 h 9250612"/>
                <a:gd name="connsiteX2904" fmla="*/ 1193368 w 6942639"/>
                <a:gd name="connsiteY2904" fmla="*/ 7009934 h 9250612"/>
                <a:gd name="connsiteX2905" fmla="*/ 1024622 w 6942639"/>
                <a:gd name="connsiteY2905" fmla="*/ 7009934 h 9250612"/>
                <a:gd name="connsiteX2906" fmla="*/ 1033585 w 6942639"/>
                <a:gd name="connsiteY2906" fmla="*/ 7018894 h 9250612"/>
                <a:gd name="connsiteX2907" fmla="*/ 1024622 w 6942639"/>
                <a:gd name="connsiteY2907" fmla="*/ 7027855 h 9250612"/>
                <a:gd name="connsiteX2908" fmla="*/ 1015663 w 6942639"/>
                <a:gd name="connsiteY2908" fmla="*/ 7018894 h 9250612"/>
                <a:gd name="connsiteX2909" fmla="*/ 1024622 w 6942639"/>
                <a:gd name="connsiteY2909" fmla="*/ 7009934 h 9250612"/>
                <a:gd name="connsiteX2910" fmla="*/ 855887 w 6942639"/>
                <a:gd name="connsiteY2910" fmla="*/ 7009934 h 9250612"/>
                <a:gd name="connsiteX2911" fmla="*/ 864846 w 6942639"/>
                <a:gd name="connsiteY2911" fmla="*/ 7018894 h 9250612"/>
                <a:gd name="connsiteX2912" fmla="*/ 855887 w 6942639"/>
                <a:gd name="connsiteY2912" fmla="*/ 7027855 h 9250612"/>
                <a:gd name="connsiteX2913" fmla="*/ 846927 w 6942639"/>
                <a:gd name="connsiteY2913" fmla="*/ 7018894 h 9250612"/>
                <a:gd name="connsiteX2914" fmla="*/ 855887 w 6942639"/>
                <a:gd name="connsiteY2914" fmla="*/ 7009934 h 9250612"/>
                <a:gd name="connsiteX2915" fmla="*/ 687145 w 6942639"/>
                <a:gd name="connsiteY2915" fmla="*/ 7009934 h 9250612"/>
                <a:gd name="connsiteX2916" fmla="*/ 696106 w 6942639"/>
                <a:gd name="connsiteY2916" fmla="*/ 7018894 h 9250612"/>
                <a:gd name="connsiteX2917" fmla="*/ 687145 w 6942639"/>
                <a:gd name="connsiteY2917" fmla="*/ 7027855 h 9250612"/>
                <a:gd name="connsiteX2918" fmla="*/ 678186 w 6942639"/>
                <a:gd name="connsiteY2918" fmla="*/ 7018894 h 9250612"/>
                <a:gd name="connsiteX2919" fmla="*/ 687145 w 6942639"/>
                <a:gd name="connsiteY2919" fmla="*/ 7009934 h 9250612"/>
                <a:gd name="connsiteX2920" fmla="*/ 518393 w 6942639"/>
                <a:gd name="connsiteY2920" fmla="*/ 7009934 h 9250612"/>
                <a:gd name="connsiteX2921" fmla="*/ 527353 w 6942639"/>
                <a:gd name="connsiteY2921" fmla="*/ 7018894 h 9250612"/>
                <a:gd name="connsiteX2922" fmla="*/ 518393 w 6942639"/>
                <a:gd name="connsiteY2922" fmla="*/ 7027855 h 9250612"/>
                <a:gd name="connsiteX2923" fmla="*/ 509432 w 6942639"/>
                <a:gd name="connsiteY2923" fmla="*/ 7018894 h 9250612"/>
                <a:gd name="connsiteX2924" fmla="*/ 518393 w 6942639"/>
                <a:gd name="connsiteY2924" fmla="*/ 7009934 h 9250612"/>
                <a:gd name="connsiteX2925" fmla="*/ 349653 w 6942639"/>
                <a:gd name="connsiteY2925" fmla="*/ 7009934 h 9250612"/>
                <a:gd name="connsiteX2926" fmla="*/ 358614 w 6942639"/>
                <a:gd name="connsiteY2926" fmla="*/ 7018894 h 9250612"/>
                <a:gd name="connsiteX2927" fmla="*/ 349653 w 6942639"/>
                <a:gd name="connsiteY2927" fmla="*/ 7027855 h 9250612"/>
                <a:gd name="connsiteX2928" fmla="*/ 340693 w 6942639"/>
                <a:gd name="connsiteY2928" fmla="*/ 7018894 h 9250612"/>
                <a:gd name="connsiteX2929" fmla="*/ 349653 w 6942639"/>
                <a:gd name="connsiteY2929" fmla="*/ 7009934 h 9250612"/>
                <a:gd name="connsiteX2930" fmla="*/ 179333 w 6942639"/>
                <a:gd name="connsiteY2930" fmla="*/ 7009934 h 9250612"/>
                <a:gd name="connsiteX2931" fmla="*/ 188294 w 6942639"/>
                <a:gd name="connsiteY2931" fmla="*/ 7018894 h 9250612"/>
                <a:gd name="connsiteX2932" fmla="*/ 179333 w 6942639"/>
                <a:gd name="connsiteY2932" fmla="*/ 7027855 h 9250612"/>
                <a:gd name="connsiteX2933" fmla="*/ 170373 w 6942639"/>
                <a:gd name="connsiteY2933" fmla="*/ 7018894 h 9250612"/>
                <a:gd name="connsiteX2934" fmla="*/ 179333 w 6942639"/>
                <a:gd name="connsiteY2934" fmla="*/ 7009934 h 9250612"/>
                <a:gd name="connsiteX2935" fmla="*/ 9014 w 6942639"/>
                <a:gd name="connsiteY2935" fmla="*/ 7009934 h 9250612"/>
                <a:gd name="connsiteX2936" fmla="*/ 17974 w 6942639"/>
                <a:gd name="connsiteY2936" fmla="*/ 7018894 h 9250612"/>
                <a:gd name="connsiteX2937" fmla="*/ 9014 w 6942639"/>
                <a:gd name="connsiteY2937" fmla="*/ 7027855 h 9250612"/>
                <a:gd name="connsiteX2938" fmla="*/ 54 w 6942639"/>
                <a:gd name="connsiteY2938" fmla="*/ 7018894 h 9250612"/>
                <a:gd name="connsiteX2939" fmla="*/ 9014 w 6942639"/>
                <a:gd name="connsiteY2939" fmla="*/ 7009934 h 9250612"/>
                <a:gd name="connsiteX2940" fmla="*/ 6933679 w 6942639"/>
                <a:gd name="connsiteY2940" fmla="*/ 6838952 h 9250612"/>
                <a:gd name="connsiteX2941" fmla="*/ 6942639 w 6942639"/>
                <a:gd name="connsiteY2941" fmla="*/ 6847912 h 9250612"/>
                <a:gd name="connsiteX2942" fmla="*/ 6933679 w 6942639"/>
                <a:gd name="connsiteY2942" fmla="*/ 6856873 h 9250612"/>
                <a:gd name="connsiteX2943" fmla="*/ 6924718 w 6942639"/>
                <a:gd name="connsiteY2943" fmla="*/ 6847912 h 9250612"/>
                <a:gd name="connsiteX2944" fmla="*/ 6933679 w 6942639"/>
                <a:gd name="connsiteY2944" fmla="*/ 6838952 h 9250612"/>
                <a:gd name="connsiteX2945" fmla="*/ 6763357 w 6942639"/>
                <a:gd name="connsiteY2945" fmla="*/ 6838952 h 9250612"/>
                <a:gd name="connsiteX2946" fmla="*/ 6772318 w 6942639"/>
                <a:gd name="connsiteY2946" fmla="*/ 6847912 h 9250612"/>
                <a:gd name="connsiteX2947" fmla="*/ 6763357 w 6942639"/>
                <a:gd name="connsiteY2947" fmla="*/ 6856873 h 9250612"/>
                <a:gd name="connsiteX2948" fmla="*/ 6754397 w 6942639"/>
                <a:gd name="connsiteY2948" fmla="*/ 6847912 h 9250612"/>
                <a:gd name="connsiteX2949" fmla="*/ 6763357 w 6942639"/>
                <a:gd name="connsiteY2949" fmla="*/ 6838952 h 9250612"/>
                <a:gd name="connsiteX2950" fmla="*/ 6593035 w 6942639"/>
                <a:gd name="connsiteY2950" fmla="*/ 6838952 h 9250612"/>
                <a:gd name="connsiteX2951" fmla="*/ 6601996 w 6942639"/>
                <a:gd name="connsiteY2951" fmla="*/ 6847912 h 9250612"/>
                <a:gd name="connsiteX2952" fmla="*/ 6593035 w 6942639"/>
                <a:gd name="connsiteY2952" fmla="*/ 6856873 h 9250612"/>
                <a:gd name="connsiteX2953" fmla="*/ 6584075 w 6942639"/>
                <a:gd name="connsiteY2953" fmla="*/ 6847912 h 9250612"/>
                <a:gd name="connsiteX2954" fmla="*/ 6593035 w 6942639"/>
                <a:gd name="connsiteY2954" fmla="*/ 6838952 h 9250612"/>
                <a:gd name="connsiteX2955" fmla="*/ 6424294 w 6942639"/>
                <a:gd name="connsiteY2955" fmla="*/ 6838952 h 9250612"/>
                <a:gd name="connsiteX2956" fmla="*/ 6433255 w 6942639"/>
                <a:gd name="connsiteY2956" fmla="*/ 6847912 h 9250612"/>
                <a:gd name="connsiteX2957" fmla="*/ 6424294 w 6942639"/>
                <a:gd name="connsiteY2957" fmla="*/ 6856873 h 9250612"/>
                <a:gd name="connsiteX2958" fmla="*/ 6415334 w 6942639"/>
                <a:gd name="connsiteY2958" fmla="*/ 6847912 h 9250612"/>
                <a:gd name="connsiteX2959" fmla="*/ 6424294 w 6942639"/>
                <a:gd name="connsiteY2959" fmla="*/ 6838952 h 9250612"/>
                <a:gd name="connsiteX2960" fmla="*/ 6255553 w 6942639"/>
                <a:gd name="connsiteY2960" fmla="*/ 6838952 h 9250612"/>
                <a:gd name="connsiteX2961" fmla="*/ 6264514 w 6942639"/>
                <a:gd name="connsiteY2961" fmla="*/ 6847912 h 9250612"/>
                <a:gd name="connsiteX2962" fmla="*/ 6255553 w 6942639"/>
                <a:gd name="connsiteY2962" fmla="*/ 6856873 h 9250612"/>
                <a:gd name="connsiteX2963" fmla="*/ 6246593 w 6942639"/>
                <a:gd name="connsiteY2963" fmla="*/ 6847912 h 9250612"/>
                <a:gd name="connsiteX2964" fmla="*/ 6255553 w 6942639"/>
                <a:gd name="connsiteY2964" fmla="*/ 6838952 h 9250612"/>
                <a:gd name="connsiteX2965" fmla="*/ 6086811 w 6942639"/>
                <a:gd name="connsiteY2965" fmla="*/ 6838952 h 9250612"/>
                <a:gd name="connsiteX2966" fmla="*/ 6095772 w 6942639"/>
                <a:gd name="connsiteY2966" fmla="*/ 6847912 h 9250612"/>
                <a:gd name="connsiteX2967" fmla="*/ 6086811 w 6942639"/>
                <a:gd name="connsiteY2967" fmla="*/ 6856873 h 9250612"/>
                <a:gd name="connsiteX2968" fmla="*/ 6077851 w 6942639"/>
                <a:gd name="connsiteY2968" fmla="*/ 6847912 h 9250612"/>
                <a:gd name="connsiteX2969" fmla="*/ 6086811 w 6942639"/>
                <a:gd name="connsiteY2969" fmla="*/ 6838952 h 9250612"/>
                <a:gd name="connsiteX2970" fmla="*/ 5918069 w 6942639"/>
                <a:gd name="connsiteY2970" fmla="*/ 6838952 h 9250612"/>
                <a:gd name="connsiteX2971" fmla="*/ 5927030 w 6942639"/>
                <a:gd name="connsiteY2971" fmla="*/ 6847912 h 9250612"/>
                <a:gd name="connsiteX2972" fmla="*/ 5918069 w 6942639"/>
                <a:gd name="connsiteY2972" fmla="*/ 6856873 h 9250612"/>
                <a:gd name="connsiteX2973" fmla="*/ 5909109 w 6942639"/>
                <a:gd name="connsiteY2973" fmla="*/ 6847912 h 9250612"/>
                <a:gd name="connsiteX2974" fmla="*/ 5918069 w 6942639"/>
                <a:gd name="connsiteY2974" fmla="*/ 6838952 h 9250612"/>
                <a:gd name="connsiteX2975" fmla="*/ 5749328 w 6942639"/>
                <a:gd name="connsiteY2975" fmla="*/ 6838952 h 9250612"/>
                <a:gd name="connsiteX2976" fmla="*/ 5758289 w 6942639"/>
                <a:gd name="connsiteY2976" fmla="*/ 6847912 h 9250612"/>
                <a:gd name="connsiteX2977" fmla="*/ 5749328 w 6942639"/>
                <a:gd name="connsiteY2977" fmla="*/ 6856873 h 9250612"/>
                <a:gd name="connsiteX2978" fmla="*/ 5740368 w 6942639"/>
                <a:gd name="connsiteY2978" fmla="*/ 6847912 h 9250612"/>
                <a:gd name="connsiteX2979" fmla="*/ 5749328 w 6942639"/>
                <a:gd name="connsiteY2979" fmla="*/ 6838952 h 9250612"/>
                <a:gd name="connsiteX2980" fmla="*/ 5580586 w 6942639"/>
                <a:gd name="connsiteY2980" fmla="*/ 6838952 h 9250612"/>
                <a:gd name="connsiteX2981" fmla="*/ 5589547 w 6942639"/>
                <a:gd name="connsiteY2981" fmla="*/ 6847912 h 9250612"/>
                <a:gd name="connsiteX2982" fmla="*/ 5580586 w 6942639"/>
                <a:gd name="connsiteY2982" fmla="*/ 6856873 h 9250612"/>
                <a:gd name="connsiteX2983" fmla="*/ 5571626 w 6942639"/>
                <a:gd name="connsiteY2983" fmla="*/ 6847912 h 9250612"/>
                <a:gd name="connsiteX2984" fmla="*/ 5580586 w 6942639"/>
                <a:gd name="connsiteY2984" fmla="*/ 6838952 h 9250612"/>
                <a:gd name="connsiteX2985" fmla="*/ 5411845 w 6942639"/>
                <a:gd name="connsiteY2985" fmla="*/ 6838952 h 9250612"/>
                <a:gd name="connsiteX2986" fmla="*/ 5420806 w 6942639"/>
                <a:gd name="connsiteY2986" fmla="*/ 6847912 h 9250612"/>
                <a:gd name="connsiteX2987" fmla="*/ 5411845 w 6942639"/>
                <a:gd name="connsiteY2987" fmla="*/ 6856873 h 9250612"/>
                <a:gd name="connsiteX2988" fmla="*/ 5402885 w 6942639"/>
                <a:gd name="connsiteY2988" fmla="*/ 6847912 h 9250612"/>
                <a:gd name="connsiteX2989" fmla="*/ 5411845 w 6942639"/>
                <a:gd name="connsiteY2989" fmla="*/ 6838952 h 9250612"/>
                <a:gd name="connsiteX2990" fmla="*/ 5243103 w 6942639"/>
                <a:gd name="connsiteY2990" fmla="*/ 6838952 h 9250612"/>
                <a:gd name="connsiteX2991" fmla="*/ 5252064 w 6942639"/>
                <a:gd name="connsiteY2991" fmla="*/ 6847912 h 9250612"/>
                <a:gd name="connsiteX2992" fmla="*/ 5243103 w 6942639"/>
                <a:gd name="connsiteY2992" fmla="*/ 6856873 h 9250612"/>
                <a:gd name="connsiteX2993" fmla="*/ 5234143 w 6942639"/>
                <a:gd name="connsiteY2993" fmla="*/ 6847912 h 9250612"/>
                <a:gd name="connsiteX2994" fmla="*/ 5243103 w 6942639"/>
                <a:gd name="connsiteY2994" fmla="*/ 6838952 h 9250612"/>
                <a:gd name="connsiteX2995" fmla="*/ 5074362 w 6942639"/>
                <a:gd name="connsiteY2995" fmla="*/ 6838952 h 9250612"/>
                <a:gd name="connsiteX2996" fmla="*/ 5083323 w 6942639"/>
                <a:gd name="connsiteY2996" fmla="*/ 6847912 h 9250612"/>
                <a:gd name="connsiteX2997" fmla="*/ 5074362 w 6942639"/>
                <a:gd name="connsiteY2997" fmla="*/ 6856873 h 9250612"/>
                <a:gd name="connsiteX2998" fmla="*/ 5065402 w 6942639"/>
                <a:gd name="connsiteY2998" fmla="*/ 6847912 h 9250612"/>
                <a:gd name="connsiteX2999" fmla="*/ 5074362 w 6942639"/>
                <a:gd name="connsiteY2999" fmla="*/ 6838952 h 9250612"/>
                <a:gd name="connsiteX3000" fmla="*/ 4905620 w 6942639"/>
                <a:gd name="connsiteY3000" fmla="*/ 6838952 h 9250612"/>
                <a:gd name="connsiteX3001" fmla="*/ 4914581 w 6942639"/>
                <a:gd name="connsiteY3001" fmla="*/ 6847912 h 9250612"/>
                <a:gd name="connsiteX3002" fmla="*/ 4905620 w 6942639"/>
                <a:gd name="connsiteY3002" fmla="*/ 6856873 h 9250612"/>
                <a:gd name="connsiteX3003" fmla="*/ 4896660 w 6942639"/>
                <a:gd name="connsiteY3003" fmla="*/ 6847912 h 9250612"/>
                <a:gd name="connsiteX3004" fmla="*/ 4905620 w 6942639"/>
                <a:gd name="connsiteY3004" fmla="*/ 6838952 h 9250612"/>
                <a:gd name="connsiteX3005" fmla="*/ 4736878 w 6942639"/>
                <a:gd name="connsiteY3005" fmla="*/ 6838952 h 9250612"/>
                <a:gd name="connsiteX3006" fmla="*/ 4745839 w 6942639"/>
                <a:gd name="connsiteY3006" fmla="*/ 6847912 h 9250612"/>
                <a:gd name="connsiteX3007" fmla="*/ 4736878 w 6942639"/>
                <a:gd name="connsiteY3007" fmla="*/ 6856873 h 9250612"/>
                <a:gd name="connsiteX3008" fmla="*/ 4727918 w 6942639"/>
                <a:gd name="connsiteY3008" fmla="*/ 6847912 h 9250612"/>
                <a:gd name="connsiteX3009" fmla="*/ 4736878 w 6942639"/>
                <a:gd name="connsiteY3009" fmla="*/ 6838952 h 9250612"/>
                <a:gd name="connsiteX3010" fmla="*/ 4568137 w 6942639"/>
                <a:gd name="connsiteY3010" fmla="*/ 6838952 h 9250612"/>
                <a:gd name="connsiteX3011" fmla="*/ 4577098 w 6942639"/>
                <a:gd name="connsiteY3011" fmla="*/ 6847912 h 9250612"/>
                <a:gd name="connsiteX3012" fmla="*/ 4568137 w 6942639"/>
                <a:gd name="connsiteY3012" fmla="*/ 6856873 h 9250612"/>
                <a:gd name="connsiteX3013" fmla="*/ 4559177 w 6942639"/>
                <a:gd name="connsiteY3013" fmla="*/ 6847912 h 9250612"/>
                <a:gd name="connsiteX3014" fmla="*/ 4568137 w 6942639"/>
                <a:gd name="connsiteY3014" fmla="*/ 6838952 h 9250612"/>
                <a:gd name="connsiteX3015" fmla="*/ 4399396 w 6942639"/>
                <a:gd name="connsiteY3015" fmla="*/ 6838952 h 9250612"/>
                <a:gd name="connsiteX3016" fmla="*/ 4408357 w 6942639"/>
                <a:gd name="connsiteY3016" fmla="*/ 6847912 h 9250612"/>
                <a:gd name="connsiteX3017" fmla="*/ 4399396 w 6942639"/>
                <a:gd name="connsiteY3017" fmla="*/ 6856873 h 9250612"/>
                <a:gd name="connsiteX3018" fmla="*/ 4390436 w 6942639"/>
                <a:gd name="connsiteY3018" fmla="*/ 6847912 h 9250612"/>
                <a:gd name="connsiteX3019" fmla="*/ 4399396 w 6942639"/>
                <a:gd name="connsiteY3019" fmla="*/ 6838952 h 9250612"/>
                <a:gd name="connsiteX3020" fmla="*/ 4230654 w 6942639"/>
                <a:gd name="connsiteY3020" fmla="*/ 6838952 h 9250612"/>
                <a:gd name="connsiteX3021" fmla="*/ 4239615 w 6942639"/>
                <a:gd name="connsiteY3021" fmla="*/ 6847912 h 9250612"/>
                <a:gd name="connsiteX3022" fmla="*/ 4230654 w 6942639"/>
                <a:gd name="connsiteY3022" fmla="*/ 6856873 h 9250612"/>
                <a:gd name="connsiteX3023" fmla="*/ 4221694 w 6942639"/>
                <a:gd name="connsiteY3023" fmla="*/ 6847912 h 9250612"/>
                <a:gd name="connsiteX3024" fmla="*/ 4230654 w 6942639"/>
                <a:gd name="connsiteY3024" fmla="*/ 6838952 h 9250612"/>
                <a:gd name="connsiteX3025" fmla="*/ 4061912 w 6942639"/>
                <a:gd name="connsiteY3025" fmla="*/ 6838952 h 9250612"/>
                <a:gd name="connsiteX3026" fmla="*/ 4070873 w 6942639"/>
                <a:gd name="connsiteY3026" fmla="*/ 6847912 h 9250612"/>
                <a:gd name="connsiteX3027" fmla="*/ 4061912 w 6942639"/>
                <a:gd name="connsiteY3027" fmla="*/ 6856873 h 9250612"/>
                <a:gd name="connsiteX3028" fmla="*/ 4052952 w 6942639"/>
                <a:gd name="connsiteY3028" fmla="*/ 6847912 h 9250612"/>
                <a:gd name="connsiteX3029" fmla="*/ 4061912 w 6942639"/>
                <a:gd name="connsiteY3029" fmla="*/ 6838952 h 9250612"/>
                <a:gd name="connsiteX3030" fmla="*/ 3893170 w 6942639"/>
                <a:gd name="connsiteY3030" fmla="*/ 6838952 h 9250612"/>
                <a:gd name="connsiteX3031" fmla="*/ 3902131 w 6942639"/>
                <a:gd name="connsiteY3031" fmla="*/ 6847912 h 9250612"/>
                <a:gd name="connsiteX3032" fmla="*/ 3893170 w 6942639"/>
                <a:gd name="connsiteY3032" fmla="*/ 6856873 h 9250612"/>
                <a:gd name="connsiteX3033" fmla="*/ 3884210 w 6942639"/>
                <a:gd name="connsiteY3033" fmla="*/ 6847912 h 9250612"/>
                <a:gd name="connsiteX3034" fmla="*/ 3893170 w 6942639"/>
                <a:gd name="connsiteY3034" fmla="*/ 6838952 h 9250612"/>
                <a:gd name="connsiteX3035" fmla="*/ 3724429 w 6942639"/>
                <a:gd name="connsiteY3035" fmla="*/ 6838952 h 9250612"/>
                <a:gd name="connsiteX3036" fmla="*/ 3733390 w 6942639"/>
                <a:gd name="connsiteY3036" fmla="*/ 6847912 h 9250612"/>
                <a:gd name="connsiteX3037" fmla="*/ 3724429 w 6942639"/>
                <a:gd name="connsiteY3037" fmla="*/ 6856873 h 9250612"/>
                <a:gd name="connsiteX3038" fmla="*/ 3715469 w 6942639"/>
                <a:gd name="connsiteY3038" fmla="*/ 6847912 h 9250612"/>
                <a:gd name="connsiteX3039" fmla="*/ 3724429 w 6942639"/>
                <a:gd name="connsiteY3039" fmla="*/ 6838952 h 9250612"/>
                <a:gd name="connsiteX3040" fmla="*/ 3555688 w 6942639"/>
                <a:gd name="connsiteY3040" fmla="*/ 6838952 h 9250612"/>
                <a:gd name="connsiteX3041" fmla="*/ 3564649 w 6942639"/>
                <a:gd name="connsiteY3041" fmla="*/ 6847912 h 9250612"/>
                <a:gd name="connsiteX3042" fmla="*/ 3555688 w 6942639"/>
                <a:gd name="connsiteY3042" fmla="*/ 6856873 h 9250612"/>
                <a:gd name="connsiteX3043" fmla="*/ 3546728 w 6942639"/>
                <a:gd name="connsiteY3043" fmla="*/ 6847912 h 9250612"/>
                <a:gd name="connsiteX3044" fmla="*/ 3555688 w 6942639"/>
                <a:gd name="connsiteY3044" fmla="*/ 6838952 h 9250612"/>
                <a:gd name="connsiteX3045" fmla="*/ 3386990 w 6942639"/>
                <a:gd name="connsiteY3045" fmla="*/ 6838952 h 9250612"/>
                <a:gd name="connsiteX3046" fmla="*/ 3395950 w 6942639"/>
                <a:gd name="connsiteY3046" fmla="*/ 6847912 h 9250612"/>
                <a:gd name="connsiteX3047" fmla="*/ 3386990 w 6942639"/>
                <a:gd name="connsiteY3047" fmla="*/ 6856873 h 9250612"/>
                <a:gd name="connsiteX3048" fmla="*/ 3378008 w 6942639"/>
                <a:gd name="connsiteY3048" fmla="*/ 6847912 h 9250612"/>
                <a:gd name="connsiteX3049" fmla="*/ 3386990 w 6942639"/>
                <a:gd name="connsiteY3049" fmla="*/ 6838952 h 9250612"/>
                <a:gd name="connsiteX3050" fmla="*/ 3218234 w 6942639"/>
                <a:gd name="connsiteY3050" fmla="*/ 6838952 h 9250612"/>
                <a:gd name="connsiteX3051" fmla="*/ 3227207 w 6942639"/>
                <a:gd name="connsiteY3051" fmla="*/ 6847912 h 9250612"/>
                <a:gd name="connsiteX3052" fmla="*/ 3218234 w 6942639"/>
                <a:gd name="connsiteY3052" fmla="*/ 6856873 h 9250612"/>
                <a:gd name="connsiteX3053" fmla="*/ 3209278 w 6942639"/>
                <a:gd name="connsiteY3053" fmla="*/ 6847912 h 9250612"/>
                <a:gd name="connsiteX3054" fmla="*/ 3218234 w 6942639"/>
                <a:gd name="connsiteY3054" fmla="*/ 6838952 h 9250612"/>
                <a:gd name="connsiteX3055" fmla="*/ 3049522 w 6942639"/>
                <a:gd name="connsiteY3055" fmla="*/ 6838952 h 9250612"/>
                <a:gd name="connsiteX3056" fmla="*/ 3058469 w 6942639"/>
                <a:gd name="connsiteY3056" fmla="*/ 6847912 h 9250612"/>
                <a:gd name="connsiteX3057" fmla="*/ 3049522 w 6942639"/>
                <a:gd name="connsiteY3057" fmla="*/ 6856873 h 9250612"/>
                <a:gd name="connsiteX3058" fmla="*/ 3040547 w 6942639"/>
                <a:gd name="connsiteY3058" fmla="*/ 6847912 h 9250612"/>
                <a:gd name="connsiteX3059" fmla="*/ 3049522 w 6942639"/>
                <a:gd name="connsiteY3059" fmla="*/ 6838952 h 9250612"/>
                <a:gd name="connsiteX3060" fmla="*/ 2880780 w 6942639"/>
                <a:gd name="connsiteY3060" fmla="*/ 6838952 h 9250612"/>
                <a:gd name="connsiteX3061" fmla="*/ 2889737 w 6942639"/>
                <a:gd name="connsiteY3061" fmla="*/ 6847912 h 9250612"/>
                <a:gd name="connsiteX3062" fmla="*/ 2880780 w 6942639"/>
                <a:gd name="connsiteY3062" fmla="*/ 6856873 h 9250612"/>
                <a:gd name="connsiteX3063" fmla="*/ 2871817 w 6942639"/>
                <a:gd name="connsiteY3063" fmla="*/ 6847912 h 9250612"/>
                <a:gd name="connsiteX3064" fmla="*/ 2880780 w 6942639"/>
                <a:gd name="connsiteY3064" fmla="*/ 6838952 h 9250612"/>
                <a:gd name="connsiteX3065" fmla="*/ 2712027 w 6942639"/>
                <a:gd name="connsiteY3065" fmla="*/ 6838952 h 9250612"/>
                <a:gd name="connsiteX3066" fmla="*/ 2721006 w 6942639"/>
                <a:gd name="connsiteY3066" fmla="*/ 6847912 h 9250612"/>
                <a:gd name="connsiteX3067" fmla="*/ 2712027 w 6942639"/>
                <a:gd name="connsiteY3067" fmla="*/ 6856873 h 9250612"/>
                <a:gd name="connsiteX3068" fmla="*/ 2703071 w 6942639"/>
                <a:gd name="connsiteY3068" fmla="*/ 6847912 h 9250612"/>
                <a:gd name="connsiteX3069" fmla="*/ 2712027 w 6942639"/>
                <a:gd name="connsiteY3069" fmla="*/ 6838952 h 9250612"/>
                <a:gd name="connsiteX3070" fmla="*/ 2543303 w 6942639"/>
                <a:gd name="connsiteY3070" fmla="*/ 6838952 h 9250612"/>
                <a:gd name="connsiteX3071" fmla="*/ 2552267 w 6942639"/>
                <a:gd name="connsiteY3071" fmla="*/ 6847912 h 9250612"/>
                <a:gd name="connsiteX3072" fmla="*/ 2543303 w 6942639"/>
                <a:gd name="connsiteY3072" fmla="*/ 6856873 h 9250612"/>
                <a:gd name="connsiteX3073" fmla="*/ 2534343 w 6942639"/>
                <a:gd name="connsiteY3073" fmla="*/ 6847912 h 9250612"/>
                <a:gd name="connsiteX3074" fmla="*/ 2543303 w 6942639"/>
                <a:gd name="connsiteY3074" fmla="*/ 6838952 h 9250612"/>
                <a:gd name="connsiteX3075" fmla="*/ 2374544 w 6942639"/>
                <a:gd name="connsiteY3075" fmla="*/ 6838952 h 9250612"/>
                <a:gd name="connsiteX3076" fmla="*/ 2383523 w 6942639"/>
                <a:gd name="connsiteY3076" fmla="*/ 6847912 h 9250612"/>
                <a:gd name="connsiteX3077" fmla="*/ 2374544 w 6942639"/>
                <a:gd name="connsiteY3077" fmla="*/ 6856873 h 9250612"/>
                <a:gd name="connsiteX3078" fmla="*/ 2365581 w 6942639"/>
                <a:gd name="connsiteY3078" fmla="*/ 6847912 h 9250612"/>
                <a:gd name="connsiteX3079" fmla="*/ 2374544 w 6942639"/>
                <a:gd name="connsiteY3079" fmla="*/ 6838952 h 9250612"/>
                <a:gd name="connsiteX3080" fmla="*/ 2205818 w 6942639"/>
                <a:gd name="connsiteY3080" fmla="*/ 6838952 h 9250612"/>
                <a:gd name="connsiteX3081" fmla="*/ 2214777 w 6942639"/>
                <a:gd name="connsiteY3081" fmla="*/ 6847912 h 9250612"/>
                <a:gd name="connsiteX3082" fmla="*/ 2205818 w 6942639"/>
                <a:gd name="connsiteY3082" fmla="*/ 6856873 h 9250612"/>
                <a:gd name="connsiteX3083" fmla="*/ 2196850 w 6942639"/>
                <a:gd name="connsiteY3083" fmla="*/ 6847912 h 9250612"/>
                <a:gd name="connsiteX3084" fmla="*/ 2205818 w 6942639"/>
                <a:gd name="connsiteY3084" fmla="*/ 6838952 h 9250612"/>
                <a:gd name="connsiteX3085" fmla="*/ 2037075 w 6942639"/>
                <a:gd name="connsiteY3085" fmla="*/ 6838952 h 9250612"/>
                <a:gd name="connsiteX3086" fmla="*/ 2046034 w 6942639"/>
                <a:gd name="connsiteY3086" fmla="*/ 6847912 h 9250612"/>
                <a:gd name="connsiteX3087" fmla="*/ 2037075 w 6942639"/>
                <a:gd name="connsiteY3087" fmla="*/ 6856873 h 9250612"/>
                <a:gd name="connsiteX3088" fmla="*/ 2028123 w 6942639"/>
                <a:gd name="connsiteY3088" fmla="*/ 6847912 h 9250612"/>
                <a:gd name="connsiteX3089" fmla="*/ 2037075 w 6942639"/>
                <a:gd name="connsiteY3089" fmla="*/ 6838952 h 9250612"/>
                <a:gd name="connsiteX3090" fmla="*/ 1868347 w 6942639"/>
                <a:gd name="connsiteY3090" fmla="*/ 6838952 h 9250612"/>
                <a:gd name="connsiteX3091" fmla="*/ 1877303 w 6942639"/>
                <a:gd name="connsiteY3091" fmla="*/ 6847912 h 9250612"/>
                <a:gd name="connsiteX3092" fmla="*/ 1868347 w 6942639"/>
                <a:gd name="connsiteY3092" fmla="*/ 6856873 h 9250612"/>
                <a:gd name="connsiteX3093" fmla="*/ 1859380 w 6942639"/>
                <a:gd name="connsiteY3093" fmla="*/ 6847912 h 9250612"/>
                <a:gd name="connsiteX3094" fmla="*/ 1868347 w 6942639"/>
                <a:gd name="connsiteY3094" fmla="*/ 6838952 h 9250612"/>
                <a:gd name="connsiteX3095" fmla="*/ 1699601 w 6942639"/>
                <a:gd name="connsiteY3095" fmla="*/ 6838952 h 9250612"/>
                <a:gd name="connsiteX3096" fmla="*/ 1708565 w 6942639"/>
                <a:gd name="connsiteY3096" fmla="*/ 6847912 h 9250612"/>
                <a:gd name="connsiteX3097" fmla="*/ 1699601 w 6942639"/>
                <a:gd name="connsiteY3097" fmla="*/ 6856873 h 9250612"/>
                <a:gd name="connsiteX3098" fmla="*/ 1690638 w 6942639"/>
                <a:gd name="connsiteY3098" fmla="*/ 6847912 h 9250612"/>
                <a:gd name="connsiteX3099" fmla="*/ 1699601 w 6942639"/>
                <a:gd name="connsiteY3099" fmla="*/ 6838952 h 9250612"/>
                <a:gd name="connsiteX3100" fmla="*/ 1530860 w 6942639"/>
                <a:gd name="connsiteY3100" fmla="*/ 6838952 h 9250612"/>
                <a:gd name="connsiteX3101" fmla="*/ 1539821 w 6942639"/>
                <a:gd name="connsiteY3101" fmla="*/ 6847912 h 9250612"/>
                <a:gd name="connsiteX3102" fmla="*/ 1530860 w 6942639"/>
                <a:gd name="connsiteY3102" fmla="*/ 6856873 h 9250612"/>
                <a:gd name="connsiteX3103" fmla="*/ 1521899 w 6942639"/>
                <a:gd name="connsiteY3103" fmla="*/ 6847912 h 9250612"/>
                <a:gd name="connsiteX3104" fmla="*/ 1530860 w 6942639"/>
                <a:gd name="connsiteY3104" fmla="*/ 6838952 h 9250612"/>
                <a:gd name="connsiteX3105" fmla="*/ 1362114 w 6942639"/>
                <a:gd name="connsiteY3105" fmla="*/ 6838952 h 9250612"/>
                <a:gd name="connsiteX3106" fmla="*/ 1371074 w 6942639"/>
                <a:gd name="connsiteY3106" fmla="*/ 6847912 h 9250612"/>
                <a:gd name="connsiteX3107" fmla="*/ 1362114 w 6942639"/>
                <a:gd name="connsiteY3107" fmla="*/ 6856873 h 9250612"/>
                <a:gd name="connsiteX3108" fmla="*/ 1353153 w 6942639"/>
                <a:gd name="connsiteY3108" fmla="*/ 6847912 h 9250612"/>
                <a:gd name="connsiteX3109" fmla="*/ 1362114 w 6942639"/>
                <a:gd name="connsiteY3109" fmla="*/ 6838952 h 9250612"/>
                <a:gd name="connsiteX3110" fmla="*/ 1193373 w 6942639"/>
                <a:gd name="connsiteY3110" fmla="*/ 6838952 h 9250612"/>
                <a:gd name="connsiteX3111" fmla="*/ 1202333 w 6942639"/>
                <a:gd name="connsiteY3111" fmla="*/ 6847912 h 9250612"/>
                <a:gd name="connsiteX3112" fmla="*/ 1193373 w 6942639"/>
                <a:gd name="connsiteY3112" fmla="*/ 6856873 h 9250612"/>
                <a:gd name="connsiteX3113" fmla="*/ 1184414 w 6942639"/>
                <a:gd name="connsiteY3113" fmla="*/ 6847912 h 9250612"/>
                <a:gd name="connsiteX3114" fmla="*/ 1193373 w 6942639"/>
                <a:gd name="connsiteY3114" fmla="*/ 6838952 h 9250612"/>
                <a:gd name="connsiteX3115" fmla="*/ 1024626 w 6942639"/>
                <a:gd name="connsiteY3115" fmla="*/ 6838952 h 9250612"/>
                <a:gd name="connsiteX3116" fmla="*/ 1033590 w 6942639"/>
                <a:gd name="connsiteY3116" fmla="*/ 6847912 h 9250612"/>
                <a:gd name="connsiteX3117" fmla="*/ 1024626 w 6942639"/>
                <a:gd name="connsiteY3117" fmla="*/ 6856873 h 9250612"/>
                <a:gd name="connsiteX3118" fmla="*/ 1015666 w 6942639"/>
                <a:gd name="connsiteY3118" fmla="*/ 6847912 h 9250612"/>
                <a:gd name="connsiteX3119" fmla="*/ 1024626 w 6942639"/>
                <a:gd name="connsiteY3119" fmla="*/ 6838952 h 9250612"/>
                <a:gd name="connsiteX3120" fmla="*/ 855891 w 6942639"/>
                <a:gd name="connsiteY3120" fmla="*/ 6838952 h 9250612"/>
                <a:gd name="connsiteX3121" fmla="*/ 864851 w 6942639"/>
                <a:gd name="connsiteY3121" fmla="*/ 6847912 h 9250612"/>
                <a:gd name="connsiteX3122" fmla="*/ 855891 w 6942639"/>
                <a:gd name="connsiteY3122" fmla="*/ 6856873 h 9250612"/>
                <a:gd name="connsiteX3123" fmla="*/ 846932 w 6942639"/>
                <a:gd name="connsiteY3123" fmla="*/ 6847912 h 9250612"/>
                <a:gd name="connsiteX3124" fmla="*/ 855891 w 6942639"/>
                <a:gd name="connsiteY3124" fmla="*/ 6838952 h 9250612"/>
                <a:gd name="connsiteX3125" fmla="*/ 687150 w 6942639"/>
                <a:gd name="connsiteY3125" fmla="*/ 6838952 h 9250612"/>
                <a:gd name="connsiteX3126" fmla="*/ 696111 w 6942639"/>
                <a:gd name="connsiteY3126" fmla="*/ 6847912 h 9250612"/>
                <a:gd name="connsiteX3127" fmla="*/ 687150 w 6942639"/>
                <a:gd name="connsiteY3127" fmla="*/ 6856873 h 9250612"/>
                <a:gd name="connsiteX3128" fmla="*/ 678190 w 6942639"/>
                <a:gd name="connsiteY3128" fmla="*/ 6847912 h 9250612"/>
                <a:gd name="connsiteX3129" fmla="*/ 687150 w 6942639"/>
                <a:gd name="connsiteY3129" fmla="*/ 6838952 h 9250612"/>
                <a:gd name="connsiteX3130" fmla="*/ 518397 w 6942639"/>
                <a:gd name="connsiteY3130" fmla="*/ 6838952 h 9250612"/>
                <a:gd name="connsiteX3131" fmla="*/ 527357 w 6942639"/>
                <a:gd name="connsiteY3131" fmla="*/ 6847912 h 9250612"/>
                <a:gd name="connsiteX3132" fmla="*/ 518397 w 6942639"/>
                <a:gd name="connsiteY3132" fmla="*/ 6856873 h 9250612"/>
                <a:gd name="connsiteX3133" fmla="*/ 509436 w 6942639"/>
                <a:gd name="connsiteY3133" fmla="*/ 6847912 h 9250612"/>
                <a:gd name="connsiteX3134" fmla="*/ 518397 w 6942639"/>
                <a:gd name="connsiteY3134" fmla="*/ 6838952 h 9250612"/>
                <a:gd name="connsiteX3135" fmla="*/ 349657 w 6942639"/>
                <a:gd name="connsiteY3135" fmla="*/ 6838952 h 9250612"/>
                <a:gd name="connsiteX3136" fmla="*/ 358618 w 6942639"/>
                <a:gd name="connsiteY3136" fmla="*/ 6847912 h 9250612"/>
                <a:gd name="connsiteX3137" fmla="*/ 349657 w 6942639"/>
                <a:gd name="connsiteY3137" fmla="*/ 6856873 h 9250612"/>
                <a:gd name="connsiteX3138" fmla="*/ 340697 w 6942639"/>
                <a:gd name="connsiteY3138" fmla="*/ 6847912 h 9250612"/>
                <a:gd name="connsiteX3139" fmla="*/ 349657 w 6942639"/>
                <a:gd name="connsiteY3139" fmla="*/ 6838952 h 9250612"/>
                <a:gd name="connsiteX3140" fmla="*/ 179337 w 6942639"/>
                <a:gd name="connsiteY3140" fmla="*/ 6838952 h 9250612"/>
                <a:gd name="connsiteX3141" fmla="*/ 188298 w 6942639"/>
                <a:gd name="connsiteY3141" fmla="*/ 6847912 h 9250612"/>
                <a:gd name="connsiteX3142" fmla="*/ 179337 w 6942639"/>
                <a:gd name="connsiteY3142" fmla="*/ 6856873 h 9250612"/>
                <a:gd name="connsiteX3143" fmla="*/ 170377 w 6942639"/>
                <a:gd name="connsiteY3143" fmla="*/ 6847912 h 9250612"/>
                <a:gd name="connsiteX3144" fmla="*/ 179337 w 6942639"/>
                <a:gd name="connsiteY3144" fmla="*/ 6838952 h 9250612"/>
                <a:gd name="connsiteX3145" fmla="*/ 9018 w 6942639"/>
                <a:gd name="connsiteY3145" fmla="*/ 6838952 h 9250612"/>
                <a:gd name="connsiteX3146" fmla="*/ 17978 w 6942639"/>
                <a:gd name="connsiteY3146" fmla="*/ 6847912 h 9250612"/>
                <a:gd name="connsiteX3147" fmla="*/ 9018 w 6942639"/>
                <a:gd name="connsiteY3147" fmla="*/ 6856873 h 9250612"/>
                <a:gd name="connsiteX3148" fmla="*/ 58 w 6942639"/>
                <a:gd name="connsiteY3148" fmla="*/ 6847912 h 9250612"/>
                <a:gd name="connsiteX3149" fmla="*/ 9018 w 6942639"/>
                <a:gd name="connsiteY3149" fmla="*/ 6838952 h 9250612"/>
                <a:gd name="connsiteX3150" fmla="*/ 6933679 w 6942639"/>
                <a:gd name="connsiteY3150" fmla="*/ 6667971 h 9250612"/>
                <a:gd name="connsiteX3151" fmla="*/ 6942639 w 6942639"/>
                <a:gd name="connsiteY3151" fmla="*/ 6676931 h 9250612"/>
                <a:gd name="connsiteX3152" fmla="*/ 6933679 w 6942639"/>
                <a:gd name="connsiteY3152" fmla="*/ 6685892 h 9250612"/>
                <a:gd name="connsiteX3153" fmla="*/ 6924718 w 6942639"/>
                <a:gd name="connsiteY3153" fmla="*/ 6676931 h 9250612"/>
                <a:gd name="connsiteX3154" fmla="*/ 6933679 w 6942639"/>
                <a:gd name="connsiteY3154" fmla="*/ 6667971 h 9250612"/>
                <a:gd name="connsiteX3155" fmla="*/ 6763357 w 6942639"/>
                <a:gd name="connsiteY3155" fmla="*/ 6667971 h 9250612"/>
                <a:gd name="connsiteX3156" fmla="*/ 6772318 w 6942639"/>
                <a:gd name="connsiteY3156" fmla="*/ 6676931 h 9250612"/>
                <a:gd name="connsiteX3157" fmla="*/ 6763357 w 6942639"/>
                <a:gd name="connsiteY3157" fmla="*/ 6685892 h 9250612"/>
                <a:gd name="connsiteX3158" fmla="*/ 6754397 w 6942639"/>
                <a:gd name="connsiteY3158" fmla="*/ 6676931 h 9250612"/>
                <a:gd name="connsiteX3159" fmla="*/ 6763357 w 6942639"/>
                <a:gd name="connsiteY3159" fmla="*/ 6667971 h 9250612"/>
                <a:gd name="connsiteX3160" fmla="*/ 6593035 w 6942639"/>
                <a:gd name="connsiteY3160" fmla="*/ 6667971 h 9250612"/>
                <a:gd name="connsiteX3161" fmla="*/ 6601996 w 6942639"/>
                <a:gd name="connsiteY3161" fmla="*/ 6676931 h 9250612"/>
                <a:gd name="connsiteX3162" fmla="*/ 6593035 w 6942639"/>
                <a:gd name="connsiteY3162" fmla="*/ 6685892 h 9250612"/>
                <a:gd name="connsiteX3163" fmla="*/ 6584075 w 6942639"/>
                <a:gd name="connsiteY3163" fmla="*/ 6676931 h 9250612"/>
                <a:gd name="connsiteX3164" fmla="*/ 6593035 w 6942639"/>
                <a:gd name="connsiteY3164" fmla="*/ 6667971 h 9250612"/>
                <a:gd name="connsiteX3165" fmla="*/ 6424294 w 6942639"/>
                <a:gd name="connsiteY3165" fmla="*/ 6667971 h 9250612"/>
                <a:gd name="connsiteX3166" fmla="*/ 6433255 w 6942639"/>
                <a:gd name="connsiteY3166" fmla="*/ 6676931 h 9250612"/>
                <a:gd name="connsiteX3167" fmla="*/ 6424294 w 6942639"/>
                <a:gd name="connsiteY3167" fmla="*/ 6685892 h 9250612"/>
                <a:gd name="connsiteX3168" fmla="*/ 6415334 w 6942639"/>
                <a:gd name="connsiteY3168" fmla="*/ 6676931 h 9250612"/>
                <a:gd name="connsiteX3169" fmla="*/ 6424294 w 6942639"/>
                <a:gd name="connsiteY3169" fmla="*/ 6667971 h 9250612"/>
                <a:gd name="connsiteX3170" fmla="*/ 6255553 w 6942639"/>
                <a:gd name="connsiteY3170" fmla="*/ 6667971 h 9250612"/>
                <a:gd name="connsiteX3171" fmla="*/ 6264514 w 6942639"/>
                <a:gd name="connsiteY3171" fmla="*/ 6676931 h 9250612"/>
                <a:gd name="connsiteX3172" fmla="*/ 6255553 w 6942639"/>
                <a:gd name="connsiteY3172" fmla="*/ 6685892 h 9250612"/>
                <a:gd name="connsiteX3173" fmla="*/ 6246593 w 6942639"/>
                <a:gd name="connsiteY3173" fmla="*/ 6676931 h 9250612"/>
                <a:gd name="connsiteX3174" fmla="*/ 6255553 w 6942639"/>
                <a:gd name="connsiteY3174" fmla="*/ 6667971 h 9250612"/>
                <a:gd name="connsiteX3175" fmla="*/ 6086811 w 6942639"/>
                <a:gd name="connsiteY3175" fmla="*/ 6667971 h 9250612"/>
                <a:gd name="connsiteX3176" fmla="*/ 6095772 w 6942639"/>
                <a:gd name="connsiteY3176" fmla="*/ 6676931 h 9250612"/>
                <a:gd name="connsiteX3177" fmla="*/ 6086811 w 6942639"/>
                <a:gd name="connsiteY3177" fmla="*/ 6685892 h 9250612"/>
                <a:gd name="connsiteX3178" fmla="*/ 6077851 w 6942639"/>
                <a:gd name="connsiteY3178" fmla="*/ 6676931 h 9250612"/>
                <a:gd name="connsiteX3179" fmla="*/ 6086811 w 6942639"/>
                <a:gd name="connsiteY3179" fmla="*/ 6667971 h 9250612"/>
                <a:gd name="connsiteX3180" fmla="*/ 5918069 w 6942639"/>
                <a:gd name="connsiteY3180" fmla="*/ 6667971 h 9250612"/>
                <a:gd name="connsiteX3181" fmla="*/ 5927030 w 6942639"/>
                <a:gd name="connsiteY3181" fmla="*/ 6676931 h 9250612"/>
                <a:gd name="connsiteX3182" fmla="*/ 5918069 w 6942639"/>
                <a:gd name="connsiteY3182" fmla="*/ 6685892 h 9250612"/>
                <a:gd name="connsiteX3183" fmla="*/ 5909109 w 6942639"/>
                <a:gd name="connsiteY3183" fmla="*/ 6676931 h 9250612"/>
                <a:gd name="connsiteX3184" fmla="*/ 5918069 w 6942639"/>
                <a:gd name="connsiteY3184" fmla="*/ 6667971 h 9250612"/>
                <a:gd name="connsiteX3185" fmla="*/ 5749328 w 6942639"/>
                <a:gd name="connsiteY3185" fmla="*/ 6667971 h 9250612"/>
                <a:gd name="connsiteX3186" fmla="*/ 5758289 w 6942639"/>
                <a:gd name="connsiteY3186" fmla="*/ 6676931 h 9250612"/>
                <a:gd name="connsiteX3187" fmla="*/ 5749328 w 6942639"/>
                <a:gd name="connsiteY3187" fmla="*/ 6685892 h 9250612"/>
                <a:gd name="connsiteX3188" fmla="*/ 5740368 w 6942639"/>
                <a:gd name="connsiteY3188" fmla="*/ 6676931 h 9250612"/>
                <a:gd name="connsiteX3189" fmla="*/ 5749328 w 6942639"/>
                <a:gd name="connsiteY3189" fmla="*/ 6667971 h 9250612"/>
                <a:gd name="connsiteX3190" fmla="*/ 5580586 w 6942639"/>
                <a:gd name="connsiteY3190" fmla="*/ 6667971 h 9250612"/>
                <a:gd name="connsiteX3191" fmla="*/ 5589547 w 6942639"/>
                <a:gd name="connsiteY3191" fmla="*/ 6676931 h 9250612"/>
                <a:gd name="connsiteX3192" fmla="*/ 5580586 w 6942639"/>
                <a:gd name="connsiteY3192" fmla="*/ 6685892 h 9250612"/>
                <a:gd name="connsiteX3193" fmla="*/ 5571626 w 6942639"/>
                <a:gd name="connsiteY3193" fmla="*/ 6676931 h 9250612"/>
                <a:gd name="connsiteX3194" fmla="*/ 5580586 w 6942639"/>
                <a:gd name="connsiteY3194" fmla="*/ 6667971 h 9250612"/>
                <a:gd name="connsiteX3195" fmla="*/ 5411845 w 6942639"/>
                <a:gd name="connsiteY3195" fmla="*/ 6667971 h 9250612"/>
                <a:gd name="connsiteX3196" fmla="*/ 5420806 w 6942639"/>
                <a:gd name="connsiteY3196" fmla="*/ 6676931 h 9250612"/>
                <a:gd name="connsiteX3197" fmla="*/ 5411845 w 6942639"/>
                <a:gd name="connsiteY3197" fmla="*/ 6685892 h 9250612"/>
                <a:gd name="connsiteX3198" fmla="*/ 5402885 w 6942639"/>
                <a:gd name="connsiteY3198" fmla="*/ 6676931 h 9250612"/>
                <a:gd name="connsiteX3199" fmla="*/ 5411845 w 6942639"/>
                <a:gd name="connsiteY3199" fmla="*/ 6667971 h 9250612"/>
                <a:gd name="connsiteX3200" fmla="*/ 5243103 w 6942639"/>
                <a:gd name="connsiteY3200" fmla="*/ 6667971 h 9250612"/>
                <a:gd name="connsiteX3201" fmla="*/ 5252064 w 6942639"/>
                <a:gd name="connsiteY3201" fmla="*/ 6676931 h 9250612"/>
                <a:gd name="connsiteX3202" fmla="*/ 5243103 w 6942639"/>
                <a:gd name="connsiteY3202" fmla="*/ 6685892 h 9250612"/>
                <a:gd name="connsiteX3203" fmla="*/ 5234143 w 6942639"/>
                <a:gd name="connsiteY3203" fmla="*/ 6676931 h 9250612"/>
                <a:gd name="connsiteX3204" fmla="*/ 5243103 w 6942639"/>
                <a:gd name="connsiteY3204" fmla="*/ 6667971 h 9250612"/>
                <a:gd name="connsiteX3205" fmla="*/ 5074362 w 6942639"/>
                <a:gd name="connsiteY3205" fmla="*/ 6667971 h 9250612"/>
                <a:gd name="connsiteX3206" fmla="*/ 5083323 w 6942639"/>
                <a:gd name="connsiteY3206" fmla="*/ 6676931 h 9250612"/>
                <a:gd name="connsiteX3207" fmla="*/ 5074362 w 6942639"/>
                <a:gd name="connsiteY3207" fmla="*/ 6685892 h 9250612"/>
                <a:gd name="connsiteX3208" fmla="*/ 5065402 w 6942639"/>
                <a:gd name="connsiteY3208" fmla="*/ 6676931 h 9250612"/>
                <a:gd name="connsiteX3209" fmla="*/ 5074362 w 6942639"/>
                <a:gd name="connsiteY3209" fmla="*/ 6667971 h 9250612"/>
                <a:gd name="connsiteX3210" fmla="*/ 4905620 w 6942639"/>
                <a:gd name="connsiteY3210" fmla="*/ 6667971 h 9250612"/>
                <a:gd name="connsiteX3211" fmla="*/ 4914581 w 6942639"/>
                <a:gd name="connsiteY3211" fmla="*/ 6676931 h 9250612"/>
                <a:gd name="connsiteX3212" fmla="*/ 4905620 w 6942639"/>
                <a:gd name="connsiteY3212" fmla="*/ 6685892 h 9250612"/>
                <a:gd name="connsiteX3213" fmla="*/ 4896660 w 6942639"/>
                <a:gd name="connsiteY3213" fmla="*/ 6676931 h 9250612"/>
                <a:gd name="connsiteX3214" fmla="*/ 4905620 w 6942639"/>
                <a:gd name="connsiteY3214" fmla="*/ 6667971 h 9250612"/>
                <a:gd name="connsiteX3215" fmla="*/ 4736878 w 6942639"/>
                <a:gd name="connsiteY3215" fmla="*/ 6667971 h 9250612"/>
                <a:gd name="connsiteX3216" fmla="*/ 4745839 w 6942639"/>
                <a:gd name="connsiteY3216" fmla="*/ 6676931 h 9250612"/>
                <a:gd name="connsiteX3217" fmla="*/ 4736878 w 6942639"/>
                <a:gd name="connsiteY3217" fmla="*/ 6685892 h 9250612"/>
                <a:gd name="connsiteX3218" fmla="*/ 4727918 w 6942639"/>
                <a:gd name="connsiteY3218" fmla="*/ 6676931 h 9250612"/>
                <a:gd name="connsiteX3219" fmla="*/ 4736878 w 6942639"/>
                <a:gd name="connsiteY3219" fmla="*/ 6667971 h 9250612"/>
                <a:gd name="connsiteX3220" fmla="*/ 4568137 w 6942639"/>
                <a:gd name="connsiteY3220" fmla="*/ 6667971 h 9250612"/>
                <a:gd name="connsiteX3221" fmla="*/ 4577098 w 6942639"/>
                <a:gd name="connsiteY3221" fmla="*/ 6676931 h 9250612"/>
                <a:gd name="connsiteX3222" fmla="*/ 4568137 w 6942639"/>
                <a:gd name="connsiteY3222" fmla="*/ 6685892 h 9250612"/>
                <a:gd name="connsiteX3223" fmla="*/ 4559177 w 6942639"/>
                <a:gd name="connsiteY3223" fmla="*/ 6676931 h 9250612"/>
                <a:gd name="connsiteX3224" fmla="*/ 4568137 w 6942639"/>
                <a:gd name="connsiteY3224" fmla="*/ 6667971 h 9250612"/>
                <a:gd name="connsiteX3225" fmla="*/ 4399396 w 6942639"/>
                <a:gd name="connsiteY3225" fmla="*/ 6667971 h 9250612"/>
                <a:gd name="connsiteX3226" fmla="*/ 4408357 w 6942639"/>
                <a:gd name="connsiteY3226" fmla="*/ 6676931 h 9250612"/>
                <a:gd name="connsiteX3227" fmla="*/ 4399396 w 6942639"/>
                <a:gd name="connsiteY3227" fmla="*/ 6685892 h 9250612"/>
                <a:gd name="connsiteX3228" fmla="*/ 4390436 w 6942639"/>
                <a:gd name="connsiteY3228" fmla="*/ 6676931 h 9250612"/>
                <a:gd name="connsiteX3229" fmla="*/ 4399396 w 6942639"/>
                <a:gd name="connsiteY3229" fmla="*/ 6667971 h 9250612"/>
                <a:gd name="connsiteX3230" fmla="*/ 4230654 w 6942639"/>
                <a:gd name="connsiteY3230" fmla="*/ 6667971 h 9250612"/>
                <a:gd name="connsiteX3231" fmla="*/ 4239615 w 6942639"/>
                <a:gd name="connsiteY3231" fmla="*/ 6676931 h 9250612"/>
                <a:gd name="connsiteX3232" fmla="*/ 4230654 w 6942639"/>
                <a:gd name="connsiteY3232" fmla="*/ 6685892 h 9250612"/>
                <a:gd name="connsiteX3233" fmla="*/ 4221694 w 6942639"/>
                <a:gd name="connsiteY3233" fmla="*/ 6676931 h 9250612"/>
                <a:gd name="connsiteX3234" fmla="*/ 4230654 w 6942639"/>
                <a:gd name="connsiteY3234" fmla="*/ 6667971 h 9250612"/>
                <a:gd name="connsiteX3235" fmla="*/ 4061912 w 6942639"/>
                <a:gd name="connsiteY3235" fmla="*/ 6667971 h 9250612"/>
                <a:gd name="connsiteX3236" fmla="*/ 4070873 w 6942639"/>
                <a:gd name="connsiteY3236" fmla="*/ 6676931 h 9250612"/>
                <a:gd name="connsiteX3237" fmla="*/ 4061912 w 6942639"/>
                <a:gd name="connsiteY3237" fmla="*/ 6685892 h 9250612"/>
                <a:gd name="connsiteX3238" fmla="*/ 4052952 w 6942639"/>
                <a:gd name="connsiteY3238" fmla="*/ 6676931 h 9250612"/>
                <a:gd name="connsiteX3239" fmla="*/ 4061912 w 6942639"/>
                <a:gd name="connsiteY3239" fmla="*/ 6667971 h 9250612"/>
                <a:gd name="connsiteX3240" fmla="*/ 3893170 w 6942639"/>
                <a:gd name="connsiteY3240" fmla="*/ 6667971 h 9250612"/>
                <a:gd name="connsiteX3241" fmla="*/ 3902131 w 6942639"/>
                <a:gd name="connsiteY3241" fmla="*/ 6676931 h 9250612"/>
                <a:gd name="connsiteX3242" fmla="*/ 3893170 w 6942639"/>
                <a:gd name="connsiteY3242" fmla="*/ 6685892 h 9250612"/>
                <a:gd name="connsiteX3243" fmla="*/ 3884210 w 6942639"/>
                <a:gd name="connsiteY3243" fmla="*/ 6676931 h 9250612"/>
                <a:gd name="connsiteX3244" fmla="*/ 3893170 w 6942639"/>
                <a:gd name="connsiteY3244" fmla="*/ 6667971 h 9250612"/>
                <a:gd name="connsiteX3245" fmla="*/ 3724429 w 6942639"/>
                <a:gd name="connsiteY3245" fmla="*/ 6667971 h 9250612"/>
                <a:gd name="connsiteX3246" fmla="*/ 3733390 w 6942639"/>
                <a:gd name="connsiteY3246" fmla="*/ 6676931 h 9250612"/>
                <a:gd name="connsiteX3247" fmla="*/ 3724429 w 6942639"/>
                <a:gd name="connsiteY3247" fmla="*/ 6685892 h 9250612"/>
                <a:gd name="connsiteX3248" fmla="*/ 3715469 w 6942639"/>
                <a:gd name="connsiteY3248" fmla="*/ 6676931 h 9250612"/>
                <a:gd name="connsiteX3249" fmla="*/ 3724429 w 6942639"/>
                <a:gd name="connsiteY3249" fmla="*/ 6667971 h 9250612"/>
                <a:gd name="connsiteX3250" fmla="*/ 3555688 w 6942639"/>
                <a:gd name="connsiteY3250" fmla="*/ 6667971 h 9250612"/>
                <a:gd name="connsiteX3251" fmla="*/ 3564649 w 6942639"/>
                <a:gd name="connsiteY3251" fmla="*/ 6676931 h 9250612"/>
                <a:gd name="connsiteX3252" fmla="*/ 3555688 w 6942639"/>
                <a:gd name="connsiteY3252" fmla="*/ 6685892 h 9250612"/>
                <a:gd name="connsiteX3253" fmla="*/ 3546728 w 6942639"/>
                <a:gd name="connsiteY3253" fmla="*/ 6676931 h 9250612"/>
                <a:gd name="connsiteX3254" fmla="*/ 3555688 w 6942639"/>
                <a:gd name="connsiteY3254" fmla="*/ 6667971 h 9250612"/>
                <a:gd name="connsiteX3255" fmla="*/ 3386993 w 6942639"/>
                <a:gd name="connsiteY3255" fmla="*/ 6667971 h 9250612"/>
                <a:gd name="connsiteX3256" fmla="*/ 3395953 w 6942639"/>
                <a:gd name="connsiteY3256" fmla="*/ 6676931 h 9250612"/>
                <a:gd name="connsiteX3257" fmla="*/ 3386993 w 6942639"/>
                <a:gd name="connsiteY3257" fmla="*/ 6685892 h 9250612"/>
                <a:gd name="connsiteX3258" fmla="*/ 3378009 w 6942639"/>
                <a:gd name="connsiteY3258" fmla="*/ 6676931 h 9250612"/>
                <a:gd name="connsiteX3259" fmla="*/ 3386993 w 6942639"/>
                <a:gd name="connsiteY3259" fmla="*/ 6667971 h 9250612"/>
                <a:gd name="connsiteX3260" fmla="*/ 3218236 w 6942639"/>
                <a:gd name="connsiteY3260" fmla="*/ 6667971 h 9250612"/>
                <a:gd name="connsiteX3261" fmla="*/ 3227210 w 6942639"/>
                <a:gd name="connsiteY3261" fmla="*/ 6676931 h 9250612"/>
                <a:gd name="connsiteX3262" fmla="*/ 3218236 w 6942639"/>
                <a:gd name="connsiteY3262" fmla="*/ 6685892 h 9250612"/>
                <a:gd name="connsiteX3263" fmla="*/ 3209281 w 6942639"/>
                <a:gd name="connsiteY3263" fmla="*/ 6676931 h 9250612"/>
                <a:gd name="connsiteX3264" fmla="*/ 3218236 w 6942639"/>
                <a:gd name="connsiteY3264" fmla="*/ 6667971 h 9250612"/>
                <a:gd name="connsiteX3265" fmla="*/ 3049525 w 6942639"/>
                <a:gd name="connsiteY3265" fmla="*/ 6667971 h 9250612"/>
                <a:gd name="connsiteX3266" fmla="*/ 3058472 w 6942639"/>
                <a:gd name="connsiteY3266" fmla="*/ 6676931 h 9250612"/>
                <a:gd name="connsiteX3267" fmla="*/ 3049525 w 6942639"/>
                <a:gd name="connsiteY3267" fmla="*/ 6685892 h 9250612"/>
                <a:gd name="connsiteX3268" fmla="*/ 3040550 w 6942639"/>
                <a:gd name="connsiteY3268" fmla="*/ 6676931 h 9250612"/>
                <a:gd name="connsiteX3269" fmla="*/ 3049525 w 6942639"/>
                <a:gd name="connsiteY3269" fmla="*/ 6667971 h 9250612"/>
                <a:gd name="connsiteX3270" fmla="*/ 2880784 w 6942639"/>
                <a:gd name="connsiteY3270" fmla="*/ 6667971 h 9250612"/>
                <a:gd name="connsiteX3271" fmla="*/ 2889741 w 6942639"/>
                <a:gd name="connsiteY3271" fmla="*/ 6676931 h 9250612"/>
                <a:gd name="connsiteX3272" fmla="*/ 2880784 w 6942639"/>
                <a:gd name="connsiteY3272" fmla="*/ 6685892 h 9250612"/>
                <a:gd name="connsiteX3273" fmla="*/ 2871821 w 6942639"/>
                <a:gd name="connsiteY3273" fmla="*/ 6676931 h 9250612"/>
                <a:gd name="connsiteX3274" fmla="*/ 2880784 w 6942639"/>
                <a:gd name="connsiteY3274" fmla="*/ 6667971 h 9250612"/>
                <a:gd name="connsiteX3275" fmla="*/ 2712030 w 6942639"/>
                <a:gd name="connsiteY3275" fmla="*/ 6667971 h 9250612"/>
                <a:gd name="connsiteX3276" fmla="*/ 2721010 w 6942639"/>
                <a:gd name="connsiteY3276" fmla="*/ 6676931 h 9250612"/>
                <a:gd name="connsiteX3277" fmla="*/ 2712030 w 6942639"/>
                <a:gd name="connsiteY3277" fmla="*/ 6685892 h 9250612"/>
                <a:gd name="connsiteX3278" fmla="*/ 2703074 w 6942639"/>
                <a:gd name="connsiteY3278" fmla="*/ 6676931 h 9250612"/>
                <a:gd name="connsiteX3279" fmla="*/ 2712030 w 6942639"/>
                <a:gd name="connsiteY3279" fmla="*/ 6667971 h 9250612"/>
                <a:gd name="connsiteX3280" fmla="*/ 2543307 w 6942639"/>
                <a:gd name="connsiteY3280" fmla="*/ 6667971 h 9250612"/>
                <a:gd name="connsiteX3281" fmla="*/ 2552272 w 6942639"/>
                <a:gd name="connsiteY3281" fmla="*/ 6676931 h 9250612"/>
                <a:gd name="connsiteX3282" fmla="*/ 2543307 w 6942639"/>
                <a:gd name="connsiteY3282" fmla="*/ 6685892 h 9250612"/>
                <a:gd name="connsiteX3283" fmla="*/ 2534346 w 6942639"/>
                <a:gd name="connsiteY3283" fmla="*/ 6676931 h 9250612"/>
                <a:gd name="connsiteX3284" fmla="*/ 2543307 w 6942639"/>
                <a:gd name="connsiteY3284" fmla="*/ 6667971 h 9250612"/>
                <a:gd name="connsiteX3285" fmla="*/ 2374547 w 6942639"/>
                <a:gd name="connsiteY3285" fmla="*/ 6667971 h 9250612"/>
                <a:gd name="connsiteX3286" fmla="*/ 2383528 w 6942639"/>
                <a:gd name="connsiteY3286" fmla="*/ 6676931 h 9250612"/>
                <a:gd name="connsiteX3287" fmla="*/ 2374547 w 6942639"/>
                <a:gd name="connsiteY3287" fmla="*/ 6685892 h 9250612"/>
                <a:gd name="connsiteX3288" fmla="*/ 2365584 w 6942639"/>
                <a:gd name="connsiteY3288" fmla="*/ 6676931 h 9250612"/>
                <a:gd name="connsiteX3289" fmla="*/ 2374547 w 6942639"/>
                <a:gd name="connsiteY3289" fmla="*/ 6667971 h 9250612"/>
                <a:gd name="connsiteX3290" fmla="*/ 2205822 w 6942639"/>
                <a:gd name="connsiteY3290" fmla="*/ 6667971 h 9250612"/>
                <a:gd name="connsiteX3291" fmla="*/ 2214780 w 6942639"/>
                <a:gd name="connsiteY3291" fmla="*/ 6676931 h 9250612"/>
                <a:gd name="connsiteX3292" fmla="*/ 2205822 w 6942639"/>
                <a:gd name="connsiteY3292" fmla="*/ 6685892 h 9250612"/>
                <a:gd name="connsiteX3293" fmla="*/ 2196853 w 6942639"/>
                <a:gd name="connsiteY3293" fmla="*/ 6676931 h 9250612"/>
                <a:gd name="connsiteX3294" fmla="*/ 2205822 w 6942639"/>
                <a:gd name="connsiteY3294" fmla="*/ 6667971 h 9250612"/>
                <a:gd name="connsiteX3295" fmla="*/ 2037078 w 6942639"/>
                <a:gd name="connsiteY3295" fmla="*/ 6667971 h 9250612"/>
                <a:gd name="connsiteX3296" fmla="*/ 2046037 w 6942639"/>
                <a:gd name="connsiteY3296" fmla="*/ 6676931 h 9250612"/>
                <a:gd name="connsiteX3297" fmla="*/ 2037078 w 6942639"/>
                <a:gd name="connsiteY3297" fmla="*/ 6685892 h 9250612"/>
                <a:gd name="connsiteX3298" fmla="*/ 2028128 w 6942639"/>
                <a:gd name="connsiteY3298" fmla="*/ 6676931 h 9250612"/>
                <a:gd name="connsiteX3299" fmla="*/ 2037078 w 6942639"/>
                <a:gd name="connsiteY3299" fmla="*/ 6667971 h 9250612"/>
                <a:gd name="connsiteX3300" fmla="*/ 1868352 w 6942639"/>
                <a:gd name="connsiteY3300" fmla="*/ 6667971 h 9250612"/>
                <a:gd name="connsiteX3301" fmla="*/ 1877307 w 6942639"/>
                <a:gd name="connsiteY3301" fmla="*/ 6676931 h 9250612"/>
                <a:gd name="connsiteX3302" fmla="*/ 1868352 w 6942639"/>
                <a:gd name="connsiteY3302" fmla="*/ 6685892 h 9250612"/>
                <a:gd name="connsiteX3303" fmla="*/ 1859384 w 6942639"/>
                <a:gd name="connsiteY3303" fmla="*/ 6676931 h 9250612"/>
                <a:gd name="connsiteX3304" fmla="*/ 1868352 w 6942639"/>
                <a:gd name="connsiteY3304" fmla="*/ 6667971 h 9250612"/>
                <a:gd name="connsiteX3305" fmla="*/ 1699606 w 6942639"/>
                <a:gd name="connsiteY3305" fmla="*/ 6667971 h 9250612"/>
                <a:gd name="connsiteX3306" fmla="*/ 1708570 w 6942639"/>
                <a:gd name="connsiteY3306" fmla="*/ 6676931 h 9250612"/>
                <a:gd name="connsiteX3307" fmla="*/ 1699606 w 6942639"/>
                <a:gd name="connsiteY3307" fmla="*/ 6685892 h 9250612"/>
                <a:gd name="connsiteX3308" fmla="*/ 1690643 w 6942639"/>
                <a:gd name="connsiteY3308" fmla="*/ 6676931 h 9250612"/>
                <a:gd name="connsiteX3309" fmla="*/ 1699606 w 6942639"/>
                <a:gd name="connsiteY3309" fmla="*/ 6667971 h 9250612"/>
                <a:gd name="connsiteX3310" fmla="*/ 1530865 w 6942639"/>
                <a:gd name="connsiteY3310" fmla="*/ 6667971 h 9250612"/>
                <a:gd name="connsiteX3311" fmla="*/ 1539826 w 6942639"/>
                <a:gd name="connsiteY3311" fmla="*/ 6676931 h 9250612"/>
                <a:gd name="connsiteX3312" fmla="*/ 1530865 w 6942639"/>
                <a:gd name="connsiteY3312" fmla="*/ 6685892 h 9250612"/>
                <a:gd name="connsiteX3313" fmla="*/ 1521903 w 6942639"/>
                <a:gd name="connsiteY3313" fmla="*/ 6676931 h 9250612"/>
                <a:gd name="connsiteX3314" fmla="*/ 1530865 w 6942639"/>
                <a:gd name="connsiteY3314" fmla="*/ 6667971 h 9250612"/>
                <a:gd name="connsiteX3315" fmla="*/ 1362118 w 6942639"/>
                <a:gd name="connsiteY3315" fmla="*/ 6667971 h 9250612"/>
                <a:gd name="connsiteX3316" fmla="*/ 1371078 w 6942639"/>
                <a:gd name="connsiteY3316" fmla="*/ 6676931 h 9250612"/>
                <a:gd name="connsiteX3317" fmla="*/ 1362118 w 6942639"/>
                <a:gd name="connsiteY3317" fmla="*/ 6685892 h 9250612"/>
                <a:gd name="connsiteX3318" fmla="*/ 1353158 w 6942639"/>
                <a:gd name="connsiteY3318" fmla="*/ 6676931 h 9250612"/>
                <a:gd name="connsiteX3319" fmla="*/ 1362118 w 6942639"/>
                <a:gd name="connsiteY3319" fmla="*/ 6667971 h 9250612"/>
                <a:gd name="connsiteX3320" fmla="*/ 1193377 w 6942639"/>
                <a:gd name="connsiteY3320" fmla="*/ 6667971 h 9250612"/>
                <a:gd name="connsiteX3321" fmla="*/ 1202338 w 6942639"/>
                <a:gd name="connsiteY3321" fmla="*/ 6676931 h 9250612"/>
                <a:gd name="connsiteX3322" fmla="*/ 1193377 w 6942639"/>
                <a:gd name="connsiteY3322" fmla="*/ 6685892 h 9250612"/>
                <a:gd name="connsiteX3323" fmla="*/ 1184418 w 6942639"/>
                <a:gd name="connsiteY3323" fmla="*/ 6676931 h 9250612"/>
                <a:gd name="connsiteX3324" fmla="*/ 1193377 w 6942639"/>
                <a:gd name="connsiteY3324" fmla="*/ 6667971 h 9250612"/>
                <a:gd name="connsiteX3325" fmla="*/ 1024630 w 6942639"/>
                <a:gd name="connsiteY3325" fmla="*/ 6667971 h 9250612"/>
                <a:gd name="connsiteX3326" fmla="*/ 1033594 w 6942639"/>
                <a:gd name="connsiteY3326" fmla="*/ 6676931 h 9250612"/>
                <a:gd name="connsiteX3327" fmla="*/ 1024630 w 6942639"/>
                <a:gd name="connsiteY3327" fmla="*/ 6685892 h 9250612"/>
                <a:gd name="connsiteX3328" fmla="*/ 1015671 w 6942639"/>
                <a:gd name="connsiteY3328" fmla="*/ 6676931 h 9250612"/>
                <a:gd name="connsiteX3329" fmla="*/ 1024630 w 6942639"/>
                <a:gd name="connsiteY3329" fmla="*/ 6667971 h 9250612"/>
                <a:gd name="connsiteX3330" fmla="*/ 855896 w 6942639"/>
                <a:gd name="connsiteY3330" fmla="*/ 6667971 h 9250612"/>
                <a:gd name="connsiteX3331" fmla="*/ 864855 w 6942639"/>
                <a:gd name="connsiteY3331" fmla="*/ 6676931 h 9250612"/>
                <a:gd name="connsiteX3332" fmla="*/ 855896 w 6942639"/>
                <a:gd name="connsiteY3332" fmla="*/ 6685892 h 9250612"/>
                <a:gd name="connsiteX3333" fmla="*/ 846936 w 6942639"/>
                <a:gd name="connsiteY3333" fmla="*/ 6676931 h 9250612"/>
                <a:gd name="connsiteX3334" fmla="*/ 855896 w 6942639"/>
                <a:gd name="connsiteY3334" fmla="*/ 6667971 h 9250612"/>
                <a:gd name="connsiteX3335" fmla="*/ 687155 w 6942639"/>
                <a:gd name="connsiteY3335" fmla="*/ 6667971 h 9250612"/>
                <a:gd name="connsiteX3336" fmla="*/ 696115 w 6942639"/>
                <a:gd name="connsiteY3336" fmla="*/ 6676931 h 9250612"/>
                <a:gd name="connsiteX3337" fmla="*/ 687155 w 6942639"/>
                <a:gd name="connsiteY3337" fmla="*/ 6685892 h 9250612"/>
                <a:gd name="connsiteX3338" fmla="*/ 678195 w 6942639"/>
                <a:gd name="connsiteY3338" fmla="*/ 6676931 h 9250612"/>
                <a:gd name="connsiteX3339" fmla="*/ 687155 w 6942639"/>
                <a:gd name="connsiteY3339" fmla="*/ 6667971 h 9250612"/>
                <a:gd name="connsiteX3340" fmla="*/ 518400 w 6942639"/>
                <a:gd name="connsiteY3340" fmla="*/ 6667971 h 9250612"/>
                <a:gd name="connsiteX3341" fmla="*/ 527361 w 6942639"/>
                <a:gd name="connsiteY3341" fmla="*/ 6676931 h 9250612"/>
                <a:gd name="connsiteX3342" fmla="*/ 518400 w 6942639"/>
                <a:gd name="connsiteY3342" fmla="*/ 6685892 h 9250612"/>
                <a:gd name="connsiteX3343" fmla="*/ 509440 w 6942639"/>
                <a:gd name="connsiteY3343" fmla="*/ 6676931 h 9250612"/>
                <a:gd name="connsiteX3344" fmla="*/ 518400 w 6942639"/>
                <a:gd name="connsiteY3344" fmla="*/ 6667971 h 9250612"/>
                <a:gd name="connsiteX3345" fmla="*/ 349661 w 6942639"/>
                <a:gd name="connsiteY3345" fmla="*/ 6667971 h 9250612"/>
                <a:gd name="connsiteX3346" fmla="*/ 358621 w 6942639"/>
                <a:gd name="connsiteY3346" fmla="*/ 6676931 h 9250612"/>
                <a:gd name="connsiteX3347" fmla="*/ 349661 w 6942639"/>
                <a:gd name="connsiteY3347" fmla="*/ 6685892 h 9250612"/>
                <a:gd name="connsiteX3348" fmla="*/ 340701 w 6942639"/>
                <a:gd name="connsiteY3348" fmla="*/ 6676931 h 9250612"/>
                <a:gd name="connsiteX3349" fmla="*/ 349661 w 6942639"/>
                <a:gd name="connsiteY3349" fmla="*/ 6667971 h 9250612"/>
                <a:gd name="connsiteX3350" fmla="*/ 179341 w 6942639"/>
                <a:gd name="connsiteY3350" fmla="*/ 6667971 h 9250612"/>
                <a:gd name="connsiteX3351" fmla="*/ 188302 w 6942639"/>
                <a:gd name="connsiteY3351" fmla="*/ 6676931 h 9250612"/>
                <a:gd name="connsiteX3352" fmla="*/ 179341 w 6942639"/>
                <a:gd name="connsiteY3352" fmla="*/ 6685892 h 9250612"/>
                <a:gd name="connsiteX3353" fmla="*/ 170381 w 6942639"/>
                <a:gd name="connsiteY3353" fmla="*/ 6676931 h 9250612"/>
                <a:gd name="connsiteX3354" fmla="*/ 179341 w 6942639"/>
                <a:gd name="connsiteY3354" fmla="*/ 6667971 h 9250612"/>
                <a:gd name="connsiteX3355" fmla="*/ 9022 w 6942639"/>
                <a:gd name="connsiteY3355" fmla="*/ 6667971 h 9250612"/>
                <a:gd name="connsiteX3356" fmla="*/ 17982 w 6942639"/>
                <a:gd name="connsiteY3356" fmla="*/ 6676931 h 9250612"/>
                <a:gd name="connsiteX3357" fmla="*/ 9022 w 6942639"/>
                <a:gd name="connsiteY3357" fmla="*/ 6685892 h 9250612"/>
                <a:gd name="connsiteX3358" fmla="*/ 62 w 6942639"/>
                <a:gd name="connsiteY3358" fmla="*/ 6676931 h 9250612"/>
                <a:gd name="connsiteX3359" fmla="*/ 9022 w 6942639"/>
                <a:gd name="connsiteY3359" fmla="*/ 6667971 h 9250612"/>
                <a:gd name="connsiteX3360" fmla="*/ 6933679 w 6942639"/>
                <a:gd name="connsiteY3360" fmla="*/ 6496990 h 9250612"/>
                <a:gd name="connsiteX3361" fmla="*/ 6942639 w 6942639"/>
                <a:gd name="connsiteY3361" fmla="*/ 6505950 h 9250612"/>
                <a:gd name="connsiteX3362" fmla="*/ 6933679 w 6942639"/>
                <a:gd name="connsiteY3362" fmla="*/ 6514911 h 9250612"/>
                <a:gd name="connsiteX3363" fmla="*/ 6924718 w 6942639"/>
                <a:gd name="connsiteY3363" fmla="*/ 6505950 h 9250612"/>
                <a:gd name="connsiteX3364" fmla="*/ 6933679 w 6942639"/>
                <a:gd name="connsiteY3364" fmla="*/ 6496990 h 9250612"/>
                <a:gd name="connsiteX3365" fmla="*/ 6763357 w 6942639"/>
                <a:gd name="connsiteY3365" fmla="*/ 6496990 h 9250612"/>
                <a:gd name="connsiteX3366" fmla="*/ 6772318 w 6942639"/>
                <a:gd name="connsiteY3366" fmla="*/ 6505950 h 9250612"/>
                <a:gd name="connsiteX3367" fmla="*/ 6763357 w 6942639"/>
                <a:gd name="connsiteY3367" fmla="*/ 6514911 h 9250612"/>
                <a:gd name="connsiteX3368" fmla="*/ 6754397 w 6942639"/>
                <a:gd name="connsiteY3368" fmla="*/ 6505950 h 9250612"/>
                <a:gd name="connsiteX3369" fmla="*/ 6763357 w 6942639"/>
                <a:gd name="connsiteY3369" fmla="*/ 6496990 h 9250612"/>
                <a:gd name="connsiteX3370" fmla="*/ 6593035 w 6942639"/>
                <a:gd name="connsiteY3370" fmla="*/ 6496990 h 9250612"/>
                <a:gd name="connsiteX3371" fmla="*/ 6601996 w 6942639"/>
                <a:gd name="connsiteY3371" fmla="*/ 6505950 h 9250612"/>
                <a:gd name="connsiteX3372" fmla="*/ 6593035 w 6942639"/>
                <a:gd name="connsiteY3372" fmla="*/ 6514911 h 9250612"/>
                <a:gd name="connsiteX3373" fmla="*/ 6584075 w 6942639"/>
                <a:gd name="connsiteY3373" fmla="*/ 6505950 h 9250612"/>
                <a:gd name="connsiteX3374" fmla="*/ 6593035 w 6942639"/>
                <a:gd name="connsiteY3374" fmla="*/ 6496990 h 9250612"/>
                <a:gd name="connsiteX3375" fmla="*/ 6424294 w 6942639"/>
                <a:gd name="connsiteY3375" fmla="*/ 6496990 h 9250612"/>
                <a:gd name="connsiteX3376" fmla="*/ 6433255 w 6942639"/>
                <a:gd name="connsiteY3376" fmla="*/ 6505950 h 9250612"/>
                <a:gd name="connsiteX3377" fmla="*/ 6424294 w 6942639"/>
                <a:gd name="connsiteY3377" fmla="*/ 6514911 h 9250612"/>
                <a:gd name="connsiteX3378" fmla="*/ 6415334 w 6942639"/>
                <a:gd name="connsiteY3378" fmla="*/ 6505950 h 9250612"/>
                <a:gd name="connsiteX3379" fmla="*/ 6424294 w 6942639"/>
                <a:gd name="connsiteY3379" fmla="*/ 6496990 h 9250612"/>
                <a:gd name="connsiteX3380" fmla="*/ 6255553 w 6942639"/>
                <a:gd name="connsiteY3380" fmla="*/ 6496990 h 9250612"/>
                <a:gd name="connsiteX3381" fmla="*/ 6264514 w 6942639"/>
                <a:gd name="connsiteY3381" fmla="*/ 6505950 h 9250612"/>
                <a:gd name="connsiteX3382" fmla="*/ 6255553 w 6942639"/>
                <a:gd name="connsiteY3382" fmla="*/ 6514911 h 9250612"/>
                <a:gd name="connsiteX3383" fmla="*/ 6246593 w 6942639"/>
                <a:gd name="connsiteY3383" fmla="*/ 6505950 h 9250612"/>
                <a:gd name="connsiteX3384" fmla="*/ 6255553 w 6942639"/>
                <a:gd name="connsiteY3384" fmla="*/ 6496990 h 9250612"/>
                <a:gd name="connsiteX3385" fmla="*/ 6086811 w 6942639"/>
                <a:gd name="connsiteY3385" fmla="*/ 6496990 h 9250612"/>
                <a:gd name="connsiteX3386" fmla="*/ 6095772 w 6942639"/>
                <a:gd name="connsiteY3386" fmla="*/ 6505950 h 9250612"/>
                <a:gd name="connsiteX3387" fmla="*/ 6086811 w 6942639"/>
                <a:gd name="connsiteY3387" fmla="*/ 6514911 h 9250612"/>
                <a:gd name="connsiteX3388" fmla="*/ 6077851 w 6942639"/>
                <a:gd name="connsiteY3388" fmla="*/ 6505950 h 9250612"/>
                <a:gd name="connsiteX3389" fmla="*/ 6086811 w 6942639"/>
                <a:gd name="connsiteY3389" fmla="*/ 6496990 h 9250612"/>
                <a:gd name="connsiteX3390" fmla="*/ 5918069 w 6942639"/>
                <a:gd name="connsiteY3390" fmla="*/ 6496990 h 9250612"/>
                <a:gd name="connsiteX3391" fmla="*/ 5927030 w 6942639"/>
                <a:gd name="connsiteY3391" fmla="*/ 6505950 h 9250612"/>
                <a:gd name="connsiteX3392" fmla="*/ 5918069 w 6942639"/>
                <a:gd name="connsiteY3392" fmla="*/ 6514911 h 9250612"/>
                <a:gd name="connsiteX3393" fmla="*/ 5909109 w 6942639"/>
                <a:gd name="connsiteY3393" fmla="*/ 6505950 h 9250612"/>
                <a:gd name="connsiteX3394" fmla="*/ 5918069 w 6942639"/>
                <a:gd name="connsiteY3394" fmla="*/ 6496990 h 9250612"/>
                <a:gd name="connsiteX3395" fmla="*/ 5749328 w 6942639"/>
                <a:gd name="connsiteY3395" fmla="*/ 6496990 h 9250612"/>
                <a:gd name="connsiteX3396" fmla="*/ 5758289 w 6942639"/>
                <a:gd name="connsiteY3396" fmla="*/ 6505950 h 9250612"/>
                <a:gd name="connsiteX3397" fmla="*/ 5749328 w 6942639"/>
                <a:gd name="connsiteY3397" fmla="*/ 6514911 h 9250612"/>
                <a:gd name="connsiteX3398" fmla="*/ 5740368 w 6942639"/>
                <a:gd name="connsiteY3398" fmla="*/ 6505950 h 9250612"/>
                <a:gd name="connsiteX3399" fmla="*/ 5749328 w 6942639"/>
                <a:gd name="connsiteY3399" fmla="*/ 6496990 h 9250612"/>
                <a:gd name="connsiteX3400" fmla="*/ 5580586 w 6942639"/>
                <a:gd name="connsiteY3400" fmla="*/ 6496990 h 9250612"/>
                <a:gd name="connsiteX3401" fmla="*/ 5589547 w 6942639"/>
                <a:gd name="connsiteY3401" fmla="*/ 6505950 h 9250612"/>
                <a:gd name="connsiteX3402" fmla="*/ 5580586 w 6942639"/>
                <a:gd name="connsiteY3402" fmla="*/ 6514911 h 9250612"/>
                <a:gd name="connsiteX3403" fmla="*/ 5571626 w 6942639"/>
                <a:gd name="connsiteY3403" fmla="*/ 6505950 h 9250612"/>
                <a:gd name="connsiteX3404" fmla="*/ 5580586 w 6942639"/>
                <a:gd name="connsiteY3404" fmla="*/ 6496990 h 9250612"/>
                <a:gd name="connsiteX3405" fmla="*/ 5411845 w 6942639"/>
                <a:gd name="connsiteY3405" fmla="*/ 6496990 h 9250612"/>
                <a:gd name="connsiteX3406" fmla="*/ 5420806 w 6942639"/>
                <a:gd name="connsiteY3406" fmla="*/ 6505950 h 9250612"/>
                <a:gd name="connsiteX3407" fmla="*/ 5411845 w 6942639"/>
                <a:gd name="connsiteY3407" fmla="*/ 6514911 h 9250612"/>
                <a:gd name="connsiteX3408" fmla="*/ 5402885 w 6942639"/>
                <a:gd name="connsiteY3408" fmla="*/ 6505950 h 9250612"/>
                <a:gd name="connsiteX3409" fmla="*/ 5411845 w 6942639"/>
                <a:gd name="connsiteY3409" fmla="*/ 6496990 h 9250612"/>
                <a:gd name="connsiteX3410" fmla="*/ 5243103 w 6942639"/>
                <a:gd name="connsiteY3410" fmla="*/ 6496990 h 9250612"/>
                <a:gd name="connsiteX3411" fmla="*/ 5252064 w 6942639"/>
                <a:gd name="connsiteY3411" fmla="*/ 6505950 h 9250612"/>
                <a:gd name="connsiteX3412" fmla="*/ 5243103 w 6942639"/>
                <a:gd name="connsiteY3412" fmla="*/ 6514911 h 9250612"/>
                <a:gd name="connsiteX3413" fmla="*/ 5234143 w 6942639"/>
                <a:gd name="connsiteY3413" fmla="*/ 6505950 h 9250612"/>
                <a:gd name="connsiteX3414" fmla="*/ 5243103 w 6942639"/>
                <a:gd name="connsiteY3414" fmla="*/ 6496990 h 9250612"/>
                <a:gd name="connsiteX3415" fmla="*/ 5074362 w 6942639"/>
                <a:gd name="connsiteY3415" fmla="*/ 6496990 h 9250612"/>
                <a:gd name="connsiteX3416" fmla="*/ 5083323 w 6942639"/>
                <a:gd name="connsiteY3416" fmla="*/ 6505950 h 9250612"/>
                <a:gd name="connsiteX3417" fmla="*/ 5074362 w 6942639"/>
                <a:gd name="connsiteY3417" fmla="*/ 6514911 h 9250612"/>
                <a:gd name="connsiteX3418" fmla="*/ 5065402 w 6942639"/>
                <a:gd name="connsiteY3418" fmla="*/ 6505950 h 9250612"/>
                <a:gd name="connsiteX3419" fmla="*/ 5074362 w 6942639"/>
                <a:gd name="connsiteY3419" fmla="*/ 6496990 h 9250612"/>
                <a:gd name="connsiteX3420" fmla="*/ 4905620 w 6942639"/>
                <a:gd name="connsiteY3420" fmla="*/ 6496990 h 9250612"/>
                <a:gd name="connsiteX3421" fmla="*/ 4914581 w 6942639"/>
                <a:gd name="connsiteY3421" fmla="*/ 6505950 h 9250612"/>
                <a:gd name="connsiteX3422" fmla="*/ 4905620 w 6942639"/>
                <a:gd name="connsiteY3422" fmla="*/ 6514911 h 9250612"/>
                <a:gd name="connsiteX3423" fmla="*/ 4896660 w 6942639"/>
                <a:gd name="connsiteY3423" fmla="*/ 6505950 h 9250612"/>
                <a:gd name="connsiteX3424" fmla="*/ 4905620 w 6942639"/>
                <a:gd name="connsiteY3424" fmla="*/ 6496990 h 9250612"/>
                <a:gd name="connsiteX3425" fmla="*/ 4736878 w 6942639"/>
                <a:gd name="connsiteY3425" fmla="*/ 6496990 h 9250612"/>
                <a:gd name="connsiteX3426" fmla="*/ 4745839 w 6942639"/>
                <a:gd name="connsiteY3426" fmla="*/ 6505950 h 9250612"/>
                <a:gd name="connsiteX3427" fmla="*/ 4736878 w 6942639"/>
                <a:gd name="connsiteY3427" fmla="*/ 6514911 h 9250612"/>
                <a:gd name="connsiteX3428" fmla="*/ 4727918 w 6942639"/>
                <a:gd name="connsiteY3428" fmla="*/ 6505950 h 9250612"/>
                <a:gd name="connsiteX3429" fmla="*/ 4736878 w 6942639"/>
                <a:gd name="connsiteY3429" fmla="*/ 6496990 h 9250612"/>
                <a:gd name="connsiteX3430" fmla="*/ 4568137 w 6942639"/>
                <a:gd name="connsiteY3430" fmla="*/ 6496990 h 9250612"/>
                <a:gd name="connsiteX3431" fmla="*/ 4577098 w 6942639"/>
                <a:gd name="connsiteY3431" fmla="*/ 6505950 h 9250612"/>
                <a:gd name="connsiteX3432" fmla="*/ 4568137 w 6942639"/>
                <a:gd name="connsiteY3432" fmla="*/ 6514911 h 9250612"/>
                <a:gd name="connsiteX3433" fmla="*/ 4559177 w 6942639"/>
                <a:gd name="connsiteY3433" fmla="*/ 6505950 h 9250612"/>
                <a:gd name="connsiteX3434" fmla="*/ 4568137 w 6942639"/>
                <a:gd name="connsiteY3434" fmla="*/ 6496990 h 9250612"/>
                <a:gd name="connsiteX3435" fmla="*/ 4399396 w 6942639"/>
                <a:gd name="connsiteY3435" fmla="*/ 6496990 h 9250612"/>
                <a:gd name="connsiteX3436" fmla="*/ 4408357 w 6942639"/>
                <a:gd name="connsiteY3436" fmla="*/ 6505950 h 9250612"/>
                <a:gd name="connsiteX3437" fmla="*/ 4399396 w 6942639"/>
                <a:gd name="connsiteY3437" fmla="*/ 6514911 h 9250612"/>
                <a:gd name="connsiteX3438" fmla="*/ 4390436 w 6942639"/>
                <a:gd name="connsiteY3438" fmla="*/ 6505950 h 9250612"/>
                <a:gd name="connsiteX3439" fmla="*/ 4399396 w 6942639"/>
                <a:gd name="connsiteY3439" fmla="*/ 6496990 h 9250612"/>
                <a:gd name="connsiteX3440" fmla="*/ 4230654 w 6942639"/>
                <a:gd name="connsiteY3440" fmla="*/ 6496990 h 9250612"/>
                <a:gd name="connsiteX3441" fmla="*/ 4239615 w 6942639"/>
                <a:gd name="connsiteY3441" fmla="*/ 6505950 h 9250612"/>
                <a:gd name="connsiteX3442" fmla="*/ 4230654 w 6942639"/>
                <a:gd name="connsiteY3442" fmla="*/ 6514911 h 9250612"/>
                <a:gd name="connsiteX3443" fmla="*/ 4221694 w 6942639"/>
                <a:gd name="connsiteY3443" fmla="*/ 6505950 h 9250612"/>
                <a:gd name="connsiteX3444" fmla="*/ 4230654 w 6942639"/>
                <a:gd name="connsiteY3444" fmla="*/ 6496990 h 9250612"/>
                <a:gd name="connsiteX3445" fmla="*/ 4061912 w 6942639"/>
                <a:gd name="connsiteY3445" fmla="*/ 6496990 h 9250612"/>
                <a:gd name="connsiteX3446" fmla="*/ 4070873 w 6942639"/>
                <a:gd name="connsiteY3446" fmla="*/ 6505950 h 9250612"/>
                <a:gd name="connsiteX3447" fmla="*/ 4061912 w 6942639"/>
                <a:gd name="connsiteY3447" fmla="*/ 6514911 h 9250612"/>
                <a:gd name="connsiteX3448" fmla="*/ 4052952 w 6942639"/>
                <a:gd name="connsiteY3448" fmla="*/ 6505950 h 9250612"/>
                <a:gd name="connsiteX3449" fmla="*/ 4061912 w 6942639"/>
                <a:gd name="connsiteY3449" fmla="*/ 6496990 h 9250612"/>
                <a:gd name="connsiteX3450" fmla="*/ 3893170 w 6942639"/>
                <a:gd name="connsiteY3450" fmla="*/ 6496990 h 9250612"/>
                <a:gd name="connsiteX3451" fmla="*/ 3902131 w 6942639"/>
                <a:gd name="connsiteY3451" fmla="*/ 6505950 h 9250612"/>
                <a:gd name="connsiteX3452" fmla="*/ 3893170 w 6942639"/>
                <a:gd name="connsiteY3452" fmla="*/ 6514911 h 9250612"/>
                <a:gd name="connsiteX3453" fmla="*/ 3884210 w 6942639"/>
                <a:gd name="connsiteY3453" fmla="*/ 6505950 h 9250612"/>
                <a:gd name="connsiteX3454" fmla="*/ 3893170 w 6942639"/>
                <a:gd name="connsiteY3454" fmla="*/ 6496990 h 9250612"/>
                <a:gd name="connsiteX3455" fmla="*/ 3724429 w 6942639"/>
                <a:gd name="connsiteY3455" fmla="*/ 6496990 h 9250612"/>
                <a:gd name="connsiteX3456" fmla="*/ 3733390 w 6942639"/>
                <a:gd name="connsiteY3456" fmla="*/ 6505950 h 9250612"/>
                <a:gd name="connsiteX3457" fmla="*/ 3724429 w 6942639"/>
                <a:gd name="connsiteY3457" fmla="*/ 6514911 h 9250612"/>
                <a:gd name="connsiteX3458" fmla="*/ 3715469 w 6942639"/>
                <a:gd name="connsiteY3458" fmla="*/ 6505950 h 9250612"/>
                <a:gd name="connsiteX3459" fmla="*/ 3724429 w 6942639"/>
                <a:gd name="connsiteY3459" fmla="*/ 6496990 h 9250612"/>
                <a:gd name="connsiteX3460" fmla="*/ 3555688 w 6942639"/>
                <a:gd name="connsiteY3460" fmla="*/ 6496990 h 9250612"/>
                <a:gd name="connsiteX3461" fmla="*/ 3564649 w 6942639"/>
                <a:gd name="connsiteY3461" fmla="*/ 6505950 h 9250612"/>
                <a:gd name="connsiteX3462" fmla="*/ 3555688 w 6942639"/>
                <a:gd name="connsiteY3462" fmla="*/ 6514911 h 9250612"/>
                <a:gd name="connsiteX3463" fmla="*/ 3546728 w 6942639"/>
                <a:gd name="connsiteY3463" fmla="*/ 6505950 h 9250612"/>
                <a:gd name="connsiteX3464" fmla="*/ 3555688 w 6942639"/>
                <a:gd name="connsiteY3464" fmla="*/ 6496990 h 9250612"/>
                <a:gd name="connsiteX3465" fmla="*/ 3386996 w 6942639"/>
                <a:gd name="connsiteY3465" fmla="*/ 6496990 h 9250612"/>
                <a:gd name="connsiteX3466" fmla="*/ 3395956 w 6942639"/>
                <a:gd name="connsiteY3466" fmla="*/ 6505950 h 9250612"/>
                <a:gd name="connsiteX3467" fmla="*/ 3386996 w 6942639"/>
                <a:gd name="connsiteY3467" fmla="*/ 6514911 h 9250612"/>
                <a:gd name="connsiteX3468" fmla="*/ 3378011 w 6942639"/>
                <a:gd name="connsiteY3468" fmla="*/ 6505950 h 9250612"/>
                <a:gd name="connsiteX3469" fmla="*/ 3386996 w 6942639"/>
                <a:gd name="connsiteY3469" fmla="*/ 6496990 h 9250612"/>
                <a:gd name="connsiteX3470" fmla="*/ 3218238 w 6942639"/>
                <a:gd name="connsiteY3470" fmla="*/ 6496990 h 9250612"/>
                <a:gd name="connsiteX3471" fmla="*/ 3227213 w 6942639"/>
                <a:gd name="connsiteY3471" fmla="*/ 6505950 h 9250612"/>
                <a:gd name="connsiteX3472" fmla="*/ 3218238 w 6942639"/>
                <a:gd name="connsiteY3472" fmla="*/ 6514911 h 9250612"/>
                <a:gd name="connsiteX3473" fmla="*/ 3209284 w 6942639"/>
                <a:gd name="connsiteY3473" fmla="*/ 6505950 h 9250612"/>
                <a:gd name="connsiteX3474" fmla="*/ 3218238 w 6942639"/>
                <a:gd name="connsiteY3474" fmla="*/ 6496990 h 9250612"/>
                <a:gd name="connsiteX3475" fmla="*/ 3049528 w 6942639"/>
                <a:gd name="connsiteY3475" fmla="*/ 6496990 h 9250612"/>
                <a:gd name="connsiteX3476" fmla="*/ 3058475 w 6942639"/>
                <a:gd name="connsiteY3476" fmla="*/ 6505950 h 9250612"/>
                <a:gd name="connsiteX3477" fmla="*/ 3049528 w 6942639"/>
                <a:gd name="connsiteY3477" fmla="*/ 6514911 h 9250612"/>
                <a:gd name="connsiteX3478" fmla="*/ 3040553 w 6942639"/>
                <a:gd name="connsiteY3478" fmla="*/ 6505950 h 9250612"/>
                <a:gd name="connsiteX3479" fmla="*/ 3049528 w 6942639"/>
                <a:gd name="connsiteY3479" fmla="*/ 6496990 h 9250612"/>
                <a:gd name="connsiteX3480" fmla="*/ 2880787 w 6942639"/>
                <a:gd name="connsiteY3480" fmla="*/ 6496990 h 9250612"/>
                <a:gd name="connsiteX3481" fmla="*/ 2889744 w 6942639"/>
                <a:gd name="connsiteY3481" fmla="*/ 6505950 h 9250612"/>
                <a:gd name="connsiteX3482" fmla="*/ 2880787 w 6942639"/>
                <a:gd name="connsiteY3482" fmla="*/ 6514911 h 9250612"/>
                <a:gd name="connsiteX3483" fmla="*/ 2871825 w 6942639"/>
                <a:gd name="connsiteY3483" fmla="*/ 6505950 h 9250612"/>
                <a:gd name="connsiteX3484" fmla="*/ 2880787 w 6942639"/>
                <a:gd name="connsiteY3484" fmla="*/ 6496990 h 9250612"/>
                <a:gd name="connsiteX3485" fmla="*/ 2712033 w 6942639"/>
                <a:gd name="connsiteY3485" fmla="*/ 6496990 h 9250612"/>
                <a:gd name="connsiteX3486" fmla="*/ 2721014 w 6942639"/>
                <a:gd name="connsiteY3486" fmla="*/ 6505950 h 9250612"/>
                <a:gd name="connsiteX3487" fmla="*/ 2712033 w 6942639"/>
                <a:gd name="connsiteY3487" fmla="*/ 6514911 h 9250612"/>
                <a:gd name="connsiteX3488" fmla="*/ 2703077 w 6942639"/>
                <a:gd name="connsiteY3488" fmla="*/ 6505950 h 9250612"/>
                <a:gd name="connsiteX3489" fmla="*/ 2712033 w 6942639"/>
                <a:gd name="connsiteY3489" fmla="*/ 6496990 h 9250612"/>
                <a:gd name="connsiteX3490" fmla="*/ 2543312 w 6942639"/>
                <a:gd name="connsiteY3490" fmla="*/ 6496990 h 9250612"/>
                <a:gd name="connsiteX3491" fmla="*/ 2552276 w 6942639"/>
                <a:gd name="connsiteY3491" fmla="*/ 6505950 h 9250612"/>
                <a:gd name="connsiteX3492" fmla="*/ 2543312 w 6942639"/>
                <a:gd name="connsiteY3492" fmla="*/ 6514911 h 9250612"/>
                <a:gd name="connsiteX3493" fmla="*/ 2534349 w 6942639"/>
                <a:gd name="connsiteY3493" fmla="*/ 6505950 h 9250612"/>
                <a:gd name="connsiteX3494" fmla="*/ 2543312 w 6942639"/>
                <a:gd name="connsiteY3494" fmla="*/ 6496990 h 9250612"/>
                <a:gd name="connsiteX3495" fmla="*/ 2374550 w 6942639"/>
                <a:gd name="connsiteY3495" fmla="*/ 6496990 h 9250612"/>
                <a:gd name="connsiteX3496" fmla="*/ 2383532 w 6942639"/>
                <a:gd name="connsiteY3496" fmla="*/ 6505950 h 9250612"/>
                <a:gd name="connsiteX3497" fmla="*/ 2374550 w 6942639"/>
                <a:gd name="connsiteY3497" fmla="*/ 6514911 h 9250612"/>
                <a:gd name="connsiteX3498" fmla="*/ 2365587 w 6942639"/>
                <a:gd name="connsiteY3498" fmla="*/ 6505950 h 9250612"/>
                <a:gd name="connsiteX3499" fmla="*/ 2374550 w 6942639"/>
                <a:gd name="connsiteY3499" fmla="*/ 6496990 h 9250612"/>
                <a:gd name="connsiteX3500" fmla="*/ 2205827 w 6942639"/>
                <a:gd name="connsiteY3500" fmla="*/ 6496990 h 9250612"/>
                <a:gd name="connsiteX3501" fmla="*/ 2214785 w 6942639"/>
                <a:gd name="connsiteY3501" fmla="*/ 6505950 h 9250612"/>
                <a:gd name="connsiteX3502" fmla="*/ 2205827 w 6942639"/>
                <a:gd name="connsiteY3502" fmla="*/ 6514911 h 9250612"/>
                <a:gd name="connsiteX3503" fmla="*/ 2196856 w 6942639"/>
                <a:gd name="connsiteY3503" fmla="*/ 6505950 h 9250612"/>
                <a:gd name="connsiteX3504" fmla="*/ 2205827 w 6942639"/>
                <a:gd name="connsiteY3504" fmla="*/ 6496990 h 9250612"/>
                <a:gd name="connsiteX3505" fmla="*/ 2037081 w 6942639"/>
                <a:gd name="connsiteY3505" fmla="*/ 6496990 h 9250612"/>
                <a:gd name="connsiteX3506" fmla="*/ 2046040 w 6942639"/>
                <a:gd name="connsiteY3506" fmla="*/ 6505950 h 9250612"/>
                <a:gd name="connsiteX3507" fmla="*/ 2037081 w 6942639"/>
                <a:gd name="connsiteY3507" fmla="*/ 6514911 h 9250612"/>
                <a:gd name="connsiteX3508" fmla="*/ 2028134 w 6942639"/>
                <a:gd name="connsiteY3508" fmla="*/ 6505950 h 9250612"/>
                <a:gd name="connsiteX3509" fmla="*/ 2037081 w 6942639"/>
                <a:gd name="connsiteY3509" fmla="*/ 6496990 h 9250612"/>
                <a:gd name="connsiteX3510" fmla="*/ 1868358 w 6942639"/>
                <a:gd name="connsiteY3510" fmla="*/ 6496990 h 9250612"/>
                <a:gd name="connsiteX3511" fmla="*/ 1877312 w 6942639"/>
                <a:gd name="connsiteY3511" fmla="*/ 6505950 h 9250612"/>
                <a:gd name="connsiteX3512" fmla="*/ 1868358 w 6942639"/>
                <a:gd name="connsiteY3512" fmla="*/ 6514911 h 9250612"/>
                <a:gd name="connsiteX3513" fmla="*/ 1859389 w 6942639"/>
                <a:gd name="connsiteY3513" fmla="*/ 6505950 h 9250612"/>
                <a:gd name="connsiteX3514" fmla="*/ 1868358 w 6942639"/>
                <a:gd name="connsiteY3514" fmla="*/ 6496990 h 9250612"/>
                <a:gd name="connsiteX3515" fmla="*/ 1699610 w 6942639"/>
                <a:gd name="connsiteY3515" fmla="*/ 6496990 h 9250612"/>
                <a:gd name="connsiteX3516" fmla="*/ 1708575 w 6942639"/>
                <a:gd name="connsiteY3516" fmla="*/ 6505950 h 9250612"/>
                <a:gd name="connsiteX3517" fmla="*/ 1699610 w 6942639"/>
                <a:gd name="connsiteY3517" fmla="*/ 6514911 h 9250612"/>
                <a:gd name="connsiteX3518" fmla="*/ 1690647 w 6942639"/>
                <a:gd name="connsiteY3518" fmla="*/ 6505950 h 9250612"/>
                <a:gd name="connsiteX3519" fmla="*/ 1699610 w 6942639"/>
                <a:gd name="connsiteY3519" fmla="*/ 6496990 h 9250612"/>
                <a:gd name="connsiteX3520" fmla="*/ 1530869 w 6942639"/>
                <a:gd name="connsiteY3520" fmla="*/ 6496990 h 9250612"/>
                <a:gd name="connsiteX3521" fmla="*/ 1539830 w 6942639"/>
                <a:gd name="connsiteY3521" fmla="*/ 6505950 h 9250612"/>
                <a:gd name="connsiteX3522" fmla="*/ 1530869 w 6942639"/>
                <a:gd name="connsiteY3522" fmla="*/ 6514911 h 9250612"/>
                <a:gd name="connsiteX3523" fmla="*/ 1521908 w 6942639"/>
                <a:gd name="connsiteY3523" fmla="*/ 6505950 h 9250612"/>
                <a:gd name="connsiteX3524" fmla="*/ 1530869 w 6942639"/>
                <a:gd name="connsiteY3524" fmla="*/ 6496990 h 9250612"/>
                <a:gd name="connsiteX3525" fmla="*/ 1362123 w 6942639"/>
                <a:gd name="connsiteY3525" fmla="*/ 6496990 h 9250612"/>
                <a:gd name="connsiteX3526" fmla="*/ 1371083 w 6942639"/>
                <a:gd name="connsiteY3526" fmla="*/ 6505950 h 9250612"/>
                <a:gd name="connsiteX3527" fmla="*/ 1362123 w 6942639"/>
                <a:gd name="connsiteY3527" fmla="*/ 6514911 h 9250612"/>
                <a:gd name="connsiteX3528" fmla="*/ 1353162 w 6942639"/>
                <a:gd name="connsiteY3528" fmla="*/ 6505950 h 9250612"/>
                <a:gd name="connsiteX3529" fmla="*/ 1362123 w 6942639"/>
                <a:gd name="connsiteY3529" fmla="*/ 6496990 h 9250612"/>
                <a:gd name="connsiteX3530" fmla="*/ 1193382 w 6942639"/>
                <a:gd name="connsiteY3530" fmla="*/ 6496990 h 9250612"/>
                <a:gd name="connsiteX3531" fmla="*/ 1202342 w 6942639"/>
                <a:gd name="connsiteY3531" fmla="*/ 6505950 h 9250612"/>
                <a:gd name="connsiteX3532" fmla="*/ 1193382 w 6942639"/>
                <a:gd name="connsiteY3532" fmla="*/ 6514911 h 9250612"/>
                <a:gd name="connsiteX3533" fmla="*/ 1184423 w 6942639"/>
                <a:gd name="connsiteY3533" fmla="*/ 6505950 h 9250612"/>
                <a:gd name="connsiteX3534" fmla="*/ 1193382 w 6942639"/>
                <a:gd name="connsiteY3534" fmla="*/ 6496990 h 9250612"/>
                <a:gd name="connsiteX3535" fmla="*/ 1024634 w 6942639"/>
                <a:gd name="connsiteY3535" fmla="*/ 6496990 h 9250612"/>
                <a:gd name="connsiteX3536" fmla="*/ 1033598 w 6942639"/>
                <a:gd name="connsiteY3536" fmla="*/ 6505950 h 9250612"/>
                <a:gd name="connsiteX3537" fmla="*/ 1024634 w 6942639"/>
                <a:gd name="connsiteY3537" fmla="*/ 6514911 h 9250612"/>
                <a:gd name="connsiteX3538" fmla="*/ 1015675 w 6942639"/>
                <a:gd name="connsiteY3538" fmla="*/ 6505950 h 9250612"/>
                <a:gd name="connsiteX3539" fmla="*/ 1024634 w 6942639"/>
                <a:gd name="connsiteY3539" fmla="*/ 6496990 h 9250612"/>
                <a:gd name="connsiteX3540" fmla="*/ 855900 w 6942639"/>
                <a:gd name="connsiteY3540" fmla="*/ 6496990 h 9250612"/>
                <a:gd name="connsiteX3541" fmla="*/ 864860 w 6942639"/>
                <a:gd name="connsiteY3541" fmla="*/ 6505950 h 9250612"/>
                <a:gd name="connsiteX3542" fmla="*/ 855900 w 6942639"/>
                <a:gd name="connsiteY3542" fmla="*/ 6514911 h 9250612"/>
                <a:gd name="connsiteX3543" fmla="*/ 846941 w 6942639"/>
                <a:gd name="connsiteY3543" fmla="*/ 6505950 h 9250612"/>
                <a:gd name="connsiteX3544" fmla="*/ 855900 w 6942639"/>
                <a:gd name="connsiteY3544" fmla="*/ 6496990 h 9250612"/>
                <a:gd name="connsiteX3545" fmla="*/ 687159 w 6942639"/>
                <a:gd name="connsiteY3545" fmla="*/ 6496990 h 9250612"/>
                <a:gd name="connsiteX3546" fmla="*/ 696120 w 6942639"/>
                <a:gd name="connsiteY3546" fmla="*/ 6505950 h 9250612"/>
                <a:gd name="connsiteX3547" fmla="*/ 687159 w 6942639"/>
                <a:gd name="connsiteY3547" fmla="*/ 6514911 h 9250612"/>
                <a:gd name="connsiteX3548" fmla="*/ 678200 w 6942639"/>
                <a:gd name="connsiteY3548" fmla="*/ 6505950 h 9250612"/>
                <a:gd name="connsiteX3549" fmla="*/ 687159 w 6942639"/>
                <a:gd name="connsiteY3549" fmla="*/ 6496990 h 9250612"/>
                <a:gd name="connsiteX3550" fmla="*/ 518404 w 6942639"/>
                <a:gd name="connsiteY3550" fmla="*/ 6496990 h 9250612"/>
                <a:gd name="connsiteX3551" fmla="*/ 527365 w 6942639"/>
                <a:gd name="connsiteY3551" fmla="*/ 6505950 h 9250612"/>
                <a:gd name="connsiteX3552" fmla="*/ 518404 w 6942639"/>
                <a:gd name="connsiteY3552" fmla="*/ 6514911 h 9250612"/>
                <a:gd name="connsiteX3553" fmla="*/ 509444 w 6942639"/>
                <a:gd name="connsiteY3553" fmla="*/ 6505950 h 9250612"/>
                <a:gd name="connsiteX3554" fmla="*/ 518404 w 6942639"/>
                <a:gd name="connsiteY3554" fmla="*/ 6496990 h 9250612"/>
                <a:gd name="connsiteX3555" fmla="*/ 349665 w 6942639"/>
                <a:gd name="connsiteY3555" fmla="*/ 6496990 h 9250612"/>
                <a:gd name="connsiteX3556" fmla="*/ 358625 w 6942639"/>
                <a:gd name="connsiteY3556" fmla="*/ 6505950 h 9250612"/>
                <a:gd name="connsiteX3557" fmla="*/ 349665 w 6942639"/>
                <a:gd name="connsiteY3557" fmla="*/ 6514911 h 9250612"/>
                <a:gd name="connsiteX3558" fmla="*/ 340705 w 6942639"/>
                <a:gd name="connsiteY3558" fmla="*/ 6505950 h 9250612"/>
                <a:gd name="connsiteX3559" fmla="*/ 349665 w 6942639"/>
                <a:gd name="connsiteY3559" fmla="*/ 6496990 h 9250612"/>
                <a:gd name="connsiteX3560" fmla="*/ 179345 w 6942639"/>
                <a:gd name="connsiteY3560" fmla="*/ 6496990 h 9250612"/>
                <a:gd name="connsiteX3561" fmla="*/ 188306 w 6942639"/>
                <a:gd name="connsiteY3561" fmla="*/ 6505950 h 9250612"/>
                <a:gd name="connsiteX3562" fmla="*/ 179345 w 6942639"/>
                <a:gd name="connsiteY3562" fmla="*/ 6514911 h 9250612"/>
                <a:gd name="connsiteX3563" fmla="*/ 170385 w 6942639"/>
                <a:gd name="connsiteY3563" fmla="*/ 6505950 h 9250612"/>
                <a:gd name="connsiteX3564" fmla="*/ 179345 w 6942639"/>
                <a:gd name="connsiteY3564" fmla="*/ 6496990 h 9250612"/>
                <a:gd name="connsiteX3565" fmla="*/ 9026 w 6942639"/>
                <a:gd name="connsiteY3565" fmla="*/ 6496990 h 9250612"/>
                <a:gd name="connsiteX3566" fmla="*/ 17986 w 6942639"/>
                <a:gd name="connsiteY3566" fmla="*/ 6505950 h 9250612"/>
                <a:gd name="connsiteX3567" fmla="*/ 9026 w 6942639"/>
                <a:gd name="connsiteY3567" fmla="*/ 6514911 h 9250612"/>
                <a:gd name="connsiteX3568" fmla="*/ 66 w 6942639"/>
                <a:gd name="connsiteY3568" fmla="*/ 6505950 h 9250612"/>
                <a:gd name="connsiteX3569" fmla="*/ 9026 w 6942639"/>
                <a:gd name="connsiteY3569" fmla="*/ 6496990 h 9250612"/>
                <a:gd name="connsiteX3570" fmla="*/ 6933679 w 6942639"/>
                <a:gd name="connsiteY3570" fmla="*/ 6326009 h 9250612"/>
                <a:gd name="connsiteX3571" fmla="*/ 6942639 w 6942639"/>
                <a:gd name="connsiteY3571" fmla="*/ 6334969 h 9250612"/>
                <a:gd name="connsiteX3572" fmla="*/ 6933679 w 6942639"/>
                <a:gd name="connsiteY3572" fmla="*/ 6343930 h 9250612"/>
                <a:gd name="connsiteX3573" fmla="*/ 6924718 w 6942639"/>
                <a:gd name="connsiteY3573" fmla="*/ 6334969 h 9250612"/>
                <a:gd name="connsiteX3574" fmla="*/ 6933679 w 6942639"/>
                <a:gd name="connsiteY3574" fmla="*/ 6326009 h 9250612"/>
                <a:gd name="connsiteX3575" fmla="*/ 6763357 w 6942639"/>
                <a:gd name="connsiteY3575" fmla="*/ 6326009 h 9250612"/>
                <a:gd name="connsiteX3576" fmla="*/ 6772318 w 6942639"/>
                <a:gd name="connsiteY3576" fmla="*/ 6334969 h 9250612"/>
                <a:gd name="connsiteX3577" fmla="*/ 6763357 w 6942639"/>
                <a:gd name="connsiteY3577" fmla="*/ 6343930 h 9250612"/>
                <a:gd name="connsiteX3578" fmla="*/ 6754397 w 6942639"/>
                <a:gd name="connsiteY3578" fmla="*/ 6334969 h 9250612"/>
                <a:gd name="connsiteX3579" fmla="*/ 6763357 w 6942639"/>
                <a:gd name="connsiteY3579" fmla="*/ 6326009 h 9250612"/>
                <a:gd name="connsiteX3580" fmla="*/ 6593035 w 6942639"/>
                <a:gd name="connsiteY3580" fmla="*/ 6326009 h 9250612"/>
                <a:gd name="connsiteX3581" fmla="*/ 6601996 w 6942639"/>
                <a:gd name="connsiteY3581" fmla="*/ 6334969 h 9250612"/>
                <a:gd name="connsiteX3582" fmla="*/ 6593035 w 6942639"/>
                <a:gd name="connsiteY3582" fmla="*/ 6343930 h 9250612"/>
                <a:gd name="connsiteX3583" fmla="*/ 6584075 w 6942639"/>
                <a:gd name="connsiteY3583" fmla="*/ 6334969 h 9250612"/>
                <a:gd name="connsiteX3584" fmla="*/ 6593035 w 6942639"/>
                <a:gd name="connsiteY3584" fmla="*/ 6326009 h 9250612"/>
                <a:gd name="connsiteX3585" fmla="*/ 6424294 w 6942639"/>
                <a:gd name="connsiteY3585" fmla="*/ 6326009 h 9250612"/>
                <a:gd name="connsiteX3586" fmla="*/ 6433255 w 6942639"/>
                <a:gd name="connsiteY3586" fmla="*/ 6334969 h 9250612"/>
                <a:gd name="connsiteX3587" fmla="*/ 6424294 w 6942639"/>
                <a:gd name="connsiteY3587" fmla="*/ 6343930 h 9250612"/>
                <a:gd name="connsiteX3588" fmla="*/ 6415334 w 6942639"/>
                <a:gd name="connsiteY3588" fmla="*/ 6334969 h 9250612"/>
                <a:gd name="connsiteX3589" fmla="*/ 6424294 w 6942639"/>
                <a:gd name="connsiteY3589" fmla="*/ 6326009 h 9250612"/>
                <a:gd name="connsiteX3590" fmla="*/ 6255553 w 6942639"/>
                <a:gd name="connsiteY3590" fmla="*/ 6326009 h 9250612"/>
                <a:gd name="connsiteX3591" fmla="*/ 6264514 w 6942639"/>
                <a:gd name="connsiteY3591" fmla="*/ 6334969 h 9250612"/>
                <a:gd name="connsiteX3592" fmla="*/ 6255553 w 6942639"/>
                <a:gd name="connsiteY3592" fmla="*/ 6343930 h 9250612"/>
                <a:gd name="connsiteX3593" fmla="*/ 6246593 w 6942639"/>
                <a:gd name="connsiteY3593" fmla="*/ 6334969 h 9250612"/>
                <a:gd name="connsiteX3594" fmla="*/ 6255553 w 6942639"/>
                <a:gd name="connsiteY3594" fmla="*/ 6326009 h 9250612"/>
                <a:gd name="connsiteX3595" fmla="*/ 6086811 w 6942639"/>
                <a:gd name="connsiteY3595" fmla="*/ 6326009 h 9250612"/>
                <a:gd name="connsiteX3596" fmla="*/ 6095772 w 6942639"/>
                <a:gd name="connsiteY3596" fmla="*/ 6334969 h 9250612"/>
                <a:gd name="connsiteX3597" fmla="*/ 6086811 w 6942639"/>
                <a:gd name="connsiteY3597" fmla="*/ 6343930 h 9250612"/>
                <a:gd name="connsiteX3598" fmla="*/ 6077851 w 6942639"/>
                <a:gd name="connsiteY3598" fmla="*/ 6334969 h 9250612"/>
                <a:gd name="connsiteX3599" fmla="*/ 6086811 w 6942639"/>
                <a:gd name="connsiteY3599" fmla="*/ 6326009 h 9250612"/>
                <a:gd name="connsiteX3600" fmla="*/ 5918069 w 6942639"/>
                <a:gd name="connsiteY3600" fmla="*/ 6326009 h 9250612"/>
                <a:gd name="connsiteX3601" fmla="*/ 5927030 w 6942639"/>
                <a:gd name="connsiteY3601" fmla="*/ 6334969 h 9250612"/>
                <a:gd name="connsiteX3602" fmla="*/ 5918069 w 6942639"/>
                <a:gd name="connsiteY3602" fmla="*/ 6343930 h 9250612"/>
                <a:gd name="connsiteX3603" fmla="*/ 5909109 w 6942639"/>
                <a:gd name="connsiteY3603" fmla="*/ 6334969 h 9250612"/>
                <a:gd name="connsiteX3604" fmla="*/ 5918069 w 6942639"/>
                <a:gd name="connsiteY3604" fmla="*/ 6326009 h 9250612"/>
                <a:gd name="connsiteX3605" fmla="*/ 5749328 w 6942639"/>
                <a:gd name="connsiteY3605" fmla="*/ 6326009 h 9250612"/>
                <a:gd name="connsiteX3606" fmla="*/ 5758289 w 6942639"/>
                <a:gd name="connsiteY3606" fmla="*/ 6334969 h 9250612"/>
                <a:gd name="connsiteX3607" fmla="*/ 5749328 w 6942639"/>
                <a:gd name="connsiteY3607" fmla="*/ 6343930 h 9250612"/>
                <a:gd name="connsiteX3608" fmla="*/ 5740368 w 6942639"/>
                <a:gd name="connsiteY3608" fmla="*/ 6334969 h 9250612"/>
                <a:gd name="connsiteX3609" fmla="*/ 5749328 w 6942639"/>
                <a:gd name="connsiteY3609" fmla="*/ 6326009 h 9250612"/>
                <a:gd name="connsiteX3610" fmla="*/ 5580586 w 6942639"/>
                <a:gd name="connsiteY3610" fmla="*/ 6326009 h 9250612"/>
                <a:gd name="connsiteX3611" fmla="*/ 5589547 w 6942639"/>
                <a:gd name="connsiteY3611" fmla="*/ 6334969 h 9250612"/>
                <a:gd name="connsiteX3612" fmla="*/ 5580586 w 6942639"/>
                <a:gd name="connsiteY3612" fmla="*/ 6343930 h 9250612"/>
                <a:gd name="connsiteX3613" fmla="*/ 5571626 w 6942639"/>
                <a:gd name="connsiteY3613" fmla="*/ 6334969 h 9250612"/>
                <a:gd name="connsiteX3614" fmla="*/ 5580586 w 6942639"/>
                <a:gd name="connsiteY3614" fmla="*/ 6326009 h 9250612"/>
                <a:gd name="connsiteX3615" fmla="*/ 5411845 w 6942639"/>
                <a:gd name="connsiteY3615" fmla="*/ 6326009 h 9250612"/>
                <a:gd name="connsiteX3616" fmla="*/ 5420806 w 6942639"/>
                <a:gd name="connsiteY3616" fmla="*/ 6334969 h 9250612"/>
                <a:gd name="connsiteX3617" fmla="*/ 5411845 w 6942639"/>
                <a:gd name="connsiteY3617" fmla="*/ 6343930 h 9250612"/>
                <a:gd name="connsiteX3618" fmla="*/ 5402885 w 6942639"/>
                <a:gd name="connsiteY3618" fmla="*/ 6334969 h 9250612"/>
                <a:gd name="connsiteX3619" fmla="*/ 5411845 w 6942639"/>
                <a:gd name="connsiteY3619" fmla="*/ 6326009 h 9250612"/>
                <a:gd name="connsiteX3620" fmla="*/ 5243103 w 6942639"/>
                <a:gd name="connsiteY3620" fmla="*/ 6326009 h 9250612"/>
                <a:gd name="connsiteX3621" fmla="*/ 5252064 w 6942639"/>
                <a:gd name="connsiteY3621" fmla="*/ 6334969 h 9250612"/>
                <a:gd name="connsiteX3622" fmla="*/ 5243103 w 6942639"/>
                <a:gd name="connsiteY3622" fmla="*/ 6343930 h 9250612"/>
                <a:gd name="connsiteX3623" fmla="*/ 5234143 w 6942639"/>
                <a:gd name="connsiteY3623" fmla="*/ 6334969 h 9250612"/>
                <a:gd name="connsiteX3624" fmla="*/ 5243103 w 6942639"/>
                <a:gd name="connsiteY3624" fmla="*/ 6326009 h 9250612"/>
                <a:gd name="connsiteX3625" fmla="*/ 5074362 w 6942639"/>
                <a:gd name="connsiteY3625" fmla="*/ 6326009 h 9250612"/>
                <a:gd name="connsiteX3626" fmla="*/ 5083323 w 6942639"/>
                <a:gd name="connsiteY3626" fmla="*/ 6334969 h 9250612"/>
                <a:gd name="connsiteX3627" fmla="*/ 5074362 w 6942639"/>
                <a:gd name="connsiteY3627" fmla="*/ 6343930 h 9250612"/>
                <a:gd name="connsiteX3628" fmla="*/ 5065402 w 6942639"/>
                <a:gd name="connsiteY3628" fmla="*/ 6334969 h 9250612"/>
                <a:gd name="connsiteX3629" fmla="*/ 5074362 w 6942639"/>
                <a:gd name="connsiteY3629" fmla="*/ 6326009 h 9250612"/>
                <a:gd name="connsiteX3630" fmla="*/ 4905620 w 6942639"/>
                <a:gd name="connsiteY3630" fmla="*/ 6326009 h 9250612"/>
                <a:gd name="connsiteX3631" fmla="*/ 4914581 w 6942639"/>
                <a:gd name="connsiteY3631" fmla="*/ 6334969 h 9250612"/>
                <a:gd name="connsiteX3632" fmla="*/ 4905620 w 6942639"/>
                <a:gd name="connsiteY3632" fmla="*/ 6343930 h 9250612"/>
                <a:gd name="connsiteX3633" fmla="*/ 4896660 w 6942639"/>
                <a:gd name="connsiteY3633" fmla="*/ 6334969 h 9250612"/>
                <a:gd name="connsiteX3634" fmla="*/ 4905620 w 6942639"/>
                <a:gd name="connsiteY3634" fmla="*/ 6326009 h 9250612"/>
                <a:gd name="connsiteX3635" fmla="*/ 4736878 w 6942639"/>
                <a:gd name="connsiteY3635" fmla="*/ 6326009 h 9250612"/>
                <a:gd name="connsiteX3636" fmla="*/ 4745839 w 6942639"/>
                <a:gd name="connsiteY3636" fmla="*/ 6334969 h 9250612"/>
                <a:gd name="connsiteX3637" fmla="*/ 4736878 w 6942639"/>
                <a:gd name="connsiteY3637" fmla="*/ 6343930 h 9250612"/>
                <a:gd name="connsiteX3638" fmla="*/ 4727918 w 6942639"/>
                <a:gd name="connsiteY3638" fmla="*/ 6334969 h 9250612"/>
                <a:gd name="connsiteX3639" fmla="*/ 4736878 w 6942639"/>
                <a:gd name="connsiteY3639" fmla="*/ 6326009 h 9250612"/>
                <a:gd name="connsiteX3640" fmla="*/ 4568137 w 6942639"/>
                <a:gd name="connsiteY3640" fmla="*/ 6326009 h 9250612"/>
                <a:gd name="connsiteX3641" fmla="*/ 4577098 w 6942639"/>
                <a:gd name="connsiteY3641" fmla="*/ 6334969 h 9250612"/>
                <a:gd name="connsiteX3642" fmla="*/ 4568137 w 6942639"/>
                <a:gd name="connsiteY3642" fmla="*/ 6343930 h 9250612"/>
                <a:gd name="connsiteX3643" fmla="*/ 4559177 w 6942639"/>
                <a:gd name="connsiteY3643" fmla="*/ 6334969 h 9250612"/>
                <a:gd name="connsiteX3644" fmla="*/ 4568137 w 6942639"/>
                <a:gd name="connsiteY3644" fmla="*/ 6326009 h 9250612"/>
                <a:gd name="connsiteX3645" fmla="*/ 4399396 w 6942639"/>
                <a:gd name="connsiteY3645" fmla="*/ 6326009 h 9250612"/>
                <a:gd name="connsiteX3646" fmla="*/ 4408357 w 6942639"/>
                <a:gd name="connsiteY3646" fmla="*/ 6334969 h 9250612"/>
                <a:gd name="connsiteX3647" fmla="*/ 4399396 w 6942639"/>
                <a:gd name="connsiteY3647" fmla="*/ 6343930 h 9250612"/>
                <a:gd name="connsiteX3648" fmla="*/ 4390436 w 6942639"/>
                <a:gd name="connsiteY3648" fmla="*/ 6334969 h 9250612"/>
                <a:gd name="connsiteX3649" fmla="*/ 4399396 w 6942639"/>
                <a:gd name="connsiteY3649" fmla="*/ 6326009 h 9250612"/>
                <a:gd name="connsiteX3650" fmla="*/ 4230654 w 6942639"/>
                <a:gd name="connsiteY3650" fmla="*/ 6326009 h 9250612"/>
                <a:gd name="connsiteX3651" fmla="*/ 4239615 w 6942639"/>
                <a:gd name="connsiteY3651" fmla="*/ 6334969 h 9250612"/>
                <a:gd name="connsiteX3652" fmla="*/ 4230654 w 6942639"/>
                <a:gd name="connsiteY3652" fmla="*/ 6343930 h 9250612"/>
                <a:gd name="connsiteX3653" fmla="*/ 4221694 w 6942639"/>
                <a:gd name="connsiteY3653" fmla="*/ 6334969 h 9250612"/>
                <a:gd name="connsiteX3654" fmla="*/ 4230654 w 6942639"/>
                <a:gd name="connsiteY3654" fmla="*/ 6326009 h 9250612"/>
                <a:gd name="connsiteX3655" fmla="*/ 4061912 w 6942639"/>
                <a:gd name="connsiteY3655" fmla="*/ 6326009 h 9250612"/>
                <a:gd name="connsiteX3656" fmla="*/ 4070873 w 6942639"/>
                <a:gd name="connsiteY3656" fmla="*/ 6334969 h 9250612"/>
                <a:gd name="connsiteX3657" fmla="*/ 4061912 w 6942639"/>
                <a:gd name="connsiteY3657" fmla="*/ 6343930 h 9250612"/>
                <a:gd name="connsiteX3658" fmla="*/ 4052952 w 6942639"/>
                <a:gd name="connsiteY3658" fmla="*/ 6334969 h 9250612"/>
                <a:gd name="connsiteX3659" fmla="*/ 4061912 w 6942639"/>
                <a:gd name="connsiteY3659" fmla="*/ 6326009 h 9250612"/>
                <a:gd name="connsiteX3660" fmla="*/ 3893170 w 6942639"/>
                <a:gd name="connsiteY3660" fmla="*/ 6326009 h 9250612"/>
                <a:gd name="connsiteX3661" fmla="*/ 3902131 w 6942639"/>
                <a:gd name="connsiteY3661" fmla="*/ 6334969 h 9250612"/>
                <a:gd name="connsiteX3662" fmla="*/ 3893170 w 6942639"/>
                <a:gd name="connsiteY3662" fmla="*/ 6343930 h 9250612"/>
                <a:gd name="connsiteX3663" fmla="*/ 3884210 w 6942639"/>
                <a:gd name="connsiteY3663" fmla="*/ 6334969 h 9250612"/>
                <a:gd name="connsiteX3664" fmla="*/ 3893170 w 6942639"/>
                <a:gd name="connsiteY3664" fmla="*/ 6326009 h 9250612"/>
                <a:gd name="connsiteX3665" fmla="*/ 3724429 w 6942639"/>
                <a:gd name="connsiteY3665" fmla="*/ 6326009 h 9250612"/>
                <a:gd name="connsiteX3666" fmla="*/ 3733390 w 6942639"/>
                <a:gd name="connsiteY3666" fmla="*/ 6334969 h 9250612"/>
                <a:gd name="connsiteX3667" fmla="*/ 3724429 w 6942639"/>
                <a:gd name="connsiteY3667" fmla="*/ 6343930 h 9250612"/>
                <a:gd name="connsiteX3668" fmla="*/ 3715469 w 6942639"/>
                <a:gd name="connsiteY3668" fmla="*/ 6334969 h 9250612"/>
                <a:gd name="connsiteX3669" fmla="*/ 3724429 w 6942639"/>
                <a:gd name="connsiteY3669" fmla="*/ 6326009 h 9250612"/>
                <a:gd name="connsiteX3670" fmla="*/ 3555688 w 6942639"/>
                <a:gd name="connsiteY3670" fmla="*/ 6326009 h 9250612"/>
                <a:gd name="connsiteX3671" fmla="*/ 3564649 w 6942639"/>
                <a:gd name="connsiteY3671" fmla="*/ 6334969 h 9250612"/>
                <a:gd name="connsiteX3672" fmla="*/ 3555688 w 6942639"/>
                <a:gd name="connsiteY3672" fmla="*/ 6343930 h 9250612"/>
                <a:gd name="connsiteX3673" fmla="*/ 3546728 w 6942639"/>
                <a:gd name="connsiteY3673" fmla="*/ 6334969 h 9250612"/>
                <a:gd name="connsiteX3674" fmla="*/ 3555688 w 6942639"/>
                <a:gd name="connsiteY3674" fmla="*/ 6326009 h 9250612"/>
                <a:gd name="connsiteX3675" fmla="*/ 3386999 w 6942639"/>
                <a:gd name="connsiteY3675" fmla="*/ 6326009 h 9250612"/>
                <a:gd name="connsiteX3676" fmla="*/ 3395959 w 6942639"/>
                <a:gd name="connsiteY3676" fmla="*/ 6334969 h 9250612"/>
                <a:gd name="connsiteX3677" fmla="*/ 3386999 w 6942639"/>
                <a:gd name="connsiteY3677" fmla="*/ 6343930 h 9250612"/>
                <a:gd name="connsiteX3678" fmla="*/ 3378012 w 6942639"/>
                <a:gd name="connsiteY3678" fmla="*/ 6334969 h 9250612"/>
                <a:gd name="connsiteX3679" fmla="*/ 3386999 w 6942639"/>
                <a:gd name="connsiteY3679" fmla="*/ 6326009 h 9250612"/>
                <a:gd name="connsiteX3680" fmla="*/ 3218241 w 6942639"/>
                <a:gd name="connsiteY3680" fmla="*/ 6326009 h 9250612"/>
                <a:gd name="connsiteX3681" fmla="*/ 3227216 w 6942639"/>
                <a:gd name="connsiteY3681" fmla="*/ 6334969 h 9250612"/>
                <a:gd name="connsiteX3682" fmla="*/ 3218241 w 6942639"/>
                <a:gd name="connsiteY3682" fmla="*/ 6343930 h 9250612"/>
                <a:gd name="connsiteX3683" fmla="*/ 3209287 w 6942639"/>
                <a:gd name="connsiteY3683" fmla="*/ 6334969 h 9250612"/>
                <a:gd name="connsiteX3684" fmla="*/ 3218241 w 6942639"/>
                <a:gd name="connsiteY3684" fmla="*/ 6326009 h 9250612"/>
                <a:gd name="connsiteX3685" fmla="*/ 3049531 w 6942639"/>
                <a:gd name="connsiteY3685" fmla="*/ 6326009 h 9250612"/>
                <a:gd name="connsiteX3686" fmla="*/ 3058478 w 6942639"/>
                <a:gd name="connsiteY3686" fmla="*/ 6334969 h 9250612"/>
                <a:gd name="connsiteX3687" fmla="*/ 3049531 w 6942639"/>
                <a:gd name="connsiteY3687" fmla="*/ 6343930 h 9250612"/>
                <a:gd name="connsiteX3688" fmla="*/ 3040556 w 6942639"/>
                <a:gd name="connsiteY3688" fmla="*/ 6334969 h 9250612"/>
                <a:gd name="connsiteX3689" fmla="*/ 3049531 w 6942639"/>
                <a:gd name="connsiteY3689" fmla="*/ 6326009 h 9250612"/>
                <a:gd name="connsiteX3690" fmla="*/ 2880791 w 6942639"/>
                <a:gd name="connsiteY3690" fmla="*/ 6326009 h 9250612"/>
                <a:gd name="connsiteX3691" fmla="*/ 2889748 w 6942639"/>
                <a:gd name="connsiteY3691" fmla="*/ 6334969 h 9250612"/>
                <a:gd name="connsiteX3692" fmla="*/ 2880791 w 6942639"/>
                <a:gd name="connsiteY3692" fmla="*/ 6343930 h 9250612"/>
                <a:gd name="connsiteX3693" fmla="*/ 2871828 w 6942639"/>
                <a:gd name="connsiteY3693" fmla="*/ 6334969 h 9250612"/>
                <a:gd name="connsiteX3694" fmla="*/ 2880791 w 6942639"/>
                <a:gd name="connsiteY3694" fmla="*/ 6326009 h 9250612"/>
                <a:gd name="connsiteX3695" fmla="*/ 2712036 w 6942639"/>
                <a:gd name="connsiteY3695" fmla="*/ 6326009 h 9250612"/>
                <a:gd name="connsiteX3696" fmla="*/ 2721018 w 6942639"/>
                <a:gd name="connsiteY3696" fmla="*/ 6334969 h 9250612"/>
                <a:gd name="connsiteX3697" fmla="*/ 2712036 w 6942639"/>
                <a:gd name="connsiteY3697" fmla="*/ 6343930 h 9250612"/>
                <a:gd name="connsiteX3698" fmla="*/ 2703080 w 6942639"/>
                <a:gd name="connsiteY3698" fmla="*/ 6334969 h 9250612"/>
                <a:gd name="connsiteX3699" fmla="*/ 2712036 w 6942639"/>
                <a:gd name="connsiteY3699" fmla="*/ 6326009 h 9250612"/>
                <a:gd name="connsiteX3700" fmla="*/ 2543316 w 6942639"/>
                <a:gd name="connsiteY3700" fmla="*/ 6326009 h 9250612"/>
                <a:gd name="connsiteX3701" fmla="*/ 2552281 w 6942639"/>
                <a:gd name="connsiteY3701" fmla="*/ 6334969 h 9250612"/>
                <a:gd name="connsiteX3702" fmla="*/ 2543316 w 6942639"/>
                <a:gd name="connsiteY3702" fmla="*/ 6343930 h 9250612"/>
                <a:gd name="connsiteX3703" fmla="*/ 2534352 w 6942639"/>
                <a:gd name="connsiteY3703" fmla="*/ 6334969 h 9250612"/>
                <a:gd name="connsiteX3704" fmla="*/ 2543316 w 6942639"/>
                <a:gd name="connsiteY3704" fmla="*/ 6326009 h 9250612"/>
                <a:gd name="connsiteX3705" fmla="*/ 2374553 w 6942639"/>
                <a:gd name="connsiteY3705" fmla="*/ 6326009 h 9250612"/>
                <a:gd name="connsiteX3706" fmla="*/ 2383537 w 6942639"/>
                <a:gd name="connsiteY3706" fmla="*/ 6334969 h 9250612"/>
                <a:gd name="connsiteX3707" fmla="*/ 2374553 w 6942639"/>
                <a:gd name="connsiteY3707" fmla="*/ 6343930 h 9250612"/>
                <a:gd name="connsiteX3708" fmla="*/ 2365590 w 6942639"/>
                <a:gd name="connsiteY3708" fmla="*/ 6334969 h 9250612"/>
                <a:gd name="connsiteX3709" fmla="*/ 2374553 w 6942639"/>
                <a:gd name="connsiteY3709" fmla="*/ 6326009 h 9250612"/>
                <a:gd name="connsiteX3710" fmla="*/ 2205831 w 6942639"/>
                <a:gd name="connsiteY3710" fmla="*/ 6326009 h 9250612"/>
                <a:gd name="connsiteX3711" fmla="*/ 2214789 w 6942639"/>
                <a:gd name="connsiteY3711" fmla="*/ 6334969 h 9250612"/>
                <a:gd name="connsiteX3712" fmla="*/ 2205831 w 6942639"/>
                <a:gd name="connsiteY3712" fmla="*/ 6343930 h 9250612"/>
                <a:gd name="connsiteX3713" fmla="*/ 2196859 w 6942639"/>
                <a:gd name="connsiteY3713" fmla="*/ 6334969 h 9250612"/>
                <a:gd name="connsiteX3714" fmla="*/ 2205831 w 6942639"/>
                <a:gd name="connsiteY3714" fmla="*/ 6326009 h 9250612"/>
                <a:gd name="connsiteX3715" fmla="*/ 2037085 w 6942639"/>
                <a:gd name="connsiteY3715" fmla="*/ 6326009 h 9250612"/>
                <a:gd name="connsiteX3716" fmla="*/ 2046044 w 6942639"/>
                <a:gd name="connsiteY3716" fmla="*/ 6334969 h 9250612"/>
                <a:gd name="connsiteX3717" fmla="*/ 2037085 w 6942639"/>
                <a:gd name="connsiteY3717" fmla="*/ 6343930 h 9250612"/>
                <a:gd name="connsiteX3718" fmla="*/ 2028138 w 6942639"/>
                <a:gd name="connsiteY3718" fmla="*/ 6334969 h 9250612"/>
                <a:gd name="connsiteX3719" fmla="*/ 2037085 w 6942639"/>
                <a:gd name="connsiteY3719" fmla="*/ 6326009 h 9250612"/>
                <a:gd name="connsiteX3720" fmla="*/ 1868362 w 6942639"/>
                <a:gd name="connsiteY3720" fmla="*/ 6326009 h 9250612"/>
                <a:gd name="connsiteX3721" fmla="*/ 1877318 w 6942639"/>
                <a:gd name="connsiteY3721" fmla="*/ 6334969 h 9250612"/>
                <a:gd name="connsiteX3722" fmla="*/ 1868362 w 6942639"/>
                <a:gd name="connsiteY3722" fmla="*/ 6343930 h 9250612"/>
                <a:gd name="connsiteX3723" fmla="*/ 1859393 w 6942639"/>
                <a:gd name="connsiteY3723" fmla="*/ 6334969 h 9250612"/>
                <a:gd name="connsiteX3724" fmla="*/ 1868362 w 6942639"/>
                <a:gd name="connsiteY3724" fmla="*/ 6326009 h 9250612"/>
                <a:gd name="connsiteX3725" fmla="*/ 1699615 w 6942639"/>
                <a:gd name="connsiteY3725" fmla="*/ 6326009 h 9250612"/>
                <a:gd name="connsiteX3726" fmla="*/ 1708580 w 6942639"/>
                <a:gd name="connsiteY3726" fmla="*/ 6334969 h 9250612"/>
                <a:gd name="connsiteX3727" fmla="*/ 1699615 w 6942639"/>
                <a:gd name="connsiteY3727" fmla="*/ 6343930 h 9250612"/>
                <a:gd name="connsiteX3728" fmla="*/ 1690652 w 6942639"/>
                <a:gd name="connsiteY3728" fmla="*/ 6334969 h 9250612"/>
                <a:gd name="connsiteX3729" fmla="*/ 1699615 w 6942639"/>
                <a:gd name="connsiteY3729" fmla="*/ 6326009 h 9250612"/>
                <a:gd name="connsiteX3730" fmla="*/ 1530874 w 6942639"/>
                <a:gd name="connsiteY3730" fmla="*/ 6326009 h 9250612"/>
                <a:gd name="connsiteX3731" fmla="*/ 1539835 w 6942639"/>
                <a:gd name="connsiteY3731" fmla="*/ 6334969 h 9250612"/>
                <a:gd name="connsiteX3732" fmla="*/ 1530874 w 6942639"/>
                <a:gd name="connsiteY3732" fmla="*/ 6343930 h 9250612"/>
                <a:gd name="connsiteX3733" fmla="*/ 1521913 w 6942639"/>
                <a:gd name="connsiteY3733" fmla="*/ 6334969 h 9250612"/>
                <a:gd name="connsiteX3734" fmla="*/ 1530874 w 6942639"/>
                <a:gd name="connsiteY3734" fmla="*/ 6326009 h 9250612"/>
                <a:gd name="connsiteX3735" fmla="*/ 1362127 w 6942639"/>
                <a:gd name="connsiteY3735" fmla="*/ 6326009 h 9250612"/>
                <a:gd name="connsiteX3736" fmla="*/ 1371088 w 6942639"/>
                <a:gd name="connsiteY3736" fmla="*/ 6334969 h 9250612"/>
                <a:gd name="connsiteX3737" fmla="*/ 1362127 w 6942639"/>
                <a:gd name="connsiteY3737" fmla="*/ 6343930 h 9250612"/>
                <a:gd name="connsiteX3738" fmla="*/ 1353167 w 6942639"/>
                <a:gd name="connsiteY3738" fmla="*/ 6334969 h 9250612"/>
                <a:gd name="connsiteX3739" fmla="*/ 1362127 w 6942639"/>
                <a:gd name="connsiteY3739" fmla="*/ 6326009 h 9250612"/>
                <a:gd name="connsiteX3740" fmla="*/ 1193386 w 6942639"/>
                <a:gd name="connsiteY3740" fmla="*/ 6326009 h 9250612"/>
                <a:gd name="connsiteX3741" fmla="*/ 1202347 w 6942639"/>
                <a:gd name="connsiteY3741" fmla="*/ 6334969 h 9250612"/>
                <a:gd name="connsiteX3742" fmla="*/ 1193386 w 6942639"/>
                <a:gd name="connsiteY3742" fmla="*/ 6343930 h 9250612"/>
                <a:gd name="connsiteX3743" fmla="*/ 1184427 w 6942639"/>
                <a:gd name="connsiteY3743" fmla="*/ 6334969 h 9250612"/>
                <a:gd name="connsiteX3744" fmla="*/ 1193386 w 6942639"/>
                <a:gd name="connsiteY3744" fmla="*/ 6326009 h 9250612"/>
                <a:gd name="connsiteX3745" fmla="*/ 1024638 w 6942639"/>
                <a:gd name="connsiteY3745" fmla="*/ 6326009 h 9250612"/>
                <a:gd name="connsiteX3746" fmla="*/ 1033603 w 6942639"/>
                <a:gd name="connsiteY3746" fmla="*/ 6334969 h 9250612"/>
                <a:gd name="connsiteX3747" fmla="*/ 1024638 w 6942639"/>
                <a:gd name="connsiteY3747" fmla="*/ 6343930 h 9250612"/>
                <a:gd name="connsiteX3748" fmla="*/ 1015678 w 6942639"/>
                <a:gd name="connsiteY3748" fmla="*/ 6334969 h 9250612"/>
                <a:gd name="connsiteX3749" fmla="*/ 1024638 w 6942639"/>
                <a:gd name="connsiteY3749" fmla="*/ 6326009 h 9250612"/>
                <a:gd name="connsiteX3750" fmla="*/ 855904 w 6942639"/>
                <a:gd name="connsiteY3750" fmla="*/ 6326009 h 9250612"/>
                <a:gd name="connsiteX3751" fmla="*/ 864864 w 6942639"/>
                <a:gd name="connsiteY3751" fmla="*/ 6334969 h 9250612"/>
                <a:gd name="connsiteX3752" fmla="*/ 855904 w 6942639"/>
                <a:gd name="connsiteY3752" fmla="*/ 6343930 h 9250612"/>
                <a:gd name="connsiteX3753" fmla="*/ 846945 w 6942639"/>
                <a:gd name="connsiteY3753" fmla="*/ 6334969 h 9250612"/>
                <a:gd name="connsiteX3754" fmla="*/ 855904 w 6942639"/>
                <a:gd name="connsiteY3754" fmla="*/ 6326009 h 9250612"/>
                <a:gd name="connsiteX3755" fmla="*/ 687164 w 6942639"/>
                <a:gd name="connsiteY3755" fmla="*/ 6326009 h 9250612"/>
                <a:gd name="connsiteX3756" fmla="*/ 696124 w 6942639"/>
                <a:gd name="connsiteY3756" fmla="*/ 6334969 h 9250612"/>
                <a:gd name="connsiteX3757" fmla="*/ 687164 w 6942639"/>
                <a:gd name="connsiteY3757" fmla="*/ 6343930 h 9250612"/>
                <a:gd name="connsiteX3758" fmla="*/ 678204 w 6942639"/>
                <a:gd name="connsiteY3758" fmla="*/ 6334969 h 9250612"/>
                <a:gd name="connsiteX3759" fmla="*/ 687164 w 6942639"/>
                <a:gd name="connsiteY3759" fmla="*/ 6326009 h 9250612"/>
                <a:gd name="connsiteX3760" fmla="*/ 518408 w 6942639"/>
                <a:gd name="connsiteY3760" fmla="*/ 6326009 h 9250612"/>
                <a:gd name="connsiteX3761" fmla="*/ 527368 w 6942639"/>
                <a:gd name="connsiteY3761" fmla="*/ 6334969 h 9250612"/>
                <a:gd name="connsiteX3762" fmla="*/ 518408 w 6942639"/>
                <a:gd name="connsiteY3762" fmla="*/ 6343930 h 9250612"/>
                <a:gd name="connsiteX3763" fmla="*/ 509447 w 6942639"/>
                <a:gd name="connsiteY3763" fmla="*/ 6334969 h 9250612"/>
                <a:gd name="connsiteX3764" fmla="*/ 518408 w 6942639"/>
                <a:gd name="connsiteY3764" fmla="*/ 6326009 h 9250612"/>
                <a:gd name="connsiteX3765" fmla="*/ 349669 w 6942639"/>
                <a:gd name="connsiteY3765" fmla="*/ 6326009 h 9250612"/>
                <a:gd name="connsiteX3766" fmla="*/ 358629 w 6942639"/>
                <a:gd name="connsiteY3766" fmla="*/ 6334969 h 9250612"/>
                <a:gd name="connsiteX3767" fmla="*/ 349669 w 6942639"/>
                <a:gd name="connsiteY3767" fmla="*/ 6343930 h 9250612"/>
                <a:gd name="connsiteX3768" fmla="*/ 340709 w 6942639"/>
                <a:gd name="connsiteY3768" fmla="*/ 6334969 h 9250612"/>
                <a:gd name="connsiteX3769" fmla="*/ 349669 w 6942639"/>
                <a:gd name="connsiteY3769" fmla="*/ 6326009 h 9250612"/>
                <a:gd name="connsiteX3770" fmla="*/ 179349 w 6942639"/>
                <a:gd name="connsiteY3770" fmla="*/ 6326009 h 9250612"/>
                <a:gd name="connsiteX3771" fmla="*/ 188310 w 6942639"/>
                <a:gd name="connsiteY3771" fmla="*/ 6334969 h 9250612"/>
                <a:gd name="connsiteX3772" fmla="*/ 179349 w 6942639"/>
                <a:gd name="connsiteY3772" fmla="*/ 6343930 h 9250612"/>
                <a:gd name="connsiteX3773" fmla="*/ 170389 w 6942639"/>
                <a:gd name="connsiteY3773" fmla="*/ 6334969 h 9250612"/>
                <a:gd name="connsiteX3774" fmla="*/ 179349 w 6942639"/>
                <a:gd name="connsiteY3774" fmla="*/ 6326009 h 9250612"/>
                <a:gd name="connsiteX3775" fmla="*/ 9031 w 6942639"/>
                <a:gd name="connsiteY3775" fmla="*/ 6326009 h 9250612"/>
                <a:gd name="connsiteX3776" fmla="*/ 17990 w 6942639"/>
                <a:gd name="connsiteY3776" fmla="*/ 6334969 h 9250612"/>
                <a:gd name="connsiteX3777" fmla="*/ 9031 w 6942639"/>
                <a:gd name="connsiteY3777" fmla="*/ 6343930 h 9250612"/>
                <a:gd name="connsiteX3778" fmla="*/ 70 w 6942639"/>
                <a:gd name="connsiteY3778" fmla="*/ 6334969 h 9250612"/>
                <a:gd name="connsiteX3779" fmla="*/ 9031 w 6942639"/>
                <a:gd name="connsiteY3779" fmla="*/ 6326009 h 9250612"/>
                <a:gd name="connsiteX3780" fmla="*/ 6933679 w 6942639"/>
                <a:gd name="connsiteY3780" fmla="*/ 6155027 h 9250612"/>
                <a:gd name="connsiteX3781" fmla="*/ 6942639 w 6942639"/>
                <a:gd name="connsiteY3781" fmla="*/ 6163987 h 9250612"/>
                <a:gd name="connsiteX3782" fmla="*/ 6933679 w 6942639"/>
                <a:gd name="connsiteY3782" fmla="*/ 6172948 h 9250612"/>
                <a:gd name="connsiteX3783" fmla="*/ 6924718 w 6942639"/>
                <a:gd name="connsiteY3783" fmla="*/ 6163987 h 9250612"/>
                <a:gd name="connsiteX3784" fmla="*/ 6933679 w 6942639"/>
                <a:gd name="connsiteY3784" fmla="*/ 6155027 h 9250612"/>
                <a:gd name="connsiteX3785" fmla="*/ 6763357 w 6942639"/>
                <a:gd name="connsiteY3785" fmla="*/ 6155027 h 9250612"/>
                <a:gd name="connsiteX3786" fmla="*/ 6772318 w 6942639"/>
                <a:gd name="connsiteY3786" fmla="*/ 6163987 h 9250612"/>
                <a:gd name="connsiteX3787" fmla="*/ 6763357 w 6942639"/>
                <a:gd name="connsiteY3787" fmla="*/ 6172948 h 9250612"/>
                <a:gd name="connsiteX3788" fmla="*/ 6754397 w 6942639"/>
                <a:gd name="connsiteY3788" fmla="*/ 6163987 h 9250612"/>
                <a:gd name="connsiteX3789" fmla="*/ 6763357 w 6942639"/>
                <a:gd name="connsiteY3789" fmla="*/ 6155027 h 9250612"/>
                <a:gd name="connsiteX3790" fmla="*/ 6593035 w 6942639"/>
                <a:gd name="connsiteY3790" fmla="*/ 6155027 h 9250612"/>
                <a:gd name="connsiteX3791" fmla="*/ 6601996 w 6942639"/>
                <a:gd name="connsiteY3791" fmla="*/ 6163987 h 9250612"/>
                <a:gd name="connsiteX3792" fmla="*/ 6593035 w 6942639"/>
                <a:gd name="connsiteY3792" fmla="*/ 6172948 h 9250612"/>
                <a:gd name="connsiteX3793" fmla="*/ 6584075 w 6942639"/>
                <a:gd name="connsiteY3793" fmla="*/ 6163987 h 9250612"/>
                <a:gd name="connsiteX3794" fmla="*/ 6593035 w 6942639"/>
                <a:gd name="connsiteY3794" fmla="*/ 6155027 h 9250612"/>
                <a:gd name="connsiteX3795" fmla="*/ 6424294 w 6942639"/>
                <a:gd name="connsiteY3795" fmla="*/ 6155027 h 9250612"/>
                <a:gd name="connsiteX3796" fmla="*/ 6433255 w 6942639"/>
                <a:gd name="connsiteY3796" fmla="*/ 6163987 h 9250612"/>
                <a:gd name="connsiteX3797" fmla="*/ 6424294 w 6942639"/>
                <a:gd name="connsiteY3797" fmla="*/ 6172948 h 9250612"/>
                <a:gd name="connsiteX3798" fmla="*/ 6415334 w 6942639"/>
                <a:gd name="connsiteY3798" fmla="*/ 6163987 h 9250612"/>
                <a:gd name="connsiteX3799" fmla="*/ 6424294 w 6942639"/>
                <a:gd name="connsiteY3799" fmla="*/ 6155027 h 9250612"/>
                <a:gd name="connsiteX3800" fmla="*/ 6255553 w 6942639"/>
                <a:gd name="connsiteY3800" fmla="*/ 6155027 h 9250612"/>
                <a:gd name="connsiteX3801" fmla="*/ 6264514 w 6942639"/>
                <a:gd name="connsiteY3801" fmla="*/ 6163987 h 9250612"/>
                <a:gd name="connsiteX3802" fmla="*/ 6255553 w 6942639"/>
                <a:gd name="connsiteY3802" fmla="*/ 6172948 h 9250612"/>
                <a:gd name="connsiteX3803" fmla="*/ 6246593 w 6942639"/>
                <a:gd name="connsiteY3803" fmla="*/ 6163987 h 9250612"/>
                <a:gd name="connsiteX3804" fmla="*/ 6255553 w 6942639"/>
                <a:gd name="connsiteY3804" fmla="*/ 6155027 h 9250612"/>
                <a:gd name="connsiteX3805" fmla="*/ 6086811 w 6942639"/>
                <a:gd name="connsiteY3805" fmla="*/ 6155027 h 9250612"/>
                <a:gd name="connsiteX3806" fmla="*/ 6095772 w 6942639"/>
                <a:gd name="connsiteY3806" fmla="*/ 6163987 h 9250612"/>
                <a:gd name="connsiteX3807" fmla="*/ 6086811 w 6942639"/>
                <a:gd name="connsiteY3807" fmla="*/ 6172948 h 9250612"/>
                <a:gd name="connsiteX3808" fmla="*/ 6077851 w 6942639"/>
                <a:gd name="connsiteY3808" fmla="*/ 6163987 h 9250612"/>
                <a:gd name="connsiteX3809" fmla="*/ 6086811 w 6942639"/>
                <a:gd name="connsiteY3809" fmla="*/ 6155027 h 9250612"/>
                <a:gd name="connsiteX3810" fmla="*/ 5918069 w 6942639"/>
                <a:gd name="connsiteY3810" fmla="*/ 6155027 h 9250612"/>
                <a:gd name="connsiteX3811" fmla="*/ 5927030 w 6942639"/>
                <a:gd name="connsiteY3811" fmla="*/ 6163987 h 9250612"/>
                <a:gd name="connsiteX3812" fmla="*/ 5918069 w 6942639"/>
                <a:gd name="connsiteY3812" fmla="*/ 6172948 h 9250612"/>
                <a:gd name="connsiteX3813" fmla="*/ 5909109 w 6942639"/>
                <a:gd name="connsiteY3813" fmla="*/ 6163987 h 9250612"/>
                <a:gd name="connsiteX3814" fmla="*/ 5918069 w 6942639"/>
                <a:gd name="connsiteY3814" fmla="*/ 6155027 h 9250612"/>
                <a:gd name="connsiteX3815" fmla="*/ 5749328 w 6942639"/>
                <a:gd name="connsiteY3815" fmla="*/ 6155027 h 9250612"/>
                <a:gd name="connsiteX3816" fmla="*/ 5758289 w 6942639"/>
                <a:gd name="connsiteY3816" fmla="*/ 6163987 h 9250612"/>
                <a:gd name="connsiteX3817" fmla="*/ 5749328 w 6942639"/>
                <a:gd name="connsiteY3817" fmla="*/ 6172948 h 9250612"/>
                <a:gd name="connsiteX3818" fmla="*/ 5740368 w 6942639"/>
                <a:gd name="connsiteY3818" fmla="*/ 6163987 h 9250612"/>
                <a:gd name="connsiteX3819" fmla="*/ 5749328 w 6942639"/>
                <a:gd name="connsiteY3819" fmla="*/ 6155027 h 9250612"/>
                <a:gd name="connsiteX3820" fmla="*/ 5580586 w 6942639"/>
                <a:gd name="connsiteY3820" fmla="*/ 6155027 h 9250612"/>
                <a:gd name="connsiteX3821" fmla="*/ 5589547 w 6942639"/>
                <a:gd name="connsiteY3821" fmla="*/ 6163987 h 9250612"/>
                <a:gd name="connsiteX3822" fmla="*/ 5580586 w 6942639"/>
                <a:gd name="connsiteY3822" fmla="*/ 6172948 h 9250612"/>
                <a:gd name="connsiteX3823" fmla="*/ 5571626 w 6942639"/>
                <a:gd name="connsiteY3823" fmla="*/ 6163987 h 9250612"/>
                <a:gd name="connsiteX3824" fmla="*/ 5580586 w 6942639"/>
                <a:gd name="connsiteY3824" fmla="*/ 6155027 h 9250612"/>
                <a:gd name="connsiteX3825" fmla="*/ 5411845 w 6942639"/>
                <a:gd name="connsiteY3825" fmla="*/ 6155027 h 9250612"/>
                <a:gd name="connsiteX3826" fmla="*/ 5420806 w 6942639"/>
                <a:gd name="connsiteY3826" fmla="*/ 6163987 h 9250612"/>
                <a:gd name="connsiteX3827" fmla="*/ 5411845 w 6942639"/>
                <a:gd name="connsiteY3827" fmla="*/ 6172948 h 9250612"/>
                <a:gd name="connsiteX3828" fmla="*/ 5402885 w 6942639"/>
                <a:gd name="connsiteY3828" fmla="*/ 6163987 h 9250612"/>
                <a:gd name="connsiteX3829" fmla="*/ 5411845 w 6942639"/>
                <a:gd name="connsiteY3829" fmla="*/ 6155027 h 9250612"/>
                <a:gd name="connsiteX3830" fmla="*/ 5243103 w 6942639"/>
                <a:gd name="connsiteY3830" fmla="*/ 6155027 h 9250612"/>
                <a:gd name="connsiteX3831" fmla="*/ 5252064 w 6942639"/>
                <a:gd name="connsiteY3831" fmla="*/ 6163987 h 9250612"/>
                <a:gd name="connsiteX3832" fmla="*/ 5243103 w 6942639"/>
                <a:gd name="connsiteY3832" fmla="*/ 6172948 h 9250612"/>
                <a:gd name="connsiteX3833" fmla="*/ 5234143 w 6942639"/>
                <a:gd name="connsiteY3833" fmla="*/ 6163987 h 9250612"/>
                <a:gd name="connsiteX3834" fmla="*/ 5243103 w 6942639"/>
                <a:gd name="connsiteY3834" fmla="*/ 6155027 h 9250612"/>
                <a:gd name="connsiteX3835" fmla="*/ 5074362 w 6942639"/>
                <a:gd name="connsiteY3835" fmla="*/ 6155027 h 9250612"/>
                <a:gd name="connsiteX3836" fmla="*/ 5083323 w 6942639"/>
                <a:gd name="connsiteY3836" fmla="*/ 6163987 h 9250612"/>
                <a:gd name="connsiteX3837" fmla="*/ 5074362 w 6942639"/>
                <a:gd name="connsiteY3837" fmla="*/ 6172948 h 9250612"/>
                <a:gd name="connsiteX3838" fmla="*/ 5065402 w 6942639"/>
                <a:gd name="connsiteY3838" fmla="*/ 6163987 h 9250612"/>
                <a:gd name="connsiteX3839" fmla="*/ 5074362 w 6942639"/>
                <a:gd name="connsiteY3839" fmla="*/ 6155027 h 9250612"/>
                <a:gd name="connsiteX3840" fmla="*/ 4905620 w 6942639"/>
                <a:gd name="connsiteY3840" fmla="*/ 6155027 h 9250612"/>
                <a:gd name="connsiteX3841" fmla="*/ 4914581 w 6942639"/>
                <a:gd name="connsiteY3841" fmla="*/ 6163987 h 9250612"/>
                <a:gd name="connsiteX3842" fmla="*/ 4905620 w 6942639"/>
                <a:gd name="connsiteY3842" fmla="*/ 6172948 h 9250612"/>
                <a:gd name="connsiteX3843" fmla="*/ 4896660 w 6942639"/>
                <a:gd name="connsiteY3843" fmla="*/ 6163987 h 9250612"/>
                <a:gd name="connsiteX3844" fmla="*/ 4905620 w 6942639"/>
                <a:gd name="connsiteY3844" fmla="*/ 6155027 h 9250612"/>
                <a:gd name="connsiteX3845" fmla="*/ 4736878 w 6942639"/>
                <a:gd name="connsiteY3845" fmla="*/ 6155027 h 9250612"/>
                <a:gd name="connsiteX3846" fmla="*/ 4745839 w 6942639"/>
                <a:gd name="connsiteY3846" fmla="*/ 6163987 h 9250612"/>
                <a:gd name="connsiteX3847" fmla="*/ 4736878 w 6942639"/>
                <a:gd name="connsiteY3847" fmla="*/ 6172948 h 9250612"/>
                <a:gd name="connsiteX3848" fmla="*/ 4727918 w 6942639"/>
                <a:gd name="connsiteY3848" fmla="*/ 6163987 h 9250612"/>
                <a:gd name="connsiteX3849" fmla="*/ 4736878 w 6942639"/>
                <a:gd name="connsiteY3849" fmla="*/ 6155027 h 9250612"/>
                <a:gd name="connsiteX3850" fmla="*/ 4568137 w 6942639"/>
                <a:gd name="connsiteY3850" fmla="*/ 6155027 h 9250612"/>
                <a:gd name="connsiteX3851" fmla="*/ 4577098 w 6942639"/>
                <a:gd name="connsiteY3851" fmla="*/ 6163987 h 9250612"/>
                <a:gd name="connsiteX3852" fmla="*/ 4568137 w 6942639"/>
                <a:gd name="connsiteY3852" fmla="*/ 6172948 h 9250612"/>
                <a:gd name="connsiteX3853" fmla="*/ 4559177 w 6942639"/>
                <a:gd name="connsiteY3853" fmla="*/ 6163987 h 9250612"/>
                <a:gd name="connsiteX3854" fmla="*/ 4568137 w 6942639"/>
                <a:gd name="connsiteY3854" fmla="*/ 6155027 h 9250612"/>
                <a:gd name="connsiteX3855" fmla="*/ 4399396 w 6942639"/>
                <a:gd name="connsiteY3855" fmla="*/ 6155027 h 9250612"/>
                <a:gd name="connsiteX3856" fmla="*/ 4408357 w 6942639"/>
                <a:gd name="connsiteY3856" fmla="*/ 6163987 h 9250612"/>
                <a:gd name="connsiteX3857" fmla="*/ 4399396 w 6942639"/>
                <a:gd name="connsiteY3857" fmla="*/ 6172948 h 9250612"/>
                <a:gd name="connsiteX3858" fmla="*/ 4390436 w 6942639"/>
                <a:gd name="connsiteY3858" fmla="*/ 6163987 h 9250612"/>
                <a:gd name="connsiteX3859" fmla="*/ 4399396 w 6942639"/>
                <a:gd name="connsiteY3859" fmla="*/ 6155027 h 9250612"/>
                <a:gd name="connsiteX3860" fmla="*/ 4230654 w 6942639"/>
                <a:gd name="connsiteY3860" fmla="*/ 6155027 h 9250612"/>
                <a:gd name="connsiteX3861" fmla="*/ 4239615 w 6942639"/>
                <a:gd name="connsiteY3861" fmla="*/ 6163987 h 9250612"/>
                <a:gd name="connsiteX3862" fmla="*/ 4230654 w 6942639"/>
                <a:gd name="connsiteY3862" fmla="*/ 6172948 h 9250612"/>
                <a:gd name="connsiteX3863" fmla="*/ 4221694 w 6942639"/>
                <a:gd name="connsiteY3863" fmla="*/ 6163987 h 9250612"/>
                <a:gd name="connsiteX3864" fmla="*/ 4230654 w 6942639"/>
                <a:gd name="connsiteY3864" fmla="*/ 6155027 h 9250612"/>
                <a:gd name="connsiteX3865" fmla="*/ 4061912 w 6942639"/>
                <a:gd name="connsiteY3865" fmla="*/ 6155027 h 9250612"/>
                <a:gd name="connsiteX3866" fmla="*/ 4070873 w 6942639"/>
                <a:gd name="connsiteY3866" fmla="*/ 6163987 h 9250612"/>
                <a:gd name="connsiteX3867" fmla="*/ 4061912 w 6942639"/>
                <a:gd name="connsiteY3867" fmla="*/ 6172948 h 9250612"/>
                <a:gd name="connsiteX3868" fmla="*/ 4052952 w 6942639"/>
                <a:gd name="connsiteY3868" fmla="*/ 6163987 h 9250612"/>
                <a:gd name="connsiteX3869" fmla="*/ 4061912 w 6942639"/>
                <a:gd name="connsiteY3869" fmla="*/ 6155027 h 9250612"/>
                <a:gd name="connsiteX3870" fmla="*/ 3893170 w 6942639"/>
                <a:gd name="connsiteY3870" fmla="*/ 6155027 h 9250612"/>
                <a:gd name="connsiteX3871" fmla="*/ 3902131 w 6942639"/>
                <a:gd name="connsiteY3871" fmla="*/ 6163987 h 9250612"/>
                <a:gd name="connsiteX3872" fmla="*/ 3893170 w 6942639"/>
                <a:gd name="connsiteY3872" fmla="*/ 6172948 h 9250612"/>
                <a:gd name="connsiteX3873" fmla="*/ 3884210 w 6942639"/>
                <a:gd name="connsiteY3873" fmla="*/ 6163987 h 9250612"/>
                <a:gd name="connsiteX3874" fmla="*/ 3893170 w 6942639"/>
                <a:gd name="connsiteY3874" fmla="*/ 6155027 h 9250612"/>
                <a:gd name="connsiteX3875" fmla="*/ 3724429 w 6942639"/>
                <a:gd name="connsiteY3875" fmla="*/ 6155027 h 9250612"/>
                <a:gd name="connsiteX3876" fmla="*/ 3733390 w 6942639"/>
                <a:gd name="connsiteY3876" fmla="*/ 6163987 h 9250612"/>
                <a:gd name="connsiteX3877" fmla="*/ 3724429 w 6942639"/>
                <a:gd name="connsiteY3877" fmla="*/ 6172948 h 9250612"/>
                <a:gd name="connsiteX3878" fmla="*/ 3715469 w 6942639"/>
                <a:gd name="connsiteY3878" fmla="*/ 6163987 h 9250612"/>
                <a:gd name="connsiteX3879" fmla="*/ 3724429 w 6942639"/>
                <a:gd name="connsiteY3879" fmla="*/ 6155027 h 9250612"/>
                <a:gd name="connsiteX3880" fmla="*/ 3555688 w 6942639"/>
                <a:gd name="connsiteY3880" fmla="*/ 6155027 h 9250612"/>
                <a:gd name="connsiteX3881" fmla="*/ 3564649 w 6942639"/>
                <a:gd name="connsiteY3881" fmla="*/ 6163987 h 9250612"/>
                <a:gd name="connsiteX3882" fmla="*/ 3555688 w 6942639"/>
                <a:gd name="connsiteY3882" fmla="*/ 6172948 h 9250612"/>
                <a:gd name="connsiteX3883" fmla="*/ 3546728 w 6942639"/>
                <a:gd name="connsiteY3883" fmla="*/ 6163987 h 9250612"/>
                <a:gd name="connsiteX3884" fmla="*/ 3555688 w 6942639"/>
                <a:gd name="connsiteY3884" fmla="*/ 6155027 h 9250612"/>
                <a:gd name="connsiteX3885" fmla="*/ 3387002 w 6942639"/>
                <a:gd name="connsiteY3885" fmla="*/ 6155027 h 9250612"/>
                <a:gd name="connsiteX3886" fmla="*/ 3395962 w 6942639"/>
                <a:gd name="connsiteY3886" fmla="*/ 6163987 h 9250612"/>
                <a:gd name="connsiteX3887" fmla="*/ 3387002 w 6942639"/>
                <a:gd name="connsiteY3887" fmla="*/ 6172948 h 9250612"/>
                <a:gd name="connsiteX3888" fmla="*/ 3378014 w 6942639"/>
                <a:gd name="connsiteY3888" fmla="*/ 6163987 h 9250612"/>
                <a:gd name="connsiteX3889" fmla="*/ 3387002 w 6942639"/>
                <a:gd name="connsiteY3889" fmla="*/ 6155027 h 9250612"/>
                <a:gd name="connsiteX3890" fmla="*/ 3218244 w 6942639"/>
                <a:gd name="connsiteY3890" fmla="*/ 6155027 h 9250612"/>
                <a:gd name="connsiteX3891" fmla="*/ 3227217 w 6942639"/>
                <a:gd name="connsiteY3891" fmla="*/ 6163987 h 9250612"/>
                <a:gd name="connsiteX3892" fmla="*/ 3218244 w 6942639"/>
                <a:gd name="connsiteY3892" fmla="*/ 6172948 h 9250612"/>
                <a:gd name="connsiteX3893" fmla="*/ 3209290 w 6942639"/>
                <a:gd name="connsiteY3893" fmla="*/ 6163987 h 9250612"/>
                <a:gd name="connsiteX3894" fmla="*/ 3218244 w 6942639"/>
                <a:gd name="connsiteY3894" fmla="*/ 6155027 h 9250612"/>
                <a:gd name="connsiteX3895" fmla="*/ 3049534 w 6942639"/>
                <a:gd name="connsiteY3895" fmla="*/ 6155027 h 9250612"/>
                <a:gd name="connsiteX3896" fmla="*/ 3058481 w 6942639"/>
                <a:gd name="connsiteY3896" fmla="*/ 6163987 h 9250612"/>
                <a:gd name="connsiteX3897" fmla="*/ 3049534 w 6942639"/>
                <a:gd name="connsiteY3897" fmla="*/ 6172948 h 9250612"/>
                <a:gd name="connsiteX3898" fmla="*/ 3040559 w 6942639"/>
                <a:gd name="connsiteY3898" fmla="*/ 6163987 h 9250612"/>
                <a:gd name="connsiteX3899" fmla="*/ 3049534 w 6942639"/>
                <a:gd name="connsiteY3899" fmla="*/ 6155027 h 9250612"/>
                <a:gd name="connsiteX3900" fmla="*/ 2880795 w 6942639"/>
                <a:gd name="connsiteY3900" fmla="*/ 6155027 h 9250612"/>
                <a:gd name="connsiteX3901" fmla="*/ 2889751 w 6942639"/>
                <a:gd name="connsiteY3901" fmla="*/ 6163987 h 9250612"/>
                <a:gd name="connsiteX3902" fmla="*/ 2880795 w 6942639"/>
                <a:gd name="connsiteY3902" fmla="*/ 6172948 h 9250612"/>
                <a:gd name="connsiteX3903" fmla="*/ 2871832 w 6942639"/>
                <a:gd name="connsiteY3903" fmla="*/ 6163987 h 9250612"/>
                <a:gd name="connsiteX3904" fmla="*/ 2880795 w 6942639"/>
                <a:gd name="connsiteY3904" fmla="*/ 6155027 h 9250612"/>
                <a:gd name="connsiteX3905" fmla="*/ 2712039 w 6942639"/>
                <a:gd name="connsiteY3905" fmla="*/ 6155027 h 9250612"/>
                <a:gd name="connsiteX3906" fmla="*/ 2721022 w 6942639"/>
                <a:gd name="connsiteY3906" fmla="*/ 6163987 h 9250612"/>
                <a:gd name="connsiteX3907" fmla="*/ 2712039 w 6942639"/>
                <a:gd name="connsiteY3907" fmla="*/ 6172948 h 9250612"/>
                <a:gd name="connsiteX3908" fmla="*/ 2703083 w 6942639"/>
                <a:gd name="connsiteY3908" fmla="*/ 6163987 h 9250612"/>
                <a:gd name="connsiteX3909" fmla="*/ 2712039 w 6942639"/>
                <a:gd name="connsiteY3909" fmla="*/ 6155027 h 9250612"/>
                <a:gd name="connsiteX3910" fmla="*/ 2543322 w 6942639"/>
                <a:gd name="connsiteY3910" fmla="*/ 6155027 h 9250612"/>
                <a:gd name="connsiteX3911" fmla="*/ 2552285 w 6942639"/>
                <a:gd name="connsiteY3911" fmla="*/ 6163987 h 9250612"/>
                <a:gd name="connsiteX3912" fmla="*/ 2543322 w 6942639"/>
                <a:gd name="connsiteY3912" fmla="*/ 6172948 h 9250612"/>
                <a:gd name="connsiteX3913" fmla="*/ 2534355 w 6942639"/>
                <a:gd name="connsiteY3913" fmla="*/ 6163987 h 9250612"/>
                <a:gd name="connsiteX3914" fmla="*/ 2543322 w 6942639"/>
                <a:gd name="connsiteY3914" fmla="*/ 6155027 h 9250612"/>
                <a:gd name="connsiteX3915" fmla="*/ 2374556 w 6942639"/>
                <a:gd name="connsiteY3915" fmla="*/ 6155027 h 9250612"/>
                <a:gd name="connsiteX3916" fmla="*/ 2383540 w 6942639"/>
                <a:gd name="connsiteY3916" fmla="*/ 6163987 h 9250612"/>
                <a:gd name="connsiteX3917" fmla="*/ 2374556 w 6942639"/>
                <a:gd name="connsiteY3917" fmla="*/ 6172948 h 9250612"/>
                <a:gd name="connsiteX3918" fmla="*/ 2365593 w 6942639"/>
                <a:gd name="connsiteY3918" fmla="*/ 6163987 h 9250612"/>
                <a:gd name="connsiteX3919" fmla="*/ 2374556 w 6942639"/>
                <a:gd name="connsiteY3919" fmla="*/ 6155027 h 9250612"/>
                <a:gd name="connsiteX3920" fmla="*/ 2205836 w 6942639"/>
                <a:gd name="connsiteY3920" fmla="*/ 6155027 h 9250612"/>
                <a:gd name="connsiteX3921" fmla="*/ 2214794 w 6942639"/>
                <a:gd name="connsiteY3921" fmla="*/ 6163987 h 9250612"/>
                <a:gd name="connsiteX3922" fmla="*/ 2205836 w 6942639"/>
                <a:gd name="connsiteY3922" fmla="*/ 6172948 h 9250612"/>
                <a:gd name="connsiteX3923" fmla="*/ 2196862 w 6942639"/>
                <a:gd name="connsiteY3923" fmla="*/ 6163987 h 9250612"/>
                <a:gd name="connsiteX3924" fmla="*/ 2205836 w 6942639"/>
                <a:gd name="connsiteY3924" fmla="*/ 6155027 h 9250612"/>
                <a:gd name="connsiteX3925" fmla="*/ 2037090 w 6942639"/>
                <a:gd name="connsiteY3925" fmla="*/ 6155027 h 9250612"/>
                <a:gd name="connsiteX3926" fmla="*/ 2046047 w 6942639"/>
                <a:gd name="connsiteY3926" fmla="*/ 6163987 h 9250612"/>
                <a:gd name="connsiteX3927" fmla="*/ 2037090 w 6942639"/>
                <a:gd name="connsiteY3927" fmla="*/ 6172948 h 9250612"/>
                <a:gd name="connsiteX3928" fmla="*/ 2028143 w 6942639"/>
                <a:gd name="connsiteY3928" fmla="*/ 6163987 h 9250612"/>
                <a:gd name="connsiteX3929" fmla="*/ 2037090 w 6942639"/>
                <a:gd name="connsiteY3929" fmla="*/ 6155027 h 9250612"/>
                <a:gd name="connsiteX3930" fmla="*/ 1868367 w 6942639"/>
                <a:gd name="connsiteY3930" fmla="*/ 6155027 h 9250612"/>
                <a:gd name="connsiteX3931" fmla="*/ 1877321 w 6942639"/>
                <a:gd name="connsiteY3931" fmla="*/ 6163987 h 9250612"/>
                <a:gd name="connsiteX3932" fmla="*/ 1868367 w 6942639"/>
                <a:gd name="connsiteY3932" fmla="*/ 6172948 h 9250612"/>
                <a:gd name="connsiteX3933" fmla="*/ 1859398 w 6942639"/>
                <a:gd name="connsiteY3933" fmla="*/ 6163987 h 9250612"/>
                <a:gd name="connsiteX3934" fmla="*/ 1868367 w 6942639"/>
                <a:gd name="connsiteY3934" fmla="*/ 6155027 h 9250612"/>
                <a:gd name="connsiteX3935" fmla="*/ 1699619 w 6942639"/>
                <a:gd name="connsiteY3935" fmla="*/ 6155027 h 9250612"/>
                <a:gd name="connsiteX3936" fmla="*/ 1708585 w 6942639"/>
                <a:gd name="connsiteY3936" fmla="*/ 6163987 h 9250612"/>
                <a:gd name="connsiteX3937" fmla="*/ 1699619 w 6942639"/>
                <a:gd name="connsiteY3937" fmla="*/ 6172948 h 9250612"/>
                <a:gd name="connsiteX3938" fmla="*/ 1690656 w 6942639"/>
                <a:gd name="connsiteY3938" fmla="*/ 6163987 h 9250612"/>
                <a:gd name="connsiteX3939" fmla="*/ 1699619 w 6942639"/>
                <a:gd name="connsiteY3939" fmla="*/ 6155027 h 9250612"/>
                <a:gd name="connsiteX3940" fmla="*/ 1530879 w 6942639"/>
                <a:gd name="connsiteY3940" fmla="*/ 6155027 h 9250612"/>
                <a:gd name="connsiteX3941" fmla="*/ 1539840 w 6942639"/>
                <a:gd name="connsiteY3941" fmla="*/ 6163987 h 9250612"/>
                <a:gd name="connsiteX3942" fmla="*/ 1530879 w 6942639"/>
                <a:gd name="connsiteY3942" fmla="*/ 6172948 h 9250612"/>
                <a:gd name="connsiteX3943" fmla="*/ 1521917 w 6942639"/>
                <a:gd name="connsiteY3943" fmla="*/ 6163987 h 9250612"/>
                <a:gd name="connsiteX3944" fmla="*/ 1530879 w 6942639"/>
                <a:gd name="connsiteY3944" fmla="*/ 6155027 h 9250612"/>
                <a:gd name="connsiteX3945" fmla="*/ 1362132 w 6942639"/>
                <a:gd name="connsiteY3945" fmla="*/ 6155027 h 9250612"/>
                <a:gd name="connsiteX3946" fmla="*/ 1371093 w 6942639"/>
                <a:gd name="connsiteY3946" fmla="*/ 6163987 h 9250612"/>
                <a:gd name="connsiteX3947" fmla="*/ 1362132 w 6942639"/>
                <a:gd name="connsiteY3947" fmla="*/ 6172948 h 9250612"/>
                <a:gd name="connsiteX3948" fmla="*/ 1353171 w 6942639"/>
                <a:gd name="connsiteY3948" fmla="*/ 6163987 h 9250612"/>
                <a:gd name="connsiteX3949" fmla="*/ 1362132 w 6942639"/>
                <a:gd name="connsiteY3949" fmla="*/ 6155027 h 9250612"/>
                <a:gd name="connsiteX3950" fmla="*/ 1193391 w 6942639"/>
                <a:gd name="connsiteY3950" fmla="*/ 6155027 h 9250612"/>
                <a:gd name="connsiteX3951" fmla="*/ 1202351 w 6942639"/>
                <a:gd name="connsiteY3951" fmla="*/ 6163987 h 9250612"/>
                <a:gd name="connsiteX3952" fmla="*/ 1193391 w 6942639"/>
                <a:gd name="connsiteY3952" fmla="*/ 6172948 h 9250612"/>
                <a:gd name="connsiteX3953" fmla="*/ 1184432 w 6942639"/>
                <a:gd name="connsiteY3953" fmla="*/ 6163987 h 9250612"/>
                <a:gd name="connsiteX3954" fmla="*/ 1193391 w 6942639"/>
                <a:gd name="connsiteY3954" fmla="*/ 6155027 h 9250612"/>
                <a:gd name="connsiteX3955" fmla="*/ 1024642 w 6942639"/>
                <a:gd name="connsiteY3955" fmla="*/ 6155027 h 9250612"/>
                <a:gd name="connsiteX3956" fmla="*/ 1033606 w 6942639"/>
                <a:gd name="connsiteY3956" fmla="*/ 6163987 h 9250612"/>
                <a:gd name="connsiteX3957" fmla="*/ 1024642 w 6942639"/>
                <a:gd name="connsiteY3957" fmla="*/ 6172948 h 9250612"/>
                <a:gd name="connsiteX3958" fmla="*/ 1015683 w 6942639"/>
                <a:gd name="connsiteY3958" fmla="*/ 6163987 h 9250612"/>
                <a:gd name="connsiteX3959" fmla="*/ 1024642 w 6942639"/>
                <a:gd name="connsiteY3959" fmla="*/ 6155027 h 9250612"/>
                <a:gd name="connsiteX3960" fmla="*/ 855909 w 6942639"/>
                <a:gd name="connsiteY3960" fmla="*/ 6155027 h 9250612"/>
                <a:gd name="connsiteX3961" fmla="*/ 864869 w 6942639"/>
                <a:gd name="connsiteY3961" fmla="*/ 6163987 h 9250612"/>
                <a:gd name="connsiteX3962" fmla="*/ 855909 w 6942639"/>
                <a:gd name="connsiteY3962" fmla="*/ 6172948 h 9250612"/>
                <a:gd name="connsiteX3963" fmla="*/ 846949 w 6942639"/>
                <a:gd name="connsiteY3963" fmla="*/ 6163987 h 9250612"/>
                <a:gd name="connsiteX3964" fmla="*/ 855909 w 6942639"/>
                <a:gd name="connsiteY3964" fmla="*/ 6155027 h 9250612"/>
                <a:gd name="connsiteX3965" fmla="*/ 687169 w 6942639"/>
                <a:gd name="connsiteY3965" fmla="*/ 6155027 h 9250612"/>
                <a:gd name="connsiteX3966" fmla="*/ 696129 w 6942639"/>
                <a:gd name="connsiteY3966" fmla="*/ 6163987 h 9250612"/>
                <a:gd name="connsiteX3967" fmla="*/ 687169 w 6942639"/>
                <a:gd name="connsiteY3967" fmla="*/ 6172948 h 9250612"/>
                <a:gd name="connsiteX3968" fmla="*/ 678209 w 6942639"/>
                <a:gd name="connsiteY3968" fmla="*/ 6163987 h 9250612"/>
                <a:gd name="connsiteX3969" fmla="*/ 687169 w 6942639"/>
                <a:gd name="connsiteY3969" fmla="*/ 6155027 h 9250612"/>
                <a:gd name="connsiteX3970" fmla="*/ 518412 w 6942639"/>
                <a:gd name="connsiteY3970" fmla="*/ 6155027 h 9250612"/>
                <a:gd name="connsiteX3971" fmla="*/ 527372 w 6942639"/>
                <a:gd name="connsiteY3971" fmla="*/ 6163987 h 9250612"/>
                <a:gd name="connsiteX3972" fmla="*/ 518412 w 6942639"/>
                <a:gd name="connsiteY3972" fmla="*/ 6172948 h 9250612"/>
                <a:gd name="connsiteX3973" fmla="*/ 509451 w 6942639"/>
                <a:gd name="connsiteY3973" fmla="*/ 6163987 h 9250612"/>
                <a:gd name="connsiteX3974" fmla="*/ 518412 w 6942639"/>
                <a:gd name="connsiteY3974" fmla="*/ 6155027 h 9250612"/>
                <a:gd name="connsiteX3975" fmla="*/ 349673 w 6942639"/>
                <a:gd name="connsiteY3975" fmla="*/ 6155027 h 9250612"/>
                <a:gd name="connsiteX3976" fmla="*/ 358633 w 6942639"/>
                <a:gd name="connsiteY3976" fmla="*/ 6163987 h 9250612"/>
                <a:gd name="connsiteX3977" fmla="*/ 349673 w 6942639"/>
                <a:gd name="connsiteY3977" fmla="*/ 6172948 h 9250612"/>
                <a:gd name="connsiteX3978" fmla="*/ 340713 w 6942639"/>
                <a:gd name="connsiteY3978" fmla="*/ 6163987 h 9250612"/>
                <a:gd name="connsiteX3979" fmla="*/ 349673 w 6942639"/>
                <a:gd name="connsiteY3979" fmla="*/ 6155027 h 9250612"/>
                <a:gd name="connsiteX3980" fmla="*/ 179353 w 6942639"/>
                <a:gd name="connsiteY3980" fmla="*/ 6155027 h 9250612"/>
                <a:gd name="connsiteX3981" fmla="*/ 188314 w 6942639"/>
                <a:gd name="connsiteY3981" fmla="*/ 6163987 h 9250612"/>
                <a:gd name="connsiteX3982" fmla="*/ 179353 w 6942639"/>
                <a:gd name="connsiteY3982" fmla="*/ 6172948 h 9250612"/>
                <a:gd name="connsiteX3983" fmla="*/ 170393 w 6942639"/>
                <a:gd name="connsiteY3983" fmla="*/ 6163987 h 9250612"/>
                <a:gd name="connsiteX3984" fmla="*/ 179353 w 6942639"/>
                <a:gd name="connsiteY3984" fmla="*/ 6155027 h 9250612"/>
                <a:gd name="connsiteX3985" fmla="*/ 9035 w 6942639"/>
                <a:gd name="connsiteY3985" fmla="*/ 6155027 h 9250612"/>
                <a:gd name="connsiteX3986" fmla="*/ 17995 w 6942639"/>
                <a:gd name="connsiteY3986" fmla="*/ 6163987 h 9250612"/>
                <a:gd name="connsiteX3987" fmla="*/ 9035 w 6942639"/>
                <a:gd name="connsiteY3987" fmla="*/ 6172948 h 9250612"/>
                <a:gd name="connsiteX3988" fmla="*/ 74 w 6942639"/>
                <a:gd name="connsiteY3988" fmla="*/ 6163987 h 9250612"/>
                <a:gd name="connsiteX3989" fmla="*/ 9035 w 6942639"/>
                <a:gd name="connsiteY3989" fmla="*/ 6155027 h 9250612"/>
                <a:gd name="connsiteX3990" fmla="*/ 6933679 w 6942639"/>
                <a:gd name="connsiteY3990" fmla="*/ 5984046 h 9250612"/>
                <a:gd name="connsiteX3991" fmla="*/ 6942639 w 6942639"/>
                <a:gd name="connsiteY3991" fmla="*/ 5993006 h 9250612"/>
                <a:gd name="connsiteX3992" fmla="*/ 6933679 w 6942639"/>
                <a:gd name="connsiteY3992" fmla="*/ 6001967 h 9250612"/>
                <a:gd name="connsiteX3993" fmla="*/ 6924718 w 6942639"/>
                <a:gd name="connsiteY3993" fmla="*/ 5993006 h 9250612"/>
                <a:gd name="connsiteX3994" fmla="*/ 6933679 w 6942639"/>
                <a:gd name="connsiteY3994" fmla="*/ 5984046 h 9250612"/>
                <a:gd name="connsiteX3995" fmla="*/ 6763357 w 6942639"/>
                <a:gd name="connsiteY3995" fmla="*/ 5984046 h 9250612"/>
                <a:gd name="connsiteX3996" fmla="*/ 6772318 w 6942639"/>
                <a:gd name="connsiteY3996" fmla="*/ 5993006 h 9250612"/>
                <a:gd name="connsiteX3997" fmla="*/ 6763357 w 6942639"/>
                <a:gd name="connsiteY3997" fmla="*/ 6001967 h 9250612"/>
                <a:gd name="connsiteX3998" fmla="*/ 6754397 w 6942639"/>
                <a:gd name="connsiteY3998" fmla="*/ 5993006 h 9250612"/>
                <a:gd name="connsiteX3999" fmla="*/ 6763357 w 6942639"/>
                <a:gd name="connsiteY3999" fmla="*/ 5984046 h 9250612"/>
                <a:gd name="connsiteX4000" fmla="*/ 6593035 w 6942639"/>
                <a:gd name="connsiteY4000" fmla="*/ 5984046 h 9250612"/>
                <a:gd name="connsiteX4001" fmla="*/ 6601996 w 6942639"/>
                <a:gd name="connsiteY4001" fmla="*/ 5993006 h 9250612"/>
                <a:gd name="connsiteX4002" fmla="*/ 6593035 w 6942639"/>
                <a:gd name="connsiteY4002" fmla="*/ 6001967 h 9250612"/>
                <a:gd name="connsiteX4003" fmla="*/ 6584075 w 6942639"/>
                <a:gd name="connsiteY4003" fmla="*/ 5993006 h 9250612"/>
                <a:gd name="connsiteX4004" fmla="*/ 6593035 w 6942639"/>
                <a:gd name="connsiteY4004" fmla="*/ 5984046 h 9250612"/>
                <a:gd name="connsiteX4005" fmla="*/ 6424294 w 6942639"/>
                <a:gd name="connsiteY4005" fmla="*/ 5984046 h 9250612"/>
                <a:gd name="connsiteX4006" fmla="*/ 6433255 w 6942639"/>
                <a:gd name="connsiteY4006" fmla="*/ 5993006 h 9250612"/>
                <a:gd name="connsiteX4007" fmla="*/ 6424294 w 6942639"/>
                <a:gd name="connsiteY4007" fmla="*/ 6001967 h 9250612"/>
                <a:gd name="connsiteX4008" fmla="*/ 6415334 w 6942639"/>
                <a:gd name="connsiteY4008" fmla="*/ 5993006 h 9250612"/>
                <a:gd name="connsiteX4009" fmla="*/ 6424294 w 6942639"/>
                <a:gd name="connsiteY4009" fmla="*/ 5984046 h 9250612"/>
                <a:gd name="connsiteX4010" fmla="*/ 6255553 w 6942639"/>
                <a:gd name="connsiteY4010" fmla="*/ 5984046 h 9250612"/>
                <a:gd name="connsiteX4011" fmla="*/ 6264514 w 6942639"/>
                <a:gd name="connsiteY4011" fmla="*/ 5993006 h 9250612"/>
                <a:gd name="connsiteX4012" fmla="*/ 6255553 w 6942639"/>
                <a:gd name="connsiteY4012" fmla="*/ 6001967 h 9250612"/>
                <a:gd name="connsiteX4013" fmla="*/ 6246593 w 6942639"/>
                <a:gd name="connsiteY4013" fmla="*/ 5993006 h 9250612"/>
                <a:gd name="connsiteX4014" fmla="*/ 6255553 w 6942639"/>
                <a:gd name="connsiteY4014" fmla="*/ 5984046 h 9250612"/>
                <a:gd name="connsiteX4015" fmla="*/ 6086811 w 6942639"/>
                <a:gd name="connsiteY4015" fmla="*/ 5984046 h 9250612"/>
                <a:gd name="connsiteX4016" fmla="*/ 6095772 w 6942639"/>
                <a:gd name="connsiteY4016" fmla="*/ 5993006 h 9250612"/>
                <a:gd name="connsiteX4017" fmla="*/ 6086811 w 6942639"/>
                <a:gd name="connsiteY4017" fmla="*/ 6001967 h 9250612"/>
                <a:gd name="connsiteX4018" fmla="*/ 6077851 w 6942639"/>
                <a:gd name="connsiteY4018" fmla="*/ 5993006 h 9250612"/>
                <a:gd name="connsiteX4019" fmla="*/ 6086811 w 6942639"/>
                <a:gd name="connsiteY4019" fmla="*/ 5984046 h 9250612"/>
                <a:gd name="connsiteX4020" fmla="*/ 5918069 w 6942639"/>
                <a:gd name="connsiteY4020" fmla="*/ 5984046 h 9250612"/>
                <a:gd name="connsiteX4021" fmla="*/ 5927030 w 6942639"/>
                <a:gd name="connsiteY4021" fmla="*/ 5993006 h 9250612"/>
                <a:gd name="connsiteX4022" fmla="*/ 5918069 w 6942639"/>
                <a:gd name="connsiteY4022" fmla="*/ 6001967 h 9250612"/>
                <a:gd name="connsiteX4023" fmla="*/ 5909109 w 6942639"/>
                <a:gd name="connsiteY4023" fmla="*/ 5993006 h 9250612"/>
                <a:gd name="connsiteX4024" fmla="*/ 5918069 w 6942639"/>
                <a:gd name="connsiteY4024" fmla="*/ 5984046 h 9250612"/>
                <a:gd name="connsiteX4025" fmla="*/ 5749328 w 6942639"/>
                <a:gd name="connsiteY4025" fmla="*/ 5984046 h 9250612"/>
                <a:gd name="connsiteX4026" fmla="*/ 5758289 w 6942639"/>
                <a:gd name="connsiteY4026" fmla="*/ 5993006 h 9250612"/>
                <a:gd name="connsiteX4027" fmla="*/ 5749328 w 6942639"/>
                <a:gd name="connsiteY4027" fmla="*/ 6001967 h 9250612"/>
                <a:gd name="connsiteX4028" fmla="*/ 5740368 w 6942639"/>
                <a:gd name="connsiteY4028" fmla="*/ 5993006 h 9250612"/>
                <a:gd name="connsiteX4029" fmla="*/ 5749328 w 6942639"/>
                <a:gd name="connsiteY4029" fmla="*/ 5984046 h 9250612"/>
                <a:gd name="connsiteX4030" fmla="*/ 5580586 w 6942639"/>
                <a:gd name="connsiteY4030" fmla="*/ 5984046 h 9250612"/>
                <a:gd name="connsiteX4031" fmla="*/ 5589547 w 6942639"/>
                <a:gd name="connsiteY4031" fmla="*/ 5993006 h 9250612"/>
                <a:gd name="connsiteX4032" fmla="*/ 5580586 w 6942639"/>
                <a:gd name="connsiteY4032" fmla="*/ 6001967 h 9250612"/>
                <a:gd name="connsiteX4033" fmla="*/ 5571626 w 6942639"/>
                <a:gd name="connsiteY4033" fmla="*/ 5993006 h 9250612"/>
                <a:gd name="connsiteX4034" fmla="*/ 5580586 w 6942639"/>
                <a:gd name="connsiteY4034" fmla="*/ 5984046 h 9250612"/>
                <a:gd name="connsiteX4035" fmla="*/ 5411845 w 6942639"/>
                <a:gd name="connsiteY4035" fmla="*/ 5984046 h 9250612"/>
                <a:gd name="connsiteX4036" fmla="*/ 5420806 w 6942639"/>
                <a:gd name="connsiteY4036" fmla="*/ 5993006 h 9250612"/>
                <a:gd name="connsiteX4037" fmla="*/ 5411845 w 6942639"/>
                <a:gd name="connsiteY4037" fmla="*/ 6001967 h 9250612"/>
                <a:gd name="connsiteX4038" fmla="*/ 5402885 w 6942639"/>
                <a:gd name="connsiteY4038" fmla="*/ 5993006 h 9250612"/>
                <a:gd name="connsiteX4039" fmla="*/ 5411845 w 6942639"/>
                <a:gd name="connsiteY4039" fmla="*/ 5984046 h 9250612"/>
                <a:gd name="connsiteX4040" fmla="*/ 5243103 w 6942639"/>
                <a:gd name="connsiteY4040" fmla="*/ 5984046 h 9250612"/>
                <a:gd name="connsiteX4041" fmla="*/ 5252064 w 6942639"/>
                <a:gd name="connsiteY4041" fmla="*/ 5993006 h 9250612"/>
                <a:gd name="connsiteX4042" fmla="*/ 5243103 w 6942639"/>
                <a:gd name="connsiteY4042" fmla="*/ 6001967 h 9250612"/>
                <a:gd name="connsiteX4043" fmla="*/ 5234143 w 6942639"/>
                <a:gd name="connsiteY4043" fmla="*/ 5993006 h 9250612"/>
                <a:gd name="connsiteX4044" fmla="*/ 5243103 w 6942639"/>
                <a:gd name="connsiteY4044" fmla="*/ 5984046 h 9250612"/>
                <a:gd name="connsiteX4045" fmla="*/ 5074362 w 6942639"/>
                <a:gd name="connsiteY4045" fmla="*/ 5984046 h 9250612"/>
                <a:gd name="connsiteX4046" fmla="*/ 5083323 w 6942639"/>
                <a:gd name="connsiteY4046" fmla="*/ 5993006 h 9250612"/>
                <a:gd name="connsiteX4047" fmla="*/ 5074362 w 6942639"/>
                <a:gd name="connsiteY4047" fmla="*/ 6001967 h 9250612"/>
                <a:gd name="connsiteX4048" fmla="*/ 5065402 w 6942639"/>
                <a:gd name="connsiteY4048" fmla="*/ 5993006 h 9250612"/>
                <a:gd name="connsiteX4049" fmla="*/ 5074362 w 6942639"/>
                <a:gd name="connsiteY4049" fmla="*/ 5984046 h 9250612"/>
                <a:gd name="connsiteX4050" fmla="*/ 4905620 w 6942639"/>
                <a:gd name="connsiteY4050" fmla="*/ 5984046 h 9250612"/>
                <a:gd name="connsiteX4051" fmla="*/ 4914581 w 6942639"/>
                <a:gd name="connsiteY4051" fmla="*/ 5993006 h 9250612"/>
                <a:gd name="connsiteX4052" fmla="*/ 4905620 w 6942639"/>
                <a:gd name="connsiteY4052" fmla="*/ 6001967 h 9250612"/>
                <a:gd name="connsiteX4053" fmla="*/ 4896660 w 6942639"/>
                <a:gd name="connsiteY4053" fmla="*/ 5993006 h 9250612"/>
                <a:gd name="connsiteX4054" fmla="*/ 4905620 w 6942639"/>
                <a:gd name="connsiteY4054" fmla="*/ 5984046 h 9250612"/>
                <a:gd name="connsiteX4055" fmla="*/ 4736878 w 6942639"/>
                <a:gd name="connsiteY4055" fmla="*/ 5984046 h 9250612"/>
                <a:gd name="connsiteX4056" fmla="*/ 4745839 w 6942639"/>
                <a:gd name="connsiteY4056" fmla="*/ 5993006 h 9250612"/>
                <a:gd name="connsiteX4057" fmla="*/ 4736878 w 6942639"/>
                <a:gd name="connsiteY4057" fmla="*/ 6001967 h 9250612"/>
                <a:gd name="connsiteX4058" fmla="*/ 4727918 w 6942639"/>
                <a:gd name="connsiteY4058" fmla="*/ 5993006 h 9250612"/>
                <a:gd name="connsiteX4059" fmla="*/ 4736878 w 6942639"/>
                <a:gd name="connsiteY4059" fmla="*/ 5984046 h 9250612"/>
                <a:gd name="connsiteX4060" fmla="*/ 4568137 w 6942639"/>
                <a:gd name="connsiteY4060" fmla="*/ 5984046 h 9250612"/>
                <a:gd name="connsiteX4061" fmla="*/ 4577098 w 6942639"/>
                <a:gd name="connsiteY4061" fmla="*/ 5993006 h 9250612"/>
                <a:gd name="connsiteX4062" fmla="*/ 4568137 w 6942639"/>
                <a:gd name="connsiteY4062" fmla="*/ 6001967 h 9250612"/>
                <a:gd name="connsiteX4063" fmla="*/ 4559177 w 6942639"/>
                <a:gd name="connsiteY4063" fmla="*/ 5993006 h 9250612"/>
                <a:gd name="connsiteX4064" fmla="*/ 4568137 w 6942639"/>
                <a:gd name="connsiteY4064" fmla="*/ 5984046 h 9250612"/>
                <a:gd name="connsiteX4065" fmla="*/ 4399396 w 6942639"/>
                <a:gd name="connsiteY4065" fmla="*/ 5984046 h 9250612"/>
                <a:gd name="connsiteX4066" fmla="*/ 4408357 w 6942639"/>
                <a:gd name="connsiteY4066" fmla="*/ 5993006 h 9250612"/>
                <a:gd name="connsiteX4067" fmla="*/ 4399396 w 6942639"/>
                <a:gd name="connsiteY4067" fmla="*/ 6001967 h 9250612"/>
                <a:gd name="connsiteX4068" fmla="*/ 4390436 w 6942639"/>
                <a:gd name="connsiteY4068" fmla="*/ 5993006 h 9250612"/>
                <a:gd name="connsiteX4069" fmla="*/ 4399396 w 6942639"/>
                <a:gd name="connsiteY4069" fmla="*/ 5984046 h 9250612"/>
                <a:gd name="connsiteX4070" fmla="*/ 4230654 w 6942639"/>
                <a:gd name="connsiteY4070" fmla="*/ 5984046 h 9250612"/>
                <a:gd name="connsiteX4071" fmla="*/ 4239615 w 6942639"/>
                <a:gd name="connsiteY4071" fmla="*/ 5993006 h 9250612"/>
                <a:gd name="connsiteX4072" fmla="*/ 4230654 w 6942639"/>
                <a:gd name="connsiteY4072" fmla="*/ 6001967 h 9250612"/>
                <a:gd name="connsiteX4073" fmla="*/ 4221694 w 6942639"/>
                <a:gd name="connsiteY4073" fmla="*/ 5993006 h 9250612"/>
                <a:gd name="connsiteX4074" fmla="*/ 4230654 w 6942639"/>
                <a:gd name="connsiteY4074" fmla="*/ 5984046 h 9250612"/>
                <a:gd name="connsiteX4075" fmla="*/ 4061912 w 6942639"/>
                <a:gd name="connsiteY4075" fmla="*/ 5984046 h 9250612"/>
                <a:gd name="connsiteX4076" fmla="*/ 4070873 w 6942639"/>
                <a:gd name="connsiteY4076" fmla="*/ 5993006 h 9250612"/>
                <a:gd name="connsiteX4077" fmla="*/ 4061912 w 6942639"/>
                <a:gd name="connsiteY4077" fmla="*/ 6001967 h 9250612"/>
                <a:gd name="connsiteX4078" fmla="*/ 4052952 w 6942639"/>
                <a:gd name="connsiteY4078" fmla="*/ 5993006 h 9250612"/>
                <a:gd name="connsiteX4079" fmla="*/ 4061912 w 6942639"/>
                <a:gd name="connsiteY4079" fmla="*/ 5984046 h 9250612"/>
                <a:gd name="connsiteX4080" fmla="*/ 3893170 w 6942639"/>
                <a:gd name="connsiteY4080" fmla="*/ 5984046 h 9250612"/>
                <a:gd name="connsiteX4081" fmla="*/ 3902131 w 6942639"/>
                <a:gd name="connsiteY4081" fmla="*/ 5993006 h 9250612"/>
                <a:gd name="connsiteX4082" fmla="*/ 3893170 w 6942639"/>
                <a:gd name="connsiteY4082" fmla="*/ 6001967 h 9250612"/>
                <a:gd name="connsiteX4083" fmla="*/ 3884210 w 6942639"/>
                <a:gd name="connsiteY4083" fmla="*/ 5993006 h 9250612"/>
                <a:gd name="connsiteX4084" fmla="*/ 3893170 w 6942639"/>
                <a:gd name="connsiteY4084" fmla="*/ 5984046 h 9250612"/>
                <a:gd name="connsiteX4085" fmla="*/ 3724429 w 6942639"/>
                <a:gd name="connsiteY4085" fmla="*/ 5984046 h 9250612"/>
                <a:gd name="connsiteX4086" fmla="*/ 3733390 w 6942639"/>
                <a:gd name="connsiteY4086" fmla="*/ 5993006 h 9250612"/>
                <a:gd name="connsiteX4087" fmla="*/ 3724429 w 6942639"/>
                <a:gd name="connsiteY4087" fmla="*/ 6001967 h 9250612"/>
                <a:gd name="connsiteX4088" fmla="*/ 3715469 w 6942639"/>
                <a:gd name="connsiteY4088" fmla="*/ 5993006 h 9250612"/>
                <a:gd name="connsiteX4089" fmla="*/ 3724429 w 6942639"/>
                <a:gd name="connsiteY4089" fmla="*/ 5984046 h 9250612"/>
                <a:gd name="connsiteX4090" fmla="*/ 3555688 w 6942639"/>
                <a:gd name="connsiteY4090" fmla="*/ 5984046 h 9250612"/>
                <a:gd name="connsiteX4091" fmla="*/ 3564649 w 6942639"/>
                <a:gd name="connsiteY4091" fmla="*/ 5993006 h 9250612"/>
                <a:gd name="connsiteX4092" fmla="*/ 3555688 w 6942639"/>
                <a:gd name="connsiteY4092" fmla="*/ 6001967 h 9250612"/>
                <a:gd name="connsiteX4093" fmla="*/ 3546728 w 6942639"/>
                <a:gd name="connsiteY4093" fmla="*/ 5993006 h 9250612"/>
                <a:gd name="connsiteX4094" fmla="*/ 3555688 w 6942639"/>
                <a:gd name="connsiteY4094" fmla="*/ 5984046 h 9250612"/>
                <a:gd name="connsiteX4095" fmla="*/ 3387005 w 6942639"/>
                <a:gd name="connsiteY4095" fmla="*/ 5984046 h 9250612"/>
                <a:gd name="connsiteX4096" fmla="*/ 3395965 w 6942639"/>
                <a:gd name="connsiteY4096" fmla="*/ 5993006 h 9250612"/>
                <a:gd name="connsiteX4097" fmla="*/ 3387005 w 6942639"/>
                <a:gd name="connsiteY4097" fmla="*/ 6001967 h 9250612"/>
                <a:gd name="connsiteX4098" fmla="*/ 3378015 w 6942639"/>
                <a:gd name="connsiteY4098" fmla="*/ 5993006 h 9250612"/>
                <a:gd name="connsiteX4099" fmla="*/ 3387005 w 6942639"/>
                <a:gd name="connsiteY4099" fmla="*/ 5984046 h 9250612"/>
                <a:gd name="connsiteX4100" fmla="*/ 3218247 w 6942639"/>
                <a:gd name="connsiteY4100" fmla="*/ 5984046 h 9250612"/>
                <a:gd name="connsiteX4101" fmla="*/ 3227220 w 6942639"/>
                <a:gd name="connsiteY4101" fmla="*/ 5993006 h 9250612"/>
                <a:gd name="connsiteX4102" fmla="*/ 3218247 w 6942639"/>
                <a:gd name="connsiteY4102" fmla="*/ 6001967 h 9250612"/>
                <a:gd name="connsiteX4103" fmla="*/ 3209292 w 6942639"/>
                <a:gd name="connsiteY4103" fmla="*/ 5993006 h 9250612"/>
                <a:gd name="connsiteX4104" fmla="*/ 3218247 w 6942639"/>
                <a:gd name="connsiteY4104" fmla="*/ 5984046 h 9250612"/>
                <a:gd name="connsiteX4105" fmla="*/ 3049537 w 6942639"/>
                <a:gd name="connsiteY4105" fmla="*/ 5984046 h 9250612"/>
                <a:gd name="connsiteX4106" fmla="*/ 3058484 w 6942639"/>
                <a:gd name="connsiteY4106" fmla="*/ 5993006 h 9250612"/>
                <a:gd name="connsiteX4107" fmla="*/ 3049537 w 6942639"/>
                <a:gd name="connsiteY4107" fmla="*/ 6001967 h 9250612"/>
                <a:gd name="connsiteX4108" fmla="*/ 3040562 w 6942639"/>
                <a:gd name="connsiteY4108" fmla="*/ 5993006 h 9250612"/>
                <a:gd name="connsiteX4109" fmla="*/ 3049537 w 6942639"/>
                <a:gd name="connsiteY4109" fmla="*/ 5984046 h 9250612"/>
                <a:gd name="connsiteX4110" fmla="*/ 2880799 w 6942639"/>
                <a:gd name="connsiteY4110" fmla="*/ 5984046 h 9250612"/>
                <a:gd name="connsiteX4111" fmla="*/ 2889755 w 6942639"/>
                <a:gd name="connsiteY4111" fmla="*/ 5993006 h 9250612"/>
                <a:gd name="connsiteX4112" fmla="*/ 2880799 w 6942639"/>
                <a:gd name="connsiteY4112" fmla="*/ 6001967 h 9250612"/>
                <a:gd name="connsiteX4113" fmla="*/ 2871836 w 6942639"/>
                <a:gd name="connsiteY4113" fmla="*/ 5993006 h 9250612"/>
                <a:gd name="connsiteX4114" fmla="*/ 2880799 w 6942639"/>
                <a:gd name="connsiteY4114" fmla="*/ 5984046 h 9250612"/>
                <a:gd name="connsiteX4115" fmla="*/ 2712042 w 6942639"/>
                <a:gd name="connsiteY4115" fmla="*/ 5984046 h 9250612"/>
                <a:gd name="connsiteX4116" fmla="*/ 2721026 w 6942639"/>
                <a:gd name="connsiteY4116" fmla="*/ 5993006 h 9250612"/>
                <a:gd name="connsiteX4117" fmla="*/ 2712042 w 6942639"/>
                <a:gd name="connsiteY4117" fmla="*/ 6001967 h 9250612"/>
                <a:gd name="connsiteX4118" fmla="*/ 2703086 w 6942639"/>
                <a:gd name="connsiteY4118" fmla="*/ 5993006 h 9250612"/>
                <a:gd name="connsiteX4119" fmla="*/ 2712042 w 6942639"/>
                <a:gd name="connsiteY4119" fmla="*/ 5984046 h 9250612"/>
                <a:gd name="connsiteX4120" fmla="*/ 2543328 w 6942639"/>
                <a:gd name="connsiteY4120" fmla="*/ 5984046 h 9250612"/>
                <a:gd name="connsiteX4121" fmla="*/ 2552290 w 6942639"/>
                <a:gd name="connsiteY4121" fmla="*/ 5993006 h 9250612"/>
                <a:gd name="connsiteX4122" fmla="*/ 2543328 w 6942639"/>
                <a:gd name="connsiteY4122" fmla="*/ 6001967 h 9250612"/>
                <a:gd name="connsiteX4123" fmla="*/ 2534358 w 6942639"/>
                <a:gd name="connsiteY4123" fmla="*/ 5993006 h 9250612"/>
                <a:gd name="connsiteX4124" fmla="*/ 2543328 w 6942639"/>
                <a:gd name="connsiteY4124" fmla="*/ 5984046 h 9250612"/>
                <a:gd name="connsiteX4125" fmla="*/ 2374559 w 6942639"/>
                <a:gd name="connsiteY4125" fmla="*/ 5984046 h 9250612"/>
                <a:gd name="connsiteX4126" fmla="*/ 2383544 w 6942639"/>
                <a:gd name="connsiteY4126" fmla="*/ 5993006 h 9250612"/>
                <a:gd name="connsiteX4127" fmla="*/ 2374559 w 6942639"/>
                <a:gd name="connsiteY4127" fmla="*/ 6001967 h 9250612"/>
                <a:gd name="connsiteX4128" fmla="*/ 2365596 w 6942639"/>
                <a:gd name="connsiteY4128" fmla="*/ 5993006 h 9250612"/>
                <a:gd name="connsiteX4129" fmla="*/ 2374559 w 6942639"/>
                <a:gd name="connsiteY4129" fmla="*/ 5984046 h 9250612"/>
                <a:gd name="connsiteX4130" fmla="*/ 2205840 w 6942639"/>
                <a:gd name="connsiteY4130" fmla="*/ 5984046 h 9250612"/>
                <a:gd name="connsiteX4131" fmla="*/ 2214798 w 6942639"/>
                <a:gd name="connsiteY4131" fmla="*/ 5993006 h 9250612"/>
                <a:gd name="connsiteX4132" fmla="*/ 2205840 w 6942639"/>
                <a:gd name="connsiteY4132" fmla="*/ 6001967 h 9250612"/>
                <a:gd name="connsiteX4133" fmla="*/ 2196865 w 6942639"/>
                <a:gd name="connsiteY4133" fmla="*/ 5993006 h 9250612"/>
                <a:gd name="connsiteX4134" fmla="*/ 2205840 w 6942639"/>
                <a:gd name="connsiteY4134" fmla="*/ 5984046 h 9250612"/>
                <a:gd name="connsiteX4135" fmla="*/ 2037094 w 6942639"/>
                <a:gd name="connsiteY4135" fmla="*/ 5984046 h 9250612"/>
                <a:gd name="connsiteX4136" fmla="*/ 2046050 w 6942639"/>
                <a:gd name="connsiteY4136" fmla="*/ 5993006 h 9250612"/>
                <a:gd name="connsiteX4137" fmla="*/ 2037094 w 6942639"/>
                <a:gd name="connsiteY4137" fmla="*/ 6001967 h 9250612"/>
                <a:gd name="connsiteX4138" fmla="*/ 2028148 w 6942639"/>
                <a:gd name="connsiteY4138" fmla="*/ 5993006 h 9250612"/>
                <a:gd name="connsiteX4139" fmla="*/ 2037094 w 6942639"/>
                <a:gd name="connsiteY4139" fmla="*/ 5984046 h 9250612"/>
                <a:gd name="connsiteX4140" fmla="*/ 1868372 w 6942639"/>
                <a:gd name="connsiteY4140" fmla="*/ 5984046 h 9250612"/>
                <a:gd name="connsiteX4141" fmla="*/ 1877327 w 6942639"/>
                <a:gd name="connsiteY4141" fmla="*/ 5993006 h 9250612"/>
                <a:gd name="connsiteX4142" fmla="*/ 1868372 w 6942639"/>
                <a:gd name="connsiteY4142" fmla="*/ 6001967 h 9250612"/>
                <a:gd name="connsiteX4143" fmla="*/ 1859402 w 6942639"/>
                <a:gd name="connsiteY4143" fmla="*/ 5993006 h 9250612"/>
                <a:gd name="connsiteX4144" fmla="*/ 1868372 w 6942639"/>
                <a:gd name="connsiteY4144" fmla="*/ 5984046 h 9250612"/>
                <a:gd name="connsiteX4145" fmla="*/ 1699624 w 6942639"/>
                <a:gd name="connsiteY4145" fmla="*/ 5984046 h 9250612"/>
                <a:gd name="connsiteX4146" fmla="*/ 1708590 w 6942639"/>
                <a:gd name="connsiteY4146" fmla="*/ 5993006 h 9250612"/>
                <a:gd name="connsiteX4147" fmla="*/ 1699624 w 6942639"/>
                <a:gd name="connsiteY4147" fmla="*/ 6001967 h 9250612"/>
                <a:gd name="connsiteX4148" fmla="*/ 1690661 w 6942639"/>
                <a:gd name="connsiteY4148" fmla="*/ 5993006 h 9250612"/>
                <a:gd name="connsiteX4149" fmla="*/ 1699624 w 6942639"/>
                <a:gd name="connsiteY4149" fmla="*/ 5984046 h 9250612"/>
                <a:gd name="connsiteX4150" fmla="*/ 1530883 w 6942639"/>
                <a:gd name="connsiteY4150" fmla="*/ 5984046 h 9250612"/>
                <a:gd name="connsiteX4151" fmla="*/ 1539845 w 6942639"/>
                <a:gd name="connsiteY4151" fmla="*/ 5993006 h 9250612"/>
                <a:gd name="connsiteX4152" fmla="*/ 1530883 w 6942639"/>
                <a:gd name="connsiteY4152" fmla="*/ 6001967 h 9250612"/>
                <a:gd name="connsiteX4153" fmla="*/ 1521922 w 6942639"/>
                <a:gd name="connsiteY4153" fmla="*/ 5993006 h 9250612"/>
                <a:gd name="connsiteX4154" fmla="*/ 1530883 w 6942639"/>
                <a:gd name="connsiteY4154" fmla="*/ 5984046 h 9250612"/>
                <a:gd name="connsiteX4155" fmla="*/ 1362136 w 6942639"/>
                <a:gd name="connsiteY4155" fmla="*/ 5984046 h 9250612"/>
                <a:gd name="connsiteX4156" fmla="*/ 1371097 w 6942639"/>
                <a:gd name="connsiteY4156" fmla="*/ 5993006 h 9250612"/>
                <a:gd name="connsiteX4157" fmla="*/ 1362136 w 6942639"/>
                <a:gd name="connsiteY4157" fmla="*/ 6001967 h 9250612"/>
                <a:gd name="connsiteX4158" fmla="*/ 1353176 w 6942639"/>
                <a:gd name="connsiteY4158" fmla="*/ 5993006 h 9250612"/>
                <a:gd name="connsiteX4159" fmla="*/ 1362136 w 6942639"/>
                <a:gd name="connsiteY4159" fmla="*/ 5984046 h 9250612"/>
                <a:gd name="connsiteX4160" fmla="*/ 1193395 w 6942639"/>
                <a:gd name="connsiteY4160" fmla="*/ 5984046 h 9250612"/>
                <a:gd name="connsiteX4161" fmla="*/ 1202356 w 6942639"/>
                <a:gd name="connsiteY4161" fmla="*/ 5993006 h 9250612"/>
                <a:gd name="connsiteX4162" fmla="*/ 1193395 w 6942639"/>
                <a:gd name="connsiteY4162" fmla="*/ 6001967 h 9250612"/>
                <a:gd name="connsiteX4163" fmla="*/ 1184436 w 6942639"/>
                <a:gd name="connsiteY4163" fmla="*/ 5993006 h 9250612"/>
                <a:gd name="connsiteX4164" fmla="*/ 1193395 w 6942639"/>
                <a:gd name="connsiteY4164" fmla="*/ 5984046 h 9250612"/>
                <a:gd name="connsiteX4165" fmla="*/ 1024646 w 6942639"/>
                <a:gd name="connsiteY4165" fmla="*/ 5984046 h 9250612"/>
                <a:gd name="connsiteX4166" fmla="*/ 1033611 w 6942639"/>
                <a:gd name="connsiteY4166" fmla="*/ 5993006 h 9250612"/>
                <a:gd name="connsiteX4167" fmla="*/ 1024646 w 6942639"/>
                <a:gd name="connsiteY4167" fmla="*/ 6001967 h 9250612"/>
                <a:gd name="connsiteX4168" fmla="*/ 1015687 w 6942639"/>
                <a:gd name="connsiteY4168" fmla="*/ 5993006 h 9250612"/>
                <a:gd name="connsiteX4169" fmla="*/ 1024646 w 6942639"/>
                <a:gd name="connsiteY4169" fmla="*/ 5984046 h 9250612"/>
                <a:gd name="connsiteX4170" fmla="*/ 855914 w 6942639"/>
                <a:gd name="connsiteY4170" fmla="*/ 5984046 h 9250612"/>
                <a:gd name="connsiteX4171" fmla="*/ 864874 w 6942639"/>
                <a:gd name="connsiteY4171" fmla="*/ 5993006 h 9250612"/>
                <a:gd name="connsiteX4172" fmla="*/ 855914 w 6942639"/>
                <a:gd name="connsiteY4172" fmla="*/ 6001967 h 9250612"/>
                <a:gd name="connsiteX4173" fmla="*/ 846954 w 6942639"/>
                <a:gd name="connsiteY4173" fmla="*/ 5993006 h 9250612"/>
                <a:gd name="connsiteX4174" fmla="*/ 855914 w 6942639"/>
                <a:gd name="connsiteY4174" fmla="*/ 5984046 h 9250612"/>
                <a:gd name="connsiteX4175" fmla="*/ 687173 w 6942639"/>
                <a:gd name="connsiteY4175" fmla="*/ 5984046 h 9250612"/>
                <a:gd name="connsiteX4176" fmla="*/ 696134 w 6942639"/>
                <a:gd name="connsiteY4176" fmla="*/ 5993006 h 9250612"/>
                <a:gd name="connsiteX4177" fmla="*/ 687173 w 6942639"/>
                <a:gd name="connsiteY4177" fmla="*/ 6001967 h 9250612"/>
                <a:gd name="connsiteX4178" fmla="*/ 678214 w 6942639"/>
                <a:gd name="connsiteY4178" fmla="*/ 5993006 h 9250612"/>
                <a:gd name="connsiteX4179" fmla="*/ 687173 w 6942639"/>
                <a:gd name="connsiteY4179" fmla="*/ 5984046 h 9250612"/>
                <a:gd name="connsiteX4180" fmla="*/ 518416 w 6942639"/>
                <a:gd name="connsiteY4180" fmla="*/ 5984046 h 9250612"/>
                <a:gd name="connsiteX4181" fmla="*/ 527376 w 6942639"/>
                <a:gd name="connsiteY4181" fmla="*/ 5993006 h 9250612"/>
                <a:gd name="connsiteX4182" fmla="*/ 518416 w 6942639"/>
                <a:gd name="connsiteY4182" fmla="*/ 6001967 h 9250612"/>
                <a:gd name="connsiteX4183" fmla="*/ 509455 w 6942639"/>
                <a:gd name="connsiteY4183" fmla="*/ 5993006 h 9250612"/>
                <a:gd name="connsiteX4184" fmla="*/ 518416 w 6942639"/>
                <a:gd name="connsiteY4184" fmla="*/ 5984046 h 9250612"/>
                <a:gd name="connsiteX4185" fmla="*/ 349676 w 6942639"/>
                <a:gd name="connsiteY4185" fmla="*/ 5984046 h 9250612"/>
                <a:gd name="connsiteX4186" fmla="*/ 358637 w 6942639"/>
                <a:gd name="connsiteY4186" fmla="*/ 5993006 h 9250612"/>
                <a:gd name="connsiteX4187" fmla="*/ 349676 w 6942639"/>
                <a:gd name="connsiteY4187" fmla="*/ 6001967 h 9250612"/>
                <a:gd name="connsiteX4188" fmla="*/ 340716 w 6942639"/>
                <a:gd name="connsiteY4188" fmla="*/ 5993006 h 9250612"/>
                <a:gd name="connsiteX4189" fmla="*/ 349676 w 6942639"/>
                <a:gd name="connsiteY4189" fmla="*/ 5984046 h 9250612"/>
                <a:gd name="connsiteX4190" fmla="*/ 179357 w 6942639"/>
                <a:gd name="connsiteY4190" fmla="*/ 5984046 h 9250612"/>
                <a:gd name="connsiteX4191" fmla="*/ 188318 w 6942639"/>
                <a:gd name="connsiteY4191" fmla="*/ 5993006 h 9250612"/>
                <a:gd name="connsiteX4192" fmla="*/ 179357 w 6942639"/>
                <a:gd name="connsiteY4192" fmla="*/ 6001967 h 9250612"/>
                <a:gd name="connsiteX4193" fmla="*/ 170397 w 6942639"/>
                <a:gd name="connsiteY4193" fmla="*/ 5993006 h 9250612"/>
                <a:gd name="connsiteX4194" fmla="*/ 179357 w 6942639"/>
                <a:gd name="connsiteY4194" fmla="*/ 5984046 h 9250612"/>
                <a:gd name="connsiteX4195" fmla="*/ 9039 w 6942639"/>
                <a:gd name="connsiteY4195" fmla="*/ 5984046 h 9250612"/>
                <a:gd name="connsiteX4196" fmla="*/ 17999 w 6942639"/>
                <a:gd name="connsiteY4196" fmla="*/ 5993006 h 9250612"/>
                <a:gd name="connsiteX4197" fmla="*/ 9039 w 6942639"/>
                <a:gd name="connsiteY4197" fmla="*/ 6001967 h 9250612"/>
                <a:gd name="connsiteX4198" fmla="*/ 78 w 6942639"/>
                <a:gd name="connsiteY4198" fmla="*/ 5993006 h 9250612"/>
                <a:gd name="connsiteX4199" fmla="*/ 9039 w 6942639"/>
                <a:gd name="connsiteY4199" fmla="*/ 5984046 h 9250612"/>
                <a:gd name="connsiteX4200" fmla="*/ 6933679 w 6942639"/>
                <a:gd name="connsiteY4200" fmla="*/ 5813064 h 9250612"/>
                <a:gd name="connsiteX4201" fmla="*/ 6942639 w 6942639"/>
                <a:gd name="connsiteY4201" fmla="*/ 5822024 h 9250612"/>
                <a:gd name="connsiteX4202" fmla="*/ 6933679 w 6942639"/>
                <a:gd name="connsiteY4202" fmla="*/ 5830985 h 9250612"/>
                <a:gd name="connsiteX4203" fmla="*/ 6924718 w 6942639"/>
                <a:gd name="connsiteY4203" fmla="*/ 5822024 h 9250612"/>
                <a:gd name="connsiteX4204" fmla="*/ 6933679 w 6942639"/>
                <a:gd name="connsiteY4204" fmla="*/ 5813064 h 9250612"/>
                <a:gd name="connsiteX4205" fmla="*/ 6763357 w 6942639"/>
                <a:gd name="connsiteY4205" fmla="*/ 5813064 h 9250612"/>
                <a:gd name="connsiteX4206" fmla="*/ 6772318 w 6942639"/>
                <a:gd name="connsiteY4206" fmla="*/ 5822024 h 9250612"/>
                <a:gd name="connsiteX4207" fmla="*/ 6763357 w 6942639"/>
                <a:gd name="connsiteY4207" fmla="*/ 5830985 h 9250612"/>
                <a:gd name="connsiteX4208" fmla="*/ 6754397 w 6942639"/>
                <a:gd name="connsiteY4208" fmla="*/ 5822024 h 9250612"/>
                <a:gd name="connsiteX4209" fmla="*/ 6763357 w 6942639"/>
                <a:gd name="connsiteY4209" fmla="*/ 5813064 h 9250612"/>
                <a:gd name="connsiteX4210" fmla="*/ 6593035 w 6942639"/>
                <a:gd name="connsiteY4210" fmla="*/ 5813064 h 9250612"/>
                <a:gd name="connsiteX4211" fmla="*/ 6601996 w 6942639"/>
                <a:gd name="connsiteY4211" fmla="*/ 5822024 h 9250612"/>
                <a:gd name="connsiteX4212" fmla="*/ 6593035 w 6942639"/>
                <a:gd name="connsiteY4212" fmla="*/ 5830985 h 9250612"/>
                <a:gd name="connsiteX4213" fmla="*/ 6584075 w 6942639"/>
                <a:gd name="connsiteY4213" fmla="*/ 5822024 h 9250612"/>
                <a:gd name="connsiteX4214" fmla="*/ 6593035 w 6942639"/>
                <a:gd name="connsiteY4214" fmla="*/ 5813064 h 9250612"/>
                <a:gd name="connsiteX4215" fmla="*/ 6424294 w 6942639"/>
                <a:gd name="connsiteY4215" fmla="*/ 5813064 h 9250612"/>
                <a:gd name="connsiteX4216" fmla="*/ 6433255 w 6942639"/>
                <a:gd name="connsiteY4216" fmla="*/ 5822024 h 9250612"/>
                <a:gd name="connsiteX4217" fmla="*/ 6424294 w 6942639"/>
                <a:gd name="connsiteY4217" fmla="*/ 5830985 h 9250612"/>
                <a:gd name="connsiteX4218" fmla="*/ 6415334 w 6942639"/>
                <a:gd name="connsiteY4218" fmla="*/ 5822024 h 9250612"/>
                <a:gd name="connsiteX4219" fmla="*/ 6424294 w 6942639"/>
                <a:gd name="connsiteY4219" fmla="*/ 5813064 h 9250612"/>
                <a:gd name="connsiteX4220" fmla="*/ 6255553 w 6942639"/>
                <a:gd name="connsiteY4220" fmla="*/ 5813064 h 9250612"/>
                <a:gd name="connsiteX4221" fmla="*/ 6264514 w 6942639"/>
                <a:gd name="connsiteY4221" fmla="*/ 5822024 h 9250612"/>
                <a:gd name="connsiteX4222" fmla="*/ 6255553 w 6942639"/>
                <a:gd name="connsiteY4222" fmla="*/ 5830985 h 9250612"/>
                <a:gd name="connsiteX4223" fmla="*/ 6246593 w 6942639"/>
                <a:gd name="connsiteY4223" fmla="*/ 5822024 h 9250612"/>
                <a:gd name="connsiteX4224" fmla="*/ 6255553 w 6942639"/>
                <a:gd name="connsiteY4224" fmla="*/ 5813064 h 9250612"/>
                <a:gd name="connsiteX4225" fmla="*/ 6086811 w 6942639"/>
                <a:gd name="connsiteY4225" fmla="*/ 5813064 h 9250612"/>
                <a:gd name="connsiteX4226" fmla="*/ 6095772 w 6942639"/>
                <a:gd name="connsiteY4226" fmla="*/ 5822024 h 9250612"/>
                <a:gd name="connsiteX4227" fmla="*/ 6086811 w 6942639"/>
                <a:gd name="connsiteY4227" fmla="*/ 5830985 h 9250612"/>
                <a:gd name="connsiteX4228" fmla="*/ 6077851 w 6942639"/>
                <a:gd name="connsiteY4228" fmla="*/ 5822024 h 9250612"/>
                <a:gd name="connsiteX4229" fmla="*/ 6086811 w 6942639"/>
                <a:gd name="connsiteY4229" fmla="*/ 5813064 h 9250612"/>
                <a:gd name="connsiteX4230" fmla="*/ 5918069 w 6942639"/>
                <a:gd name="connsiteY4230" fmla="*/ 5813064 h 9250612"/>
                <a:gd name="connsiteX4231" fmla="*/ 5927030 w 6942639"/>
                <a:gd name="connsiteY4231" fmla="*/ 5822024 h 9250612"/>
                <a:gd name="connsiteX4232" fmla="*/ 5918069 w 6942639"/>
                <a:gd name="connsiteY4232" fmla="*/ 5830985 h 9250612"/>
                <a:gd name="connsiteX4233" fmla="*/ 5909109 w 6942639"/>
                <a:gd name="connsiteY4233" fmla="*/ 5822024 h 9250612"/>
                <a:gd name="connsiteX4234" fmla="*/ 5918069 w 6942639"/>
                <a:gd name="connsiteY4234" fmla="*/ 5813064 h 9250612"/>
                <a:gd name="connsiteX4235" fmla="*/ 5749328 w 6942639"/>
                <a:gd name="connsiteY4235" fmla="*/ 5813064 h 9250612"/>
                <a:gd name="connsiteX4236" fmla="*/ 5758289 w 6942639"/>
                <a:gd name="connsiteY4236" fmla="*/ 5822024 h 9250612"/>
                <a:gd name="connsiteX4237" fmla="*/ 5749328 w 6942639"/>
                <a:gd name="connsiteY4237" fmla="*/ 5830985 h 9250612"/>
                <a:gd name="connsiteX4238" fmla="*/ 5740368 w 6942639"/>
                <a:gd name="connsiteY4238" fmla="*/ 5822024 h 9250612"/>
                <a:gd name="connsiteX4239" fmla="*/ 5749328 w 6942639"/>
                <a:gd name="connsiteY4239" fmla="*/ 5813064 h 9250612"/>
                <a:gd name="connsiteX4240" fmla="*/ 5580586 w 6942639"/>
                <a:gd name="connsiteY4240" fmla="*/ 5813064 h 9250612"/>
                <a:gd name="connsiteX4241" fmla="*/ 5589547 w 6942639"/>
                <a:gd name="connsiteY4241" fmla="*/ 5822024 h 9250612"/>
                <a:gd name="connsiteX4242" fmla="*/ 5580586 w 6942639"/>
                <a:gd name="connsiteY4242" fmla="*/ 5830985 h 9250612"/>
                <a:gd name="connsiteX4243" fmla="*/ 5571626 w 6942639"/>
                <a:gd name="connsiteY4243" fmla="*/ 5822024 h 9250612"/>
                <a:gd name="connsiteX4244" fmla="*/ 5580586 w 6942639"/>
                <a:gd name="connsiteY4244" fmla="*/ 5813064 h 9250612"/>
                <a:gd name="connsiteX4245" fmla="*/ 5411845 w 6942639"/>
                <a:gd name="connsiteY4245" fmla="*/ 5813064 h 9250612"/>
                <a:gd name="connsiteX4246" fmla="*/ 5420806 w 6942639"/>
                <a:gd name="connsiteY4246" fmla="*/ 5822024 h 9250612"/>
                <a:gd name="connsiteX4247" fmla="*/ 5411845 w 6942639"/>
                <a:gd name="connsiteY4247" fmla="*/ 5830985 h 9250612"/>
                <a:gd name="connsiteX4248" fmla="*/ 5402885 w 6942639"/>
                <a:gd name="connsiteY4248" fmla="*/ 5822024 h 9250612"/>
                <a:gd name="connsiteX4249" fmla="*/ 5411845 w 6942639"/>
                <a:gd name="connsiteY4249" fmla="*/ 5813064 h 9250612"/>
                <a:gd name="connsiteX4250" fmla="*/ 5243103 w 6942639"/>
                <a:gd name="connsiteY4250" fmla="*/ 5813064 h 9250612"/>
                <a:gd name="connsiteX4251" fmla="*/ 5252064 w 6942639"/>
                <a:gd name="connsiteY4251" fmla="*/ 5822024 h 9250612"/>
                <a:gd name="connsiteX4252" fmla="*/ 5243103 w 6942639"/>
                <a:gd name="connsiteY4252" fmla="*/ 5830985 h 9250612"/>
                <a:gd name="connsiteX4253" fmla="*/ 5234143 w 6942639"/>
                <a:gd name="connsiteY4253" fmla="*/ 5822024 h 9250612"/>
                <a:gd name="connsiteX4254" fmla="*/ 5243103 w 6942639"/>
                <a:gd name="connsiteY4254" fmla="*/ 5813064 h 9250612"/>
                <a:gd name="connsiteX4255" fmla="*/ 5074362 w 6942639"/>
                <a:gd name="connsiteY4255" fmla="*/ 5813064 h 9250612"/>
                <a:gd name="connsiteX4256" fmla="*/ 5083323 w 6942639"/>
                <a:gd name="connsiteY4256" fmla="*/ 5822024 h 9250612"/>
                <a:gd name="connsiteX4257" fmla="*/ 5074362 w 6942639"/>
                <a:gd name="connsiteY4257" fmla="*/ 5830985 h 9250612"/>
                <a:gd name="connsiteX4258" fmla="*/ 5065402 w 6942639"/>
                <a:gd name="connsiteY4258" fmla="*/ 5822024 h 9250612"/>
                <a:gd name="connsiteX4259" fmla="*/ 5074362 w 6942639"/>
                <a:gd name="connsiteY4259" fmla="*/ 5813064 h 9250612"/>
                <a:gd name="connsiteX4260" fmla="*/ 4905620 w 6942639"/>
                <a:gd name="connsiteY4260" fmla="*/ 5813064 h 9250612"/>
                <a:gd name="connsiteX4261" fmla="*/ 4914581 w 6942639"/>
                <a:gd name="connsiteY4261" fmla="*/ 5822024 h 9250612"/>
                <a:gd name="connsiteX4262" fmla="*/ 4905620 w 6942639"/>
                <a:gd name="connsiteY4262" fmla="*/ 5830985 h 9250612"/>
                <a:gd name="connsiteX4263" fmla="*/ 4896660 w 6942639"/>
                <a:gd name="connsiteY4263" fmla="*/ 5822024 h 9250612"/>
                <a:gd name="connsiteX4264" fmla="*/ 4905620 w 6942639"/>
                <a:gd name="connsiteY4264" fmla="*/ 5813064 h 9250612"/>
                <a:gd name="connsiteX4265" fmla="*/ 4736878 w 6942639"/>
                <a:gd name="connsiteY4265" fmla="*/ 5813064 h 9250612"/>
                <a:gd name="connsiteX4266" fmla="*/ 4745839 w 6942639"/>
                <a:gd name="connsiteY4266" fmla="*/ 5822024 h 9250612"/>
                <a:gd name="connsiteX4267" fmla="*/ 4736878 w 6942639"/>
                <a:gd name="connsiteY4267" fmla="*/ 5830985 h 9250612"/>
                <a:gd name="connsiteX4268" fmla="*/ 4727918 w 6942639"/>
                <a:gd name="connsiteY4268" fmla="*/ 5822024 h 9250612"/>
                <a:gd name="connsiteX4269" fmla="*/ 4736878 w 6942639"/>
                <a:gd name="connsiteY4269" fmla="*/ 5813064 h 9250612"/>
                <a:gd name="connsiteX4270" fmla="*/ 4568137 w 6942639"/>
                <a:gd name="connsiteY4270" fmla="*/ 5813064 h 9250612"/>
                <a:gd name="connsiteX4271" fmla="*/ 4577098 w 6942639"/>
                <a:gd name="connsiteY4271" fmla="*/ 5822024 h 9250612"/>
                <a:gd name="connsiteX4272" fmla="*/ 4568137 w 6942639"/>
                <a:gd name="connsiteY4272" fmla="*/ 5830985 h 9250612"/>
                <a:gd name="connsiteX4273" fmla="*/ 4559177 w 6942639"/>
                <a:gd name="connsiteY4273" fmla="*/ 5822024 h 9250612"/>
                <a:gd name="connsiteX4274" fmla="*/ 4568137 w 6942639"/>
                <a:gd name="connsiteY4274" fmla="*/ 5813064 h 9250612"/>
                <a:gd name="connsiteX4275" fmla="*/ 4399396 w 6942639"/>
                <a:gd name="connsiteY4275" fmla="*/ 5813064 h 9250612"/>
                <a:gd name="connsiteX4276" fmla="*/ 4408357 w 6942639"/>
                <a:gd name="connsiteY4276" fmla="*/ 5822024 h 9250612"/>
                <a:gd name="connsiteX4277" fmla="*/ 4399396 w 6942639"/>
                <a:gd name="connsiteY4277" fmla="*/ 5830985 h 9250612"/>
                <a:gd name="connsiteX4278" fmla="*/ 4390436 w 6942639"/>
                <a:gd name="connsiteY4278" fmla="*/ 5822024 h 9250612"/>
                <a:gd name="connsiteX4279" fmla="*/ 4399396 w 6942639"/>
                <a:gd name="connsiteY4279" fmla="*/ 5813064 h 9250612"/>
                <a:gd name="connsiteX4280" fmla="*/ 4230654 w 6942639"/>
                <a:gd name="connsiteY4280" fmla="*/ 5813064 h 9250612"/>
                <a:gd name="connsiteX4281" fmla="*/ 4239615 w 6942639"/>
                <a:gd name="connsiteY4281" fmla="*/ 5822024 h 9250612"/>
                <a:gd name="connsiteX4282" fmla="*/ 4230654 w 6942639"/>
                <a:gd name="connsiteY4282" fmla="*/ 5830985 h 9250612"/>
                <a:gd name="connsiteX4283" fmla="*/ 4221694 w 6942639"/>
                <a:gd name="connsiteY4283" fmla="*/ 5822024 h 9250612"/>
                <a:gd name="connsiteX4284" fmla="*/ 4230654 w 6942639"/>
                <a:gd name="connsiteY4284" fmla="*/ 5813064 h 9250612"/>
                <a:gd name="connsiteX4285" fmla="*/ 4061912 w 6942639"/>
                <a:gd name="connsiteY4285" fmla="*/ 5813064 h 9250612"/>
                <a:gd name="connsiteX4286" fmla="*/ 4070873 w 6942639"/>
                <a:gd name="connsiteY4286" fmla="*/ 5822024 h 9250612"/>
                <a:gd name="connsiteX4287" fmla="*/ 4061912 w 6942639"/>
                <a:gd name="connsiteY4287" fmla="*/ 5830985 h 9250612"/>
                <a:gd name="connsiteX4288" fmla="*/ 4052952 w 6942639"/>
                <a:gd name="connsiteY4288" fmla="*/ 5822024 h 9250612"/>
                <a:gd name="connsiteX4289" fmla="*/ 4061912 w 6942639"/>
                <a:gd name="connsiteY4289" fmla="*/ 5813064 h 9250612"/>
                <a:gd name="connsiteX4290" fmla="*/ 3893170 w 6942639"/>
                <a:gd name="connsiteY4290" fmla="*/ 5813064 h 9250612"/>
                <a:gd name="connsiteX4291" fmla="*/ 3902131 w 6942639"/>
                <a:gd name="connsiteY4291" fmla="*/ 5822024 h 9250612"/>
                <a:gd name="connsiteX4292" fmla="*/ 3893170 w 6942639"/>
                <a:gd name="connsiteY4292" fmla="*/ 5830985 h 9250612"/>
                <a:gd name="connsiteX4293" fmla="*/ 3884210 w 6942639"/>
                <a:gd name="connsiteY4293" fmla="*/ 5822024 h 9250612"/>
                <a:gd name="connsiteX4294" fmla="*/ 3893170 w 6942639"/>
                <a:gd name="connsiteY4294" fmla="*/ 5813064 h 9250612"/>
                <a:gd name="connsiteX4295" fmla="*/ 3724429 w 6942639"/>
                <a:gd name="connsiteY4295" fmla="*/ 5813064 h 9250612"/>
                <a:gd name="connsiteX4296" fmla="*/ 3733390 w 6942639"/>
                <a:gd name="connsiteY4296" fmla="*/ 5822024 h 9250612"/>
                <a:gd name="connsiteX4297" fmla="*/ 3724429 w 6942639"/>
                <a:gd name="connsiteY4297" fmla="*/ 5830985 h 9250612"/>
                <a:gd name="connsiteX4298" fmla="*/ 3715469 w 6942639"/>
                <a:gd name="connsiteY4298" fmla="*/ 5822024 h 9250612"/>
                <a:gd name="connsiteX4299" fmla="*/ 3724429 w 6942639"/>
                <a:gd name="connsiteY4299" fmla="*/ 5813064 h 9250612"/>
                <a:gd name="connsiteX4300" fmla="*/ 3555688 w 6942639"/>
                <a:gd name="connsiteY4300" fmla="*/ 5813064 h 9250612"/>
                <a:gd name="connsiteX4301" fmla="*/ 3564649 w 6942639"/>
                <a:gd name="connsiteY4301" fmla="*/ 5822024 h 9250612"/>
                <a:gd name="connsiteX4302" fmla="*/ 3555688 w 6942639"/>
                <a:gd name="connsiteY4302" fmla="*/ 5830985 h 9250612"/>
                <a:gd name="connsiteX4303" fmla="*/ 3546728 w 6942639"/>
                <a:gd name="connsiteY4303" fmla="*/ 5822024 h 9250612"/>
                <a:gd name="connsiteX4304" fmla="*/ 3555688 w 6942639"/>
                <a:gd name="connsiteY4304" fmla="*/ 5813064 h 9250612"/>
                <a:gd name="connsiteX4305" fmla="*/ 3387008 w 6942639"/>
                <a:gd name="connsiteY4305" fmla="*/ 5813064 h 9250612"/>
                <a:gd name="connsiteX4306" fmla="*/ 3395968 w 6942639"/>
                <a:gd name="connsiteY4306" fmla="*/ 5822024 h 9250612"/>
                <a:gd name="connsiteX4307" fmla="*/ 3387008 w 6942639"/>
                <a:gd name="connsiteY4307" fmla="*/ 5830985 h 9250612"/>
                <a:gd name="connsiteX4308" fmla="*/ 3378017 w 6942639"/>
                <a:gd name="connsiteY4308" fmla="*/ 5822024 h 9250612"/>
                <a:gd name="connsiteX4309" fmla="*/ 3387008 w 6942639"/>
                <a:gd name="connsiteY4309" fmla="*/ 5813064 h 9250612"/>
                <a:gd name="connsiteX4310" fmla="*/ 3218250 w 6942639"/>
                <a:gd name="connsiteY4310" fmla="*/ 5813064 h 9250612"/>
                <a:gd name="connsiteX4311" fmla="*/ 3227223 w 6942639"/>
                <a:gd name="connsiteY4311" fmla="*/ 5822024 h 9250612"/>
                <a:gd name="connsiteX4312" fmla="*/ 3218250 w 6942639"/>
                <a:gd name="connsiteY4312" fmla="*/ 5830985 h 9250612"/>
                <a:gd name="connsiteX4313" fmla="*/ 3209294 w 6942639"/>
                <a:gd name="connsiteY4313" fmla="*/ 5822024 h 9250612"/>
                <a:gd name="connsiteX4314" fmla="*/ 3218250 w 6942639"/>
                <a:gd name="connsiteY4314" fmla="*/ 5813064 h 9250612"/>
                <a:gd name="connsiteX4315" fmla="*/ 3049540 w 6942639"/>
                <a:gd name="connsiteY4315" fmla="*/ 5813064 h 9250612"/>
                <a:gd name="connsiteX4316" fmla="*/ 3058487 w 6942639"/>
                <a:gd name="connsiteY4316" fmla="*/ 5822024 h 9250612"/>
                <a:gd name="connsiteX4317" fmla="*/ 3049540 w 6942639"/>
                <a:gd name="connsiteY4317" fmla="*/ 5830985 h 9250612"/>
                <a:gd name="connsiteX4318" fmla="*/ 3040567 w 6942639"/>
                <a:gd name="connsiteY4318" fmla="*/ 5822024 h 9250612"/>
                <a:gd name="connsiteX4319" fmla="*/ 3049540 w 6942639"/>
                <a:gd name="connsiteY4319" fmla="*/ 5813064 h 9250612"/>
                <a:gd name="connsiteX4320" fmla="*/ 2880802 w 6942639"/>
                <a:gd name="connsiteY4320" fmla="*/ 5813064 h 9250612"/>
                <a:gd name="connsiteX4321" fmla="*/ 2889759 w 6942639"/>
                <a:gd name="connsiteY4321" fmla="*/ 5822024 h 9250612"/>
                <a:gd name="connsiteX4322" fmla="*/ 2880802 w 6942639"/>
                <a:gd name="connsiteY4322" fmla="*/ 5830985 h 9250612"/>
                <a:gd name="connsiteX4323" fmla="*/ 2871840 w 6942639"/>
                <a:gd name="connsiteY4323" fmla="*/ 5822024 h 9250612"/>
                <a:gd name="connsiteX4324" fmla="*/ 2880802 w 6942639"/>
                <a:gd name="connsiteY4324" fmla="*/ 5813064 h 9250612"/>
                <a:gd name="connsiteX4325" fmla="*/ 2712045 w 6942639"/>
                <a:gd name="connsiteY4325" fmla="*/ 5813064 h 9250612"/>
                <a:gd name="connsiteX4326" fmla="*/ 2721029 w 6942639"/>
                <a:gd name="connsiteY4326" fmla="*/ 5822024 h 9250612"/>
                <a:gd name="connsiteX4327" fmla="*/ 2712045 w 6942639"/>
                <a:gd name="connsiteY4327" fmla="*/ 5830985 h 9250612"/>
                <a:gd name="connsiteX4328" fmla="*/ 2703089 w 6942639"/>
                <a:gd name="connsiteY4328" fmla="*/ 5822024 h 9250612"/>
                <a:gd name="connsiteX4329" fmla="*/ 2712045 w 6942639"/>
                <a:gd name="connsiteY4329" fmla="*/ 5813064 h 9250612"/>
                <a:gd name="connsiteX4330" fmla="*/ 2543334 w 6942639"/>
                <a:gd name="connsiteY4330" fmla="*/ 5813064 h 9250612"/>
                <a:gd name="connsiteX4331" fmla="*/ 2552294 w 6942639"/>
                <a:gd name="connsiteY4331" fmla="*/ 5822024 h 9250612"/>
                <a:gd name="connsiteX4332" fmla="*/ 2543334 w 6942639"/>
                <a:gd name="connsiteY4332" fmla="*/ 5830985 h 9250612"/>
                <a:gd name="connsiteX4333" fmla="*/ 2534364 w 6942639"/>
                <a:gd name="connsiteY4333" fmla="*/ 5822024 h 9250612"/>
                <a:gd name="connsiteX4334" fmla="*/ 2543334 w 6942639"/>
                <a:gd name="connsiteY4334" fmla="*/ 5813064 h 9250612"/>
                <a:gd name="connsiteX4335" fmla="*/ 2374562 w 6942639"/>
                <a:gd name="connsiteY4335" fmla="*/ 5813064 h 9250612"/>
                <a:gd name="connsiteX4336" fmla="*/ 2383549 w 6942639"/>
                <a:gd name="connsiteY4336" fmla="*/ 5822024 h 9250612"/>
                <a:gd name="connsiteX4337" fmla="*/ 2374562 w 6942639"/>
                <a:gd name="connsiteY4337" fmla="*/ 5830985 h 9250612"/>
                <a:gd name="connsiteX4338" fmla="*/ 2365599 w 6942639"/>
                <a:gd name="connsiteY4338" fmla="*/ 5822024 h 9250612"/>
                <a:gd name="connsiteX4339" fmla="*/ 2374562 w 6942639"/>
                <a:gd name="connsiteY4339" fmla="*/ 5813064 h 9250612"/>
                <a:gd name="connsiteX4340" fmla="*/ 2205844 w 6942639"/>
                <a:gd name="connsiteY4340" fmla="*/ 5813064 h 9250612"/>
                <a:gd name="connsiteX4341" fmla="*/ 2214802 w 6942639"/>
                <a:gd name="connsiteY4341" fmla="*/ 5822024 h 9250612"/>
                <a:gd name="connsiteX4342" fmla="*/ 2205844 w 6942639"/>
                <a:gd name="connsiteY4342" fmla="*/ 5830985 h 9250612"/>
                <a:gd name="connsiteX4343" fmla="*/ 2196868 w 6942639"/>
                <a:gd name="connsiteY4343" fmla="*/ 5822024 h 9250612"/>
                <a:gd name="connsiteX4344" fmla="*/ 2205844 w 6942639"/>
                <a:gd name="connsiteY4344" fmla="*/ 5813064 h 9250612"/>
                <a:gd name="connsiteX4345" fmla="*/ 2037099 w 6942639"/>
                <a:gd name="connsiteY4345" fmla="*/ 5813064 h 9250612"/>
                <a:gd name="connsiteX4346" fmla="*/ 2046053 w 6942639"/>
                <a:gd name="connsiteY4346" fmla="*/ 5822024 h 9250612"/>
                <a:gd name="connsiteX4347" fmla="*/ 2037099 w 6942639"/>
                <a:gd name="connsiteY4347" fmla="*/ 5830985 h 9250612"/>
                <a:gd name="connsiteX4348" fmla="*/ 2028152 w 6942639"/>
                <a:gd name="connsiteY4348" fmla="*/ 5822024 h 9250612"/>
                <a:gd name="connsiteX4349" fmla="*/ 2037099 w 6942639"/>
                <a:gd name="connsiteY4349" fmla="*/ 5813064 h 9250612"/>
                <a:gd name="connsiteX4350" fmla="*/ 1868377 w 6942639"/>
                <a:gd name="connsiteY4350" fmla="*/ 5813064 h 9250612"/>
                <a:gd name="connsiteX4351" fmla="*/ 1877331 w 6942639"/>
                <a:gd name="connsiteY4351" fmla="*/ 5822024 h 9250612"/>
                <a:gd name="connsiteX4352" fmla="*/ 1868377 w 6942639"/>
                <a:gd name="connsiteY4352" fmla="*/ 5830985 h 9250612"/>
                <a:gd name="connsiteX4353" fmla="*/ 1859408 w 6942639"/>
                <a:gd name="connsiteY4353" fmla="*/ 5822024 h 9250612"/>
                <a:gd name="connsiteX4354" fmla="*/ 1868377 w 6942639"/>
                <a:gd name="connsiteY4354" fmla="*/ 5813064 h 9250612"/>
                <a:gd name="connsiteX4355" fmla="*/ 1699628 w 6942639"/>
                <a:gd name="connsiteY4355" fmla="*/ 5813064 h 9250612"/>
                <a:gd name="connsiteX4356" fmla="*/ 1708595 w 6942639"/>
                <a:gd name="connsiteY4356" fmla="*/ 5822024 h 9250612"/>
                <a:gd name="connsiteX4357" fmla="*/ 1699628 w 6942639"/>
                <a:gd name="connsiteY4357" fmla="*/ 5830985 h 9250612"/>
                <a:gd name="connsiteX4358" fmla="*/ 1690665 w 6942639"/>
                <a:gd name="connsiteY4358" fmla="*/ 5822024 h 9250612"/>
                <a:gd name="connsiteX4359" fmla="*/ 1699628 w 6942639"/>
                <a:gd name="connsiteY4359" fmla="*/ 5813064 h 9250612"/>
                <a:gd name="connsiteX4360" fmla="*/ 1530888 w 6942639"/>
                <a:gd name="connsiteY4360" fmla="*/ 5813064 h 9250612"/>
                <a:gd name="connsiteX4361" fmla="*/ 1539850 w 6942639"/>
                <a:gd name="connsiteY4361" fmla="*/ 5822024 h 9250612"/>
                <a:gd name="connsiteX4362" fmla="*/ 1530888 w 6942639"/>
                <a:gd name="connsiteY4362" fmla="*/ 5830985 h 9250612"/>
                <a:gd name="connsiteX4363" fmla="*/ 1521927 w 6942639"/>
                <a:gd name="connsiteY4363" fmla="*/ 5822024 h 9250612"/>
                <a:gd name="connsiteX4364" fmla="*/ 1530888 w 6942639"/>
                <a:gd name="connsiteY4364" fmla="*/ 5813064 h 9250612"/>
                <a:gd name="connsiteX4365" fmla="*/ 1362141 w 6942639"/>
                <a:gd name="connsiteY4365" fmla="*/ 5813064 h 9250612"/>
                <a:gd name="connsiteX4366" fmla="*/ 1371102 w 6942639"/>
                <a:gd name="connsiteY4366" fmla="*/ 5822024 h 9250612"/>
                <a:gd name="connsiteX4367" fmla="*/ 1362141 w 6942639"/>
                <a:gd name="connsiteY4367" fmla="*/ 5830985 h 9250612"/>
                <a:gd name="connsiteX4368" fmla="*/ 1353180 w 6942639"/>
                <a:gd name="connsiteY4368" fmla="*/ 5822024 h 9250612"/>
                <a:gd name="connsiteX4369" fmla="*/ 1362141 w 6942639"/>
                <a:gd name="connsiteY4369" fmla="*/ 5813064 h 9250612"/>
                <a:gd name="connsiteX4370" fmla="*/ 1193399 w 6942639"/>
                <a:gd name="connsiteY4370" fmla="*/ 5813064 h 9250612"/>
                <a:gd name="connsiteX4371" fmla="*/ 1202360 w 6942639"/>
                <a:gd name="connsiteY4371" fmla="*/ 5822024 h 9250612"/>
                <a:gd name="connsiteX4372" fmla="*/ 1193399 w 6942639"/>
                <a:gd name="connsiteY4372" fmla="*/ 5830985 h 9250612"/>
                <a:gd name="connsiteX4373" fmla="*/ 1184441 w 6942639"/>
                <a:gd name="connsiteY4373" fmla="*/ 5822024 h 9250612"/>
                <a:gd name="connsiteX4374" fmla="*/ 1193399 w 6942639"/>
                <a:gd name="connsiteY4374" fmla="*/ 5813064 h 9250612"/>
                <a:gd name="connsiteX4375" fmla="*/ 1024650 w 6942639"/>
                <a:gd name="connsiteY4375" fmla="*/ 5813064 h 9250612"/>
                <a:gd name="connsiteX4376" fmla="*/ 1033615 w 6942639"/>
                <a:gd name="connsiteY4376" fmla="*/ 5822024 h 9250612"/>
                <a:gd name="connsiteX4377" fmla="*/ 1024650 w 6942639"/>
                <a:gd name="connsiteY4377" fmla="*/ 5830985 h 9250612"/>
                <a:gd name="connsiteX4378" fmla="*/ 1015690 w 6942639"/>
                <a:gd name="connsiteY4378" fmla="*/ 5822024 h 9250612"/>
                <a:gd name="connsiteX4379" fmla="*/ 1024650 w 6942639"/>
                <a:gd name="connsiteY4379" fmla="*/ 5813064 h 9250612"/>
                <a:gd name="connsiteX4380" fmla="*/ 855918 w 6942639"/>
                <a:gd name="connsiteY4380" fmla="*/ 5813064 h 9250612"/>
                <a:gd name="connsiteX4381" fmla="*/ 864878 w 6942639"/>
                <a:gd name="connsiteY4381" fmla="*/ 5822024 h 9250612"/>
                <a:gd name="connsiteX4382" fmla="*/ 855918 w 6942639"/>
                <a:gd name="connsiteY4382" fmla="*/ 5830985 h 9250612"/>
                <a:gd name="connsiteX4383" fmla="*/ 846958 w 6942639"/>
                <a:gd name="connsiteY4383" fmla="*/ 5822024 h 9250612"/>
                <a:gd name="connsiteX4384" fmla="*/ 855918 w 6942639"/>
                <a:gd name="connsiteY4384" fmla="*/ 5813064 h 9250612"/>
                <a:gd name="connsiteX4385" fmla="*/ 687178 w 6942639"/>
                <a:gd name="connsiteY4385" fmla="*/ 5813064 h 9250612"/>
                <a:gd name="connsiteX4386" fmla="*/ 696138 w 6942639"/>
                <a:gd name="connsiteY4386" fmla="*/ 5822024 h 9250612"/>
                <a:gd name="connsiteX4387" fmla="*/ 687178 w 6942639"/>
                <a:gd name="connsiteY4387" fmla="*/ 5830985 h 9250612"/>
                <a:gd name="connsiteX4388" fmla="*/ 678218 w 6942639"/>
                <a:gd name="connsiteY4388" fmla="*/ 5822024 h 9250612"/>
                <a:gd name="connsiteX4389" fmla="*/ 687178 w 6942639"/>
                <a:gd name="connsiteY4389" fmla="*/ 5813064 h 9250612"/>
                <a:gd name="connsiteX4390" fmla="*/ 518419 w 6942639"/>
                <a:gd name="connsiteY4390" fmla="*/ 5813064 h 9250612"/>
                <a:gd name="connsiteX4391" fmla="*/ 527380 w 6942639"/>
                <a:gd name="connsiteY4391" fmla="*/ 5822024 h 9250612"/>
                <a:gd name="connsiteX4392" fmla="*/ 518419 w 6942639"/>
                <a:gd name="connsiteY4392" fmla="*/ 5830985 h 9250612"/>
                <a:gd name="connsiteX4393" fmla="*/ 509459 w 6942639"/>
                <a:gd name="connsiteY4393" fmla="*/ 5822024 h 9250612"/>
                <a:gd name="connsiteX4394" fmla="*/ 518419 w 6942639"/>
                <a:gd name="connsiteY4394" fmla="*/ 5813064 h 9250612"/>
                <a:gd name="connsiteX4395" fmla="*/ 349680 w 6942639"/>
                <a:gd name="connsiteY4395" fmla="*/ 5813064 h 9250612"/>
                <a:gd name="connsiteX4396" fmla="*/ 358641 w 6942639"/>
                <a:gd name="connsiteY4396" fmla="*/ 5822024 h 9250612"/>
                <a:gd name="connsiteX4397" fmla="*/ 349680 w 6942639"/>
                <a:gd name="connsiteY4397" fmla="*/ 5830985 h 9250612"/>
                <a:gd name="connsiteX4398" fmla="*/ 340720 w 6942639"/>
                <a:gd name="connsiteY4398" fmla="*/ 5822024 h 9250612"/>
                <a:gd name="connsiteX4399" fmla="*/ 349680 w 6942639"/>
                <a:gd name="connsiteY4399" fmla="*/ 5813064 h 9250612"/>
                <a:gd name="connsiteX4400" fmla="*/ 179361 w 6942639"/>
                <a:gd name="connsiteY4400" fmla="*/ 5813064 h 9250612"/>
                <a:gd name="connsiteX4401" fmla="*/ 188322 w 6942639"/>
                <a:gd name="connsiteY4401" fmla="*/ 5822024 h 9250612"/>
                <a:gd name="connsiteX4402" fmla="*/ 179361 w 6942639"/>
                <a:gd name="connsiteY4402" fmla="*/ 5830985 h 9250612"/>
                <a:gd name="connsiteX4403" fmla="*/ 170401 w 6942639"/>
                <a:gd name="connsiteY4403" fmla="*/ 5822024 h 9250612"/>
                <a:gd name="connsiteX4404" fmla="*/ 179361 w 6942639"/>
                <a:gd name="connsiteY4404" fmla="*/ 5813064 h 9250612"/>
                <a:gd name="connsiteX4405" fmla="*/ 9043 w 6942639"/>
                <a:gd name="connsiteY4405" fmla="*/ 5813064 h 9250612"/>
                <a:gd name="connsiteX4406" fmla="*/ 18003 w 6942639"/>
                <a:gd name="connsiteY4406" fmla="*/ 5822024 h 9250612"/>
                <a:gd name="connsiteX4407" fmla="*/ 9043 w 6942639"/>
                <a:gd name="connsiteY4407" fmla="*/ 5830985 h 9250612"/>
                <a:gd name="connsiteX4408" fmla="*/ 83 w 6942639"/>
                <a:gd name="connsiteY4408" fmla="*/ 5822024 h 9250612"/>
                <a:gd name="connsiteX4409" fmla="*/ 9043 w 6942639"/>
                <a:gd name="connsiteY4409" fmla="*/ 5813064 h 9250612"/>
                <a:gd name="connsiteX4410" fmla="*/ 6933679 w 6942639"/>
                <a:gd name="connsiteY4410" fmla="*/ 5642083 h 9250612"/>
                <a:gd name="connsiteX4411" fmla="*/ 6942639 w 6942639"/>
                <a:gd name="connsiteY4411" fmla="*/ 5651043 h 9250612"/>
                <a:gd name="connsiteX4412" fmla="*/ 6933679 w 6942639"/>
                <a:gd name="connsiteY4412" fmla="*/ 5660004 h 9250612"/>
                <a:gd name="connsiteX4413" fmla="*/ 6924718 w 6942639"/>
                <a:gd name="connsiteY4413" fmla="*/ 5651043 h 9250612"/>
                <a:gd name="connsiteX4414" fmla="*/ 6933679 w 6942639"/>
                <a:gd name="connsiteY4414" fmla="*/ 5642083 h 9250612"/>
                <a:gd name="connsiteX4415" fmla="*/ 6763357 w 6942639"/>
                <a:gd name="connsiteY4415" fmla="*/ 5642083 h 9250612"/>
                <a:gd name="connsiteX4416" fmla="*/ 6772318 w 6942639"/>
                <a:gd name="connsiteY4416" fmla="*/ 5651043 h 9250612"/>
                <a:gd name="connsiteX4417" fmla="*/ 6763357 w 6942639"/>
                <a:gd name="connsiteY4417" fmla="*/ 5660004 h 9250612"/>
                <a:gd name="connsiteX4418" fmla="*/ 6754397 w 6942639"/>
                <a:gd name="connsiteY4418" fmla="*/ 5651043 h 9250612"/>
                <a:gd name="connsiteX4419" fmla="*/ 6763357 w 6942639"/>
                <a:gd name="connsiteY4419" fmla="*/ 5642083 h 9250612"/>
                <a:gd name="connsiteX4420" fmla="*/ 6593035 w 6942639"/>
                <a:gd name="connsiteY4420" fmla="*/ 5642083 h 9250612"/>
                <a:gd name="connsiteX4421" fmla="*/ 6601996 w 6942639"/>
                <a:gd name="connsiteY4421" fmla="*/ 5651043 h 9250612"/>
                <a:gd name="connsiteX4422" fmla="*/ 6593035 w 6942639"/>
                <a:gd name="connsiteY4422" fmla="*/ 5660004 h 9250612"/>
                <a:gd name="connsiteX4423" fmla="*/ 6584075 w 6942639"/>
                <a:gd name="connsiteY4423" fmla="*/ 5651043 h 9250612"/>
                <a:gd name="connsiteX4424" fmla="*/ 6593035 w 6942639"/>
                <a:gd name="connsiteY4424" fmla="*/ 5642083 h 9250612"/>
                <a:gd name="connsiteX4425" fmla="*/ 6424294 w 6942639"/>
                <a:gd name="connsiteY4425" fmla="*/ 5642083 h 9250612"/>
                <a:gd name="connsiteX4426" fmla="*/ 6433255 w 6942639"/>
                <a:gd name="connsiteY4426" fmla="*/ 5651043 h 9250612"/>
                <a:gd name="connsiteX4427" fmla="*/ 6424294 w 6942639"/>
                <a:gd name="connsiteY4427" fmla="*/ 5660004 h 9250612"/>
                <a:gd name="connsiteX4428" fmla="*/ 6415334 w 6942639"/>
                <a:gd name="connsiteY4428" fmla="*/ 5651043 h 9250612"/>
                <a:gd name="connsiteX4429" fmla="*/ 6424294 w 6942639"/>
                <a:gd name="connsiteY4429" fmla="*/ 5642083 h 9250612"/>
                <a:gd name="connsiteX4430" fmla="*/ 6255553 w 6942639"/>
                <a:gd name="connsiteY4430" fmla="*/ 5642083 h 9250612"/>
                <a:gd name="connsiteX4431" fmla="*/ 6264514 w 6942639"/>
                <a:gd name="connsiteY4431" fmla="*/ 5651043 h 9250612"/>
                <a:gd name="connsiteX4432" fmla="*/ 6255553 w 6942639"/>
                <a:gd name="connsiteY4432" fmla="*/ 5660004 h 9250612"/>
                <a:gd name="connsiteX4433" fmla="*/ 6246593 w 6942639"/>
                <a:gd name="connsiteY4433" fmla="*/ 5651043 h 9250612"/>
                <a:gd name="connsiteX4434" fmla="*/ 6255553 w 6942639"/>
                <a:gd name="connsiteY4434" fmla="*/ 5642083 h 9250612"/>
                <a:gd name="connsiteX4435" fmla="*/ 6086811 w 6942639"/>
                <a:gd name="connsiteY4435" fmla="*/ 5642083 h 9250612"/>
                <a:gd name="connsiteX4436" fmla="*/ 6095772 w 6942639"/>
                <a:gd name="connsiteY4436" fmla="*/ 5651043 h 9250612"/>
                <a:gd name="connsiteX4437" fmla="*/ 6086811 w 6942639"/>
                <a:gd name="connsiteY4437" fmla="*/ 5660004 h 9250612"/>
                <a:gd name="connsiteX4438" fmla="*/ 6077851 w 6942639"/>
                <a:gd name="connsiteY4438" fmla="*/ 5651043 h 9250612"/>
                <a:gd name="connsiteX4439" fmla="*/ 6086811 w 6942639"/>
                <a:gd name="connsiteY4439" fmla="*/ 5642083 h 9250612"/>
                <a:gd name="connsiteX4440" fmla="*/ 5918069 w 6942639"/>
                <a:gd name="connsiteY4440" fmla="*/ 5642083 h 9250612"/>
                <a:gd name="connsiteX4441" fmla="*/ 5927030 w 6942639"/>
                <a:gd name="connsiteY4441" fmla="*/ 5651043 h 9250612"/>
                <a:gd name="connsiteX4442" fmla="*/ 5918069 w 6942639"/>
                <a:gd name="connsiteY4442" fmla="*/ 5660004 h 9250612"/>
                <a:gd name="connsiteX4443" fmla="*/ 5909109 w 6942639"/>
                <a:gd name="connsiteY4443" fmla="*/ 5651043 h 9250612"/>
                <a:gd name="connsiteX4444" fmla="*/ 5918069 w 6942639"/>
                <a:gd name="connsiteY4444" fmla="*/ 5642083 h 9250612"/>
                <a:gd name="connsiteX4445" fmla="*/ 5749328 w 6942639"/>
                <a:gd name="connsiteY4445" fmla="*/ 5642083 h 9250612"/>
                <a:gd name="connsiteX4446" fmla="*/ 5758289 w 6942639"/>
                <a:gd name="connsiteY4446" fmla="*/ 5651043 h 9250612"/>
                <a:gd name="connsiteX4447" fmla="*/ 5749328 w 6942639"/>
                <a:gd name="connsiteY4447" fmla="*/ 5660004 h 9250612"/>
                <a:gd name="connsiteX4448" fmla="*/ 5740368 w 6942639"/>
                <a:gd name="connsiteY4448" fmla="*/ 5651043 h 9250612"/>
                <a:gd name="connsiteX4449" fmla="*/ 5749328 w 6942639"/>
                <a:gd name="connsiteY4449" fmla="*/ 5642083 h 9250612"/>
                <a:gd name="connsiteX4450" fmla="*/ 5580586 w 6942639"/>
                <a:gd name="connsiteY4450" fmla="*/ 5642083 h 9250612"/>
                <a:gd name="connsiteX4451" fmla="*/ 5589547 w 6942639"/>
                <a:gd name="connsiteY4451" fmla="*/ 5651043 h 9250612"/>
                <a:gd name="connsiteX4452" fmla="*/ 5580586 w 6942639"/>
                <a:gd name="connsiteY4452" fmla="*/ 5660004 h 9250612"/>
                <a:gd name="connsiteX4453" fmla="*/ 5571626 w 6942639"/>
                <a:gd name="connsiteY4453" fmla="*/ 5651043 h 9250612"/>
                <a:gd name="connsiteX4454" fmla="*/ 5580586 w 6942639"/>
                <a:gd name="connsiteY4454" fmla="*/ 5642083 h 9250612"/>
                <a:gd name="connsiteX4455" fmla="*/ 5411845 w 6942639"/>
                <a:gd name="connsiteY4455" fmla="*/ 5642083 h 9250612"/>
                <a:gd name="connsiteX4456" fmla="*/ 5420806 w 6942639"/>
                <a:gd name="connsiteY4456" fmla="*/ 5651043 h 9250612"/>
                <a:gd name="connsiteX4457" fmla="*/ 5411845 w 6942639"/>
                <a:gd name="connsiteY4457" fmla="*/ 5660004 h 9250612"/>
                <a:gd name="connsiteX4458" fmla="*/ 5402885 w 6942639"/>
                <a:gd name="connsiteY4458" fmla="*/ 5651043 h 9250612"/>
                <a:gd name="connsiteX4459" fmla="*/ 5411845 w 6942639"/>
                <a:gd name="connsiteY4459" fmla="*/ 5642083 h 9250612"/>
                <a:gd name="connsiteX4460" fmla="*/ 5243103 w 6942639"/>
                <a:gd name="connsiteY4460" fmla="*/ 5642083 h 9250612"/>
                <a:gd name="connsiteX4461" fmla="*/ 5252064 w 6942639"/>
                <a:gd name="connsiteY4461" fmla="*/ 5651043 h 9250612"/>
                <a:gd name="connsiteX4462" fmla="*/ 5243103 w 6942639"/>
                <a:gd name="connsiteY4462" fmla="*/ 5660004 h 9250612"/>
                <a:gd name="connsiteX4463" fmla="*/ 5234143 w 6942639"/>
                <a:gd name="connsiteY4463" fmla="*/ 5651043 h 9250612"/>
                <a:gd name="connsiteX4464" fmla="*/ 5243103 w 6942639"/>
                <a:gd name="connsiteY4464" fmla="*/ 5642083 h 9250612"/>
                <a:gd name="connsiteX4465" fmla="*/ 5074362 w 6942639"/>
                <a:gd name="connsiteY4465" fmla="*/ 5642083 h 9250612"/>
                <a:gd name="connsiteX4466" fmla="*/ 5083323 w 6942639"/>
                <a:gd name="connsiteY4466" fmla="*/ 5651043 h 9250612"/>
                <a:gd name="connsiteX4467" fmla="*/ 5074362 w 6942639"/>
                <a:gd name="connsiteY4467" fmla="*/ 5660004 h 9250612"/>
                <a:gd name="connsiteX4468" fmla="*/ 5065402 w 6942639"/>
                <a:gd name="connsiteY4468" fmla="*/ 5651043 h 9250612"/>
                <a:gd name="connsiteX4469" fmla="*/ 5074362 w 6942639"/>
                <a:gd name="connsiteY4469" fmla="*/ 5642083 h 9250612"/>
                <a:gd name="connsiteX4470" fmla="*/ 4905620 w 6942639"/>
                <a:gd name="connsiteY4470" fmla="*/ 5642083 h 9250612"/>
                <a:gd name="connsiteX4471" fmla="*/ 4914581 w 6942639"/>
                <a:gd name="connsiteY4471" fmla="*/ 5651043 h 9250612"/>
                <a:gd name="connsiteX4472" fmla="*/ 4905620 w 6942639"/>
                <a:gd name="connsiteY4472" fmla="*/ 5660004 h 9250612"/>
                <a:gd name="connsiteX4473" fmla="*/ 4896660 w 6942639"/>
                <a:gd name="connsiteY4473" fmla="*/ 5651043 h 9250612"/>
                <a:gd name="connsiteX4474" fmla="*/ 4905620 w 6942639"/>
                <a:gd name="connsiteY4474" fmla="*/ 5642083 h 9250612"/>
                <a:gd name="connsiteX4475" fmla="*/ 4736878 w 6942639"/>
                <a:gd name="connsiteY4475" fmla="*/ 5642083 h 9250612"/>
                <a:gd name="connsiteX4476" fmla="*/ 4745839 w 6942639"/>
                <a:gd name="connsiteY4476" fmla="*/ 5651043 h 9250612"/>
                <a:gd name="connsiteX4477" fmla="*/ 4736878 w 6942639"/>
                <a:gd name="connsiteY4477" fmla="*/ 5660004 h 9250612"/>
                <a:gd name="connsiteX4478" fmla="*/ 4727918 w 6942639"/>
                <a:gd name="connsiteY4478" fmla="*/ 5651043 h 9250612"/>
                <a:gd name="connsiteX4479" fmla="*/ 4736878 w 6942639"/>
                <a:gd name="connsiteY4479" fmla="*/ 5642083 h 9250612"/>
                <a:gd name="connsiteX4480" fmla="*/ 4568137 w 6942639"/>
                <a:gd name="connsiteY4480" fmla="*/ 5642083 h 9250612"/>
                <a:gd name="connsiteX4481" fmla="*/ 4577098 w 6942639"/>
                <a:gd name="connsiteY4481" fmla="*/ 5651043 h 9250612"/>
                <a:gd name="connsiteX4482" fmla="*/ 4568137 w 6942639"/>
                <a:gd name="connsiteY4482" fmla="*/ 5660004 h 9250612"/>
                <a:gd name="connsiteX4483" fmla="*/ 4559177 w 6942639"/>
                <a:gd name="connsiteY4483" fmla="*/ 5651043 h 9250612"/>
                <a:gd name="connsiteX4484" fmla="*/ 4568137 w 6942639"/>
                <a:gd name="connsiteY4484" fmla="*/ 5642083 h 9250612"/>
                <a:gd name="connsiteX4485" fmla="*/ 4399396 w 6942639"/>
                <a:gd name="connsiteY4485" fmla="*/ 5642083 h 9250612"/>
                <a:gd name="connsiteX4486" fmla="*/ 4408357 w 6942639"/>
                <a:gd name="connsiteY4486" fmla="*/ 5651043 h 9250612"/>
                <a:gd name="connsiteX4487" fmla="*/ 4399396 w 6942639"/>
                <a:gd name="connsiteY4487" fmla="*/ 5660004 h 9250612"/>
                <a:gd name="connsiteX4488" fmla="*/ 4390436 w 6942639"/>
                <a:gd name="connsiteY4488" fmla="*/ 5651043 h 9250612"/>
                <a:gd name="connsiteX4489" fmla="*/ 4399396 w 6942639"/>
                <a:gd name="connsiteY4489" fmla="*/ 5642083 h 9250612"/>
                <a:gd name="connsiteX4490" fmla="*/ 4230654 w 6942639"/>
                <a:gd name="connsiteY4490" fmla="*/ 5642083 h 9250612"/>
                <a:gd name="connsiteX4491" fmla="*/ 4239615 w 6942639"/>
                <a:gd name="connsiteY4491" fmla="*/ 5651043 h 9250612"/>
                <a:gd name="connsiteX4492" fmla="*/ 4230654 w 6942639"/>
                <a:gd name="connsiteY4492" fmla="*/ 5660004 h 9250612"/>
                <a:gd name="connsiteX4493" fmla="*/ 4221694 w 6942639"/>
                <a:gd name="connsiteY4493" fmla="*/ 5651043 h 9250612"/>
                <a:gd name="connsiteX4494" fmla="*/ 4230654 w 6942639"/>
                <a:gd name="connsiteY4494" fmla="*/ 5642083 h 9250612"/>
                <a:gd name="connsiteX4495" fmla="*/ 4061912 w 6942639"/>
                <a:gd name="connsiteY4495" fmla="*/ 5642083 h 9250612"/>
                <a:gd name="connsiteX4496" fmla="*/ 4070873 w 6942639"/>
                <a:gd name="connsiteY4496" fmla="*/ 5651043 h 9250612"/>
                <a:gd name="connsiteX4497" fmla="*/ 4061912 w 6942639"/>
                <a:gd name="connsiteY4497" fmla="*/ 5660004 h 9250612"/>
                <a:gd name="connsiteX4498" fmla="*/ 4052952 w 6942639"/>
                <a:gd name="connsiteY4498" fmla="*/ 5651043 h 9250612"/>
                <a:gd name="connsiteX4499" fmla="*/ 4061912 w 6942639"/>
                <a:gd name="connsiteY4499" fmla="*/ 5642083 h 9250612"/>
                <a:gd name="connsiteX4500" fmla="*/ 3893170 w 6942639"/>
                <a:gd name="connsiteY4500" fmla="*/ 5642083 h 9250612"/>
                <a:gd name="connsiteX4501" fmla="*/ 3902131 w 6942639"/>
                <a:gd name="connsiteY4501" fmla="*/ 5651043 h 9250612"/>
                <a:gd name="connsiteX4502" fmla="*/ 3893170 w 6942639"/>
                <a:gd name="connsiteY4502" fmla="*/ 5660004 h 9250612"/>
                <a:gd name="connsiteX4503" fmla="*/ 3884210 w 6942639"/>
                <a:gd name="connsiteY4503" fmla="*/ 5651043 h 9250612"/>
                <a:gd name="connsiteX4504" fmla="*/ 3893170 w 6942639"/>
                <a:gd name="connsiteY4504" fmla="*/ 5642083 h 9250612"/>
                <a:gd name="connsiteX4505" fmla="*/ 3724429 w 6942639"/>
                <a:gd name="connsiteY4505" fmla="*/ 5642083 h 9250612"/>
                <a:gd name="connsiteX4506" fmla="*/ 3733390 w 6942639"/>
                <a:gd name="connsiteY4506" fmla="*/ 5651043 h 9250612"/>
                <a:gd name="connsiteX4507" fmla="*/ 3724429 w 6942639"/>
                <a:gd name="connsiteY4507" fmla="*/ 5660004 h 9250612"/>
                <a:gd name="connsiteX4508" fmla="*/ 3715469 w 6942639"/>
                <a:gd name="connsiteY4508" fmla="*/ 5651043 h 9250612"/>
                <a:gd name="connsiteX4509" fmla="*/ 3724429 w 6942639"/>
                <a:gd name="connsiteY4509" fmla="*/ 5642083 h 9250612"/>
                <a:gd name="connsiteX4510" fmla="*/ 3555688 w 6942639"/>
                <a:gd name="connsiteY4510" fmla="*/ 5642083 h 9250612"/>
                <a:gd name="connsiteX4511" fmla="*/ 3564649 w 6942639"/>
                <a:gd name="connsiteY4511" fmla="*/ 5651043 h 9250612"/>
                <a:gd name="connsiteX4512" fmla="*/ 3555688 w 6942639"/>
                <a:gd name="connsiteY4512" fmla="*/ 5660004 h 9250612"/>
                <a:gd name="connsiteX4513" fmla="*/ 3546728 w 6942639"/>
                <a:gd name="connsiteY4513" fmla="*/ 5651043 h 9250612"/>
                <a:gd name="connsiteX4514" fmla="*/ 3555688 w 6942639"/>
                <a:gd name="connsiteY4514" fmla="*/ 5642083 h 9250612"/>
                <a:gd name="connsiteX4515" fmla="*/ 3387011 w 6942639"/>
                <a:gd name="connsiteY4515" fmla="*/ 5642083 h 9250612"/>
                <a:gd name="connsiteX4516" fmla="*/ 3395971 w 6942639"/>
                <a:gd name="connsiteY4516" fmla="*/ 5651043 h 9250612"/>
                <a:gd name="connsiteX4517" fmla="*/ 3387011 w 6942639"/>
                <a:gd name="connsiteY4517" fmla="*/ 5660004 h 9250612"/>
                <a:gd name="connsiteX4518" fmla="*/ 3378018 w 6942639"/>
                <a:gd name="connsiteY4518" fmla="*/ 5651043 h 9250612"/>
                <a:gd name="connsiteX4519" fmla="*/ 3387011 w 6942639"/>
                <a:gd name="connsiteY4519" fmla="*/ 5642083 h 9250612"/>
                <a:gd name="connsiteX4520" fmla="*/ 3218253 w 6942639"/>
                <a:gd name="connsiteY4520" fmla="*/ 5642083 h 9250612"/>
                <a:gd name="connsiteX4521" fmla="*/ 3227226 w 6942639"/>
                <a:gd name="connsiteY4521" fmla="*/ 5651043 h 9250612"/>
                <a:gd name="connsiteX4522" fmla="*/ 3218253 w 6942639"/>
                <a:gd name="connsiteY4522" fmla="*/ 5660004 h 9250612"/>
                <a:gd name="connsiteX4523" fmla="*/ 3209297 w 6942639"/>
                <a:gd name="connsiteY4523" fmla="*/ 5651043 h 9250612"/>
                <a:gd name="connsiteX4524" fmla="*/ 3218253 w 6942639"/>
                <a:gd name="connsiteY4524" fmla="*/ 5642083 h 9250612"/>
                <a:gd name="connsiteX4525" fmla="*/ 3049543 w 6942639"/>
                <a:gd name="connsiteY4525" fmla="*/ 5642083 h 9250612"/>
                <a:gd name="connsiteX4526" fmla="*/ 3058490 w 6942639"/>
                <a:gd name="connsiteY4526" fmla="*/ 5651043 h 9250612"/>
                <a:gd name="connsiteX4527" fmla="*/ 3049543 w 6942639"/>
                <a:gd name="connsiteY4527" fmla="*/ 5660004 h 9250612"/>
                <a:gd name="connsiteX4528" fmla="*/ 3040570 w 6942639"/>
                <a:gd name="connsiteY4528" fmla="*/ 5651043 h 9250612"/>
                <a:gd name="connsiteX4529" fmla="*/ 3049543 w 6942639"/>
                <a:gd name="connsiteY4529" fmla="*/ 5642083 h 9250612"/>
                <a:gd name="connsiteX4530" fmla="*/ 2880806 w 6942639"/>
                <a:gd name="connsiteY4530" fmla="*/ 5642083 h 9250612"/>
                <a:gd name="connsiteX4531" fmla="*/ 2889763 w 6942639"/>
                <a:gd name="connsiteY4531" fmla="*/ 5651043 h 9250612"/>
                <a:gd name="connsiteX4532" fmla="*/ 2880806 w 6942639"/>
                <a:gd name="connsiteY4532" fmla="*/ 5660004 h 9250612"/>
                <a:gd name="connsiteX4533" fmla="*/ 2871843 w 6942639"/>
                <a:gd name="connsiteY4533" fmla="*/ 5651043 h 9250612"/>
                <a:gd name="connsiteX4534" fmla="*/ 2880806 w 6942639"/>
                <a:gd name="connsiteY4534" fmla="*/ 5642083 h 9250612"/>
                <a:gd name="connsiteX4535" fmla="*/ 2712048 w 6942639"/>
                <a:gd name="connsiteY4535" fmla="*/ 5642083 h 9250612"/>
                <a:gd name="connsiteX4536" fmla="*/ 2721032 w 6942639"/>
                <a:gd name="connsiteY4536" fmla="*/ 5651043 h 9250612"/>
                <a:gd name="connsiteX4537" fmla="*/ 2712048 w 6942639"/>
                <a:gd name="connsiteY4537" fmla="*/ 5660004 h 9250612"/>
                <a:gd name="connsiteX4538" fmla="*/ 2703092 w 6942639"/>
                <a:gd name="connsiteY4538" fmla="*/ 5651043 h 9250612"/>
                <a:gd name="connsiteX4539" fmla="*/ 2712048 w 6942639"/>
                <a:gd name="connsiteY4539" fmla="*/ 5642083 h 9250612"/>
                <a:gd name="connsiteX4540" fmla="*/ 2543340 w 6942639"/>
                <a:gd name="connsiteY4540" fmla="*/ 5642083 h 9250612"/>
                <a:gd name="connsiteX4541" fmla="*/ 2552299 w 6942639"/>
                <a:gd name="connsiteY4541" fmla="*/ 5651043 h 9250612"/>
                <a:gd name="connsiteX4542" fmla="*/ 2543340 w 6942639"/>
                <a:gd name="connsiteY4542" fmla="*/ 5660004 h 9250612"/>
                <a:gd name="connsiteX4543" fmla="*/ 2534368 w 6942639"/>
                <a:gd name="connsiteY4543" fmla="*/ 5651043 h 9250612"/>
                <a:gd name="connsiteX4544" fmla="*/ 2543340 w 6942639"/>
                <a:gd name="connsiteY4544" fmla="*/ 5642083 h 9250612"/>
                <a:gd name="connsiteX4545" fmla="*/ 2374565 w 6942639"/>
                <a:gd name="connsiteY4545" fmla="*/ 5642083 h 9250612"/>
                <a:gd name="connsiteX4546" fmla="*/ 2383552 w 6942639"/>
                <a:gd name="connsiteY4546" fmla="*/ 5651043 h 9250612"/>
                <a:gd name="connsiteX4547" fmla="*/ 2374565 w 6942639"/>
                <a:gd name="connsiteY4547" fmla="*/ 5660004 h 9250612"/>
                <a:gd name="connsiteX4548" fmla="*/ 2365602 w 6942639"/>
                <a:gd name="connsiteY4548" fmla="*/ 5651043 h 9250612"/>
                <a:gd name="connsiteX4549" fmla="*/ 2374565 w 6942639"/>
                <a:gd name="connsiteY4549" fmla="*/ 5642083 h 9250612"/>
                <a:gd name="connsiteX4550" fmla="*/ 2205848 w 6942639"/>
                <a:gd name="connsiteY4550" fmla="*/ 5642083 h 9250612"/>
                <a:gd name="connsiteX4551" fmla="*/ 2214806 w 6942639"/>
                <a:gd name="connsiteY4551" fmla="*/ 5651043 h 9250612"/>
                <a:gd name="connsiteX4552" fmla="*/ 2205848 w 6942639"/>
                <a:gd name="connsiteY4552" fmla="*/ 5660004 h 9250612"/>
                <a:gd name="connsiteX4553" fmla="*/ 2196871 w 6942639"/>
                <a:gd name="connsiteY4553" fmla="*/ 5651043 h 9250612"/>
                <a:gd name="connsiteX4554" fmla="*/ 2205848 w 6942639"/>
                <a:gd name="connsiteY4554" fmla="*/ 5642083 h 9250612"/>
                <a:gd name="connsiteX4555" fmla="*/ 2037103 w 6942639"/>
                <a:gd name="connsiteY4555" fmla="*/ 5642083 h 9250612"/>
                <a:gd name="connsiteX4556" fmla="*/ 2046056 w 6942639"/>
                <a:gd name="connsiteY4556" fmla="*/ 5651043 h 9250612"/>
                <a:gd name="connsiteX4557" fmla="*/ 2037103 w 6942639"/>
                <a:gd name="connsiteY4557" fmla="*/ 5660004 h 9250612"/>
                <a:gd name="connsiteX4558" fmla="*/ 2028157 w 6942639"/>
                <a:gd name="connsiteY4558" fmla="*/ 5651043 h 9250612"/>
                <a:gd name="connsiteX4559" fmla="*/ 2037103 w 6942639"/>
                <a:gd name="connsiteY4559" fmla="*/ 5642083 h 9250612"/>
                <a:gd name="connsiteX4560" fmla="*/ 1868383 w 6942639"/>
                <a:gd name="connsiteY4560" fmla="*/ 5642083 h 9250612"/>
                <a:gd name="connsiteX4561" fmla="*/ 1877336 w 6942639"/>
                <a:gd name="connsiteY4561" fmla="*/ 5651043 h 9250612"/>
                <a:gd name="connsiteX4562" fmla="*/ 1868383 w 6942639"/>
                <a:gd name="connsiteY4562" fmla="*/ 5660004 h 9250612"/>
                <a:gd name="connsiteX4563" fmla="*/ 1859413 w 6942639"/>
                <a:gd name="connsiteY4563" fmla="*/ 5651043 h 9250612"/>
                <a:gd name="connsiteX4564" fmla="*/ 1868383 w 6942639"/>
                <a:gd name="connsiteY4564" fmla="*/ 5642083 h 9250612"/>
                <a:gd name="connsiteX4565" fmla="*/ 1699633 w 6942639"/>
                <a:gd name="connsiteY4565" fmla="*/ 5642083 h 9250612"/>
                <a:gd name="connsiteX4566" fmla="*/ 1708600 w 6942639"/>
                <a:gd name="connsiteY4566" fmla="*/ 5651043 h 9250612"/>
                <a:gd name="connsiteX4567" fmla="*/ 1699633 w 6942639"/>
                <a:gd name="connsiteY4567" fmla="*/ 5660004 h 9250612"/>
                <a:gd name="connsiteX4568" fmla="*/ 1690671 w 6942639"/>
                <a:gd name="connsiteY4568" fmla="*/ 5651043 h 9250612"/>
                <a:gd name="connsiteX4569" fmla="*/ 1699633 w 6942639"/>
                <a:gd name="connsiteY4569" fmla="*/ 5642083 h 9250612"/>
                <a:gd name="connsiteX4570" fmla="*/ 1530893 w 6942639"/>
                <a:gd name="connsiteY4570" fmla="*/ 5642083 h 9250612"/>
                <a:gd name="connsiteX4571" fmla="*/ 1539854 w 6942639"/>
                <a:gd name="connsiteY4571" fmla="*/ 5651043 h 9250612"/>
                <a:gd name="connsiteX4572" fmla="*/ 1530893 w 6942639"/>
                <a:gd name="connsiteY4572" fmla="*/ 5660004 h 9250612"/>
                <a:gd name="connsiteX4573" fmla="*/ 1521932 w 6942639"/>
                <a:gd name="connsiteY4573" fmla="*/ 5651043 h 9250612"/>
                <a:gd name="connsiteX4574" fmla="*/ 1530893 w 6942639"/>
                <a:gd name="connsiteY4574" fmla="*/ 5642083 h 9250612"/>
                <a:gd name="connsiteX4575" fmla="*/ 1362145 w 6942639"/>
                <a:gd name="connsiteY4575" fmla="*/ 5642083 h 9250612"/>
                <a:gd name="connsiteX4576" fmla="*/ 1371106 w 6942639"/>
                <a:gd name="connsiteY4576" fmla="*/ 5651043 h 9250612"/>
                <a:gd name="connsiteX4577" fmla="*/ 1362145 w 6942639"/>
                <a:gd name="connsiteY4577" fmla="*/ 5660004 h 9250612"/>
                <a:gd name="connsiteX4578" fmla="*/ 1353185 w 6942639"/>
                <a:gd name="connsiteY4578" fmla="*/ 5651043 h 9250612"/>
                <a:gd name="connsiteX4579" fmla="*/ 1362145 w 6942639"/>
                <a:gd name="connsiteY4579" fmla="*/ 5642083 h 9250612"/>
                <a:gd name="connsiteX4580" fmla="*/ 1193404 w 6942639"/>
                <a:gd name="connsiteY4580" fmla="*/ 5642083 h 9250612"/>
                <a:gd name="connsiteX4581" fmla="*/ 1202364 w 6942639"/>
                <a:gd name="connsiteY4581" fmla="*/ 5651043 h 9250612"/>
                <a:gd name="connsiteX4582" fmla="*/ 1193404 w 6942639"/>
                <a:gd name="connsiteY4582" fmla="*/ 5660004 h 9250612"/>
                <a:gd name="connsiteX4583" fmla="*/ 1184445 w 6942639"/>
                <a:gd name="connsiteY4583" fmla="*/ 5651043 h 9250612"/>
                <a:gd name="connsiteX4584" fmla="*/ 1193404 w 6942639"/>
                <a:gd name="connsiteY4584" fmla="*/ 5642083 h 9250612"/>
                <a:gd name="connsiteX4585" fmla="*/ 1024654 w 6942639"/>
                <a:gd name="connsiteY4585" fmla="*/ 5642083 h 9250612"/>
                <a:gd name="connsiteX4586" fmla="*/ 1033619 w 6942639"/>
                <a:gd name="connsiteY4586" fmla="*/ 5651043 h 9250612"/>
                <a:gd name="connsiteX4587" fmla="*/ 1024654 w 6942639"/>
                <a:gd name="connsiteY4587" fmla="*/ 5660004 h 9250612"/>
                <a:gd name="connsiteX4588" fmla="*/ 1015695 w 6942639"/>
                <a:gd name="connsiteY4588" fmla="*/ 5651043 h 9250612"/>
                <a:gd name="connsiteX4589" fmla="*/ 1024654 w 6942639"/>
                <a:gd name="connsiteY4589" fmla="*/ 5642083 h 9250612"/>
                <a:gd name="connsiteX4590" fmla="*/ 855923 w 6942639"/>
                <a:gd name="connsiteY4590" fmla="*/ 5642083 h 9250612"/>
                <a:gd name="connsiteX4591" fmla="*/ 864883 w 6942639"/>
                <a:gd name="connsiteY4591" fmla="*/ 5651043 h 9250612"/>
                <a:gd name="connsiteX4592" fmla="*/ 855923 w 6942639"/>
                <a:gd name="connsiteY4592" fmla="*/ 5660004 h 9250612"/>
                <a:gd name="connsiteX4593" fmla="*/ 846962 w 6942639"/>
                <a:gd name="connsiteY4593" fmla="*/ 5651043 h 9250612"/>
                <a:gd name="connsiteX4594" fmla="*/ 855923 w 6942639"/>
                <a:gd name="connsiteY4594" fmla="*/ 5642083 h 9250612"/>
                <a:gd name="connsiteX4595" fmla="*/ 687182 w 6942639"/>
                <a:gd name="connsiteY4595" fmla="*/ 5642083 h 9250612"/>
                <a:gd name="connsiteX4596" fmla="*/ 696143 w 6942639"/>
                <a:gd name="connsiteY4596" fmla="*/ 5651043 h 9250612"/>
                <a:gd name="connsiteX4597" fmla="*/ 687182 w 6942639"/>
                <a:gd name="connsiteY4597" fmla="*/ 5660004 h 9250612"/>
                <a:gd name="connsiteX4598" fmla="*/ 678223 w 6942639"/>
                <a:gd name="connsiteY4598" fmla="*/ 5651043 h 9250612"/>
                <a:gd name="connsiteX4599" fmla="*/ 687182 w 6942639"/>
                <a:gd name="connsiteY4599" fmla="*/ 5642083 h 9250612"/>
                <a:gd name="connsiteX4600" fmla="*/ 518423 w 6942639"/>
                <a:gd name="connsiteY4600" fmla="*/ 5642083 h 9250612"/>
                <a:gd name="connsiteX4601" fmla="*/ 527384 w 6942639"/>
                <a:gd name="connsiteY4601" fmla="*/ 5651043 h 9250612"/>
                <a:gd name="connsiteX4602" fmla="*/ 518423 w 6942639"/>
                <a:gd name="connsiteY4602" fmla="*/ 5660004 h 9250612"/>
                <a:gd name="connsiteX4603" fmla="*/ 509463 w 6942639"/>
                <a:gd name="connsiteY4603" fmla="*/ 5651043 h 9250612"/>
                <a:gd name="connsiteX4604" fmla="*/ 518423 w 6942639"/>
                <a:gd name="connsiteY4604" fmla="*/ 5642083 h 9250612"/>
                <a:gd name="connsiteX4605" fmla="*/ 349684 w 6942639"/>
                <a:gd name="connsiteY4605" fmla="*/ 5642083 h 9250612"/>
                <a:gd name="connsiteX4606" fmla="*/ 358645 w 6942639"/>
                <a:gd name="connsiteY4606" fmla="*/ 5651043 h 9250612"/>
                <a:gd name="connsiteX4607" fmla="*/ 349684 w 6942639"/>
                <a:gd name="connsiteY4607" fmla="*/ 5660004 h 9250612"/>
                <a:gd name="connsiteX4608" fmla="*/ 340724 w 6942639"/>
                <a:gd name="connsiteY4608" fmla="*/ 5651043 h 9250612"/>
                <a:gd name="connsiteX4609" fmla="*/ 349684 w 6942639"/>
                <a:gd name="connsiteY4609" fmla="*/ 5642083 h 9250612"/>
                <a:gd name="connsiteX4610" fmla="*/ 179365 w 6942639"/>
                <a:gd name="connsiteY4610" fmla="*/ 5642083 h 9250612"/>
                <a:gd name="connsiteX4611" fmla="*/ 188326 w 6942639"/>
                <a:gd name="connsiteY4611" fmla="*/ 5651043 h 9250612"/>
                <a:gd name="connsiteX4612" fmla="*/ 179365 w 6942639"/>
                <a:gd name="connsiteY4612" fmla="*/ 5660004 h 9250612"/>
                <a:gd name="connsiteX4613" fmla="*/ 170405 w 6942639"/>
                <a:gd name="connsiteY4613" fmla="*/ 5651043 h 9250612"/>
                <a:gd name="connsiteX4614" fmla="*/ 179365 w 6942639"/>
                <a:gd name="connsiteY4614" fmla="*/ 5642083 h 9250612"/>
                <a:gd name="connsiteX4615" fmla="*/ 9047 w 6942639"/>
                <a:gd name="connsiteY4615" fmla="*/ 5642083 h 9250612"/>
                <a:gd name="connsiteX4616" fmla="*/ 18007 w 6942639"/>
                <a:gd name="connsiteY4616" fmla="*/ 5651043 h 9250612"/>
                <a:gd name="connsiteX4617" fmla="*/ 9047 w 6942639"/>
                <a:gd name="connsiteY4617" fmla="*/ 5660004 h 9250612"/>
                <a:gd name="connsiteX4618" fmla="*/ 87 w 6942639"/>
                <a:gd name="connsiteY4618" fmla="*/ 5651043 h 9250612"/>
                <a:gd name="connsiteX4619" fmla="*/ 9047 w 6942639"/>
                <a:gd name="connsiteY4619" fmla="*/ 5642083 h 9250612"/>
                <a:gd name="connsiteX4620" fmla="*/ 6933679 w 6942639"/>
                <a:gd name="connsiteY4620" fmla="*/ 5471102 h 9250612"/>
                <a:gd name="connsiteX4621" fmla="*/ 6942639 w 6942639"/>
                <a:gd name="connsiteY4621" fmla="*/ 5480062 h 9250612"/>
                <a:gd name="connsiteX4622" fmla="*/ 6933679 w 6942639"/>
                <a:gd name="connsiteY4622" fmla="*/ 5489023 h 9250612"/>
                <a:gd name="connsiteX4623" fmla="*/ 6924718 w 6942639"/>
                <a:gd name="connsiteY4623" fmla="*/ 5480062 h 9250612"/>
                <a:gd name="connsiteX4624" fmla="*/ 6933679 w 6942639"/>
                <a:gd name="connsiteY4624" fmla="*/ 5471102 h 9250612"/>
                <a:gd name="connsiteX4625" fmla="*/ 6763357 w 6942639"/>
                <a:gd name="connsiteY4625" fmla="*/ 5471102 h 9250612"/>
                <a:gd name="connsiteX4626" fmla="*/ 6772318 w 6942639"/>
                <a:gd name="connsiteY4626" fmla="*/ 5480062 h 9250612"/>
                <a:gd name="connsiteX4627" fmla="*/ 6763357 w 6942639"/>
                <a:gd name="connsiteY4627" fmla="*/ 5489023 h 9250612"/>
                <a:gd name="connsiteX4628" fmla="*/ 6754397 w 6942639"/>
                <a:gd name="connsiteY4628" fmla="*/ 5480062 h 9250612"/>
                <a:gd name="connsiteX4629" fmla="*/ 6763357 w 6942639"/>
                <a:gd name="connsiteY4629" fmla="*/ 5471102 h 9250612"/>
                <a:gd name="connsiteX4630" fmla="*/ 6593035 w 6942639"/>
                <a:gd name="connsiteY4630" fmla="*/ 5471102 h 9250612"/>
                <a:gd name="connsiteX4631" fmla="*/ 6601996 w 6942639"/>
                <a:gd name="connsiteY4631" fmla="*/ 5480062 h 9250612"/>
                <a:gd name="connsiteX4632" fmla="*/ 6593035 w 6942639"/>
                <a:gd name="connsiteY4632" fmla="*/ 5489023 h 9250612"/>
                <a:gd name="connsiteX4633" fmla="*/ 6584075 w 6942639"/>
                <a:gd name="connsiteY4633" fmla="*/ 5480062 h 9250612"/>
                <a:gd name="connsiteX4634" fmla="*/ 6593035 w 6942639"/>
                <a:gd name="connsiteY4634" fmla="*/ 5471102 h 9250612"/>
                <a:gd name="connsiteX4635" fmla="*/ 6424294 w 6942639"/>
                <a:gd name="connsiteY4635" fmla="*/ 5471102 h 9250612"/>
                <a:gd name="connsiteX4636" fmla="*/ 6433255 w 6942639"/>
                <a:gd name="connsiteY4636" fmla="*/ 5480062 h 9250612"/>
                <a:gd name="connsiteX4637" fmla="*/ 6424294 w 6942639"/>
                <a:gd name="connsiteY4637" fmla="*/ 5489023 h 9250612"/>
                <a:gd name="connsiteX4638" fmla="*/ 6415334 w 6942639"/>
                <a:gd name="connsiteY4638" fmla="*/ 5480062 h 9250612"/>
                <a:gd name="connsiteX4639" fmla="*/ 6424294 w 6942639"/>
                <a:gd name="connsiteY4639" fmla="*/ 5471102 h 9250612"/>
                <a:gd name="connsiteX4640" fmla="*/ 6255553 w 6942639"/>
                <a:gd name="connsiteY4640" fmla="*/ 5471102 h 9250612"/>
                <a:gd name="connsiteX4641" fmla="*/ 6264514 w 6942639"/>
                <a:gd name="connsiteY4641" fmla="*/ 5480062 h 9250612"/>
                <a:gd name="connsiteX4642" fmla="*/ 6255553 w 6942639"/>
                <a:gd name="connsiteY4642" fmla="*/ 5489023 h 9250612"/>
                <a:gd name="connsiteX4643" fmla="*/ 6246593 w 6942639"/>
                <a:gd name="connsiteY4643" fmla="*/ 5480062 h 9250612"/>
                <a:gd name="connsiteX4644" fmla="*/ 6255553 w 6942639"/>
                <a:gd name="connsiteY4644" fmla="*/ 5471102 h 9250612"/>
                <a:gd name="connsiteX4645" fmla="*/ 6086811 w 6942639"/>
                <a:gd name="connsiteY4645" fmla="*/ 5471102 h 9250612"/>
                <a:gd name="connsiteX4646" fmla="*/ 6095772 w 6942639"/>
                <a:gd name="connsiteY4646" fmla="*/ 5480062 h 9250612"/>
                <a:gd name="connsiteX4647" fmla="*/ 6086811 w 6942639"/>
                <a:gd name="connsiteY4647" fmla="*/ 5489023 h 9250612"/>
                <a:gd name="connsiteX4648" fmla="*/ 6077851 w 6942639"/>
                <a:gd name="connsiteY4648" fmla="*/ 5480062 h 9250612"/>
                <a:gd name="connsiteX4649" fmla="*/ 6086811 w 6942639"/>
                <a:gd name="connsiteY4649" fmla="*/ 5471102 h 9250612"/>
                <a:gd name="connsiteX4650" fmla="*/ 5918069 w 6942639"/>
                <a:gd name="connsiteY4650" fmla="*/ 5471102 h 9250612"/>
                <a:gd name="connsiteX4651" fmla="*/ 5927030 w 6942639"/>
                <a:gd name="connsiteY4651" fmla="*/ 5480062 h 9250612"/>
                <a:gd name="connsiteX4652" fmla="*/ 5918069 w 6942639"/>
                <a:gd name="connsiteY4652" fmla="*/ 5489023 h 9250612"/>
                <a:gd name="connsiteX4653" fmla="*/ 5909109 w 6942639"/>
                <a:gd name="connsiteY4653" fmla="*/ 5480062 h 9250612"/>
                <a:gd name="connsiteX4654" fmla="*/ 5918069 w 6942639"/>
                <a:gd name="connsiteY4654" fmla="*/ 5471102 h 9250612"/>
                <a:gd name="connsiteX4655" fmla="*/ 5749328 w 6942639"/>
                <a:gd name="connsiteY4655" fmla="*/ 5471102 h 9250612"/>
                <a:gd name="connsiteX4656" fmla="*/ 5758289 w 6942639"/>
                <a:gd name="connsiteY4656" fmla="*/ 5480062 h 9250612"/>
                <a:gd name="connsiteX4657" fmla="*/ 5749328 w 6942639"/>
                <a:gd name="connsiteY4657" fmla="*/ 5489023 h 9250612"/>
                <a:gd name="connsiteX4658" fmla="*/ 5740368 w 6942639"/>
                <a:gd name="connsiteY4658" fmla="*/ 5480062 h 9250612"/>
                <a:gd name="connsiteX4659" fmla="*/ 5749328 w 6942639"/>
                <a:gd name="connsiteY4659" fmla="*/ 5471102 h 9250612"/>
                <a:gd name="connsiteX4660" fmla="*/ 5580586 w 6942639"/>
                <a:gd name="connsiteY4660" fmla="*/ 5471102 h 9250612"/>
                <a:gd name="connsiteX4661" fmla="*/ 5589547 w 6942639"/>
                <a:gd name="connsiteY4661" fmla="*/ 5480062 h 9250612"/>
                <a:gd name="connsiteX4662" fmla="*/ 5580586 w 6942639"/>
                <a:gd name="connsiteY4662" fmla="*/ 5489023 h 9250612"/>
                <a:gd name="connsiteX4663" fmla="*/ 5571626 w 6942639"/>
                <a:gd name="connsiteY4663" fmla="*/ 5480062 h 9250612"/>
                <a:gd name="connsiteX4664" fmla="*/ 5580586 w 6942639"/>
                <a:gd name="connsiteY4664" fmla="*/ 5471102 h 9250612"/>
                <a:gd name="connsiteX4665" fmla="*/ 5411845 w 6942639"/>
                <a:gd name="connsiteY4665" fmla="*/ 5471102 h 9250612"/>
                <a:gd name="connsiteX4666" fmla="*/ 5420806 w 6942639"/>
                <a:gd name="connsiteY4666" fmla="*/ 5480062 h 9250612"/>
                <a:gd name="connsiteX4667" fmla="*/ 5411845 w 6942639"/>
                <a:gd name="connsiteY4667" fmla="*/ 5489023 h 9250612"/>
                <a:gd name="connsiteX4668" fmla="*/ 5402885 w 6942639"/>
                <a:gd name="connsiteY4668" fmla="*/ 5480062 h 9250612"/>
                <a:gd name="connsiteX4669" fmla="*/ 5411845 w 6942639"/>
                <a:gd name="connsiteY4669" fmla="*/ 5471102 h 9250612"/>
                <a:gd name="connsiteX4670" fmla="*/ 5243103 w 6942639"/>
                <a:gd name="connsiteY4670" fmla="*/ 5471102 h 9250612"/>
                <a:gd name="connsiteX4671" fmla="*/ 5252064 w 6942639"/>
                <a:gd name="connsiteY4671" fmla="*/ 5480062 h 9250612"/>
                <a:gd name="connsiteX4672" fmla="*/ 5243103 w 6942639"/>
                <a:gd name="connsiteY4672" fmla="*/ 5489023 h 9250612"/>
                <a:gd name="connsiteX4673" fmla="*/ 5234143 w 6942639"/>
                <a:gd name="connsiteY4673" fmla="*/ 5480062 h 9250612"/>
                <a:gd name="connsiteX4674" fmla="*/ 5243103 w 6942639"/>
                <a:gd name="connsiteY4674" fmla="*/ 5471102 h 9250612"/>
                <a:gd name="connsiteX4675" fmla="*/ 5074362 w 6942639"/>
                <a:gd name="connsiteY4675" fmla="*/ 5471102 h 9250612"/>
                <a:gd name="connsiteX4676" fmla="*/ 5083323 w 6942639"/>
                <a:gd name="connsiteY4676" fmla="*/ 5480062 h 9250612"/>
                <a:gd name="connsiteX4677" fmla="*/ 5074362 w 6942639"/>
                <a:gd name="connsiteY4677" fmla="*/ 5489023 h 9250612"/>
                <a:gd name="connsiteX4678" fmla="*/ 5065402 w 6942639"/>
                <a:gd name="connsiteY4678" fmla="*/ 5480062 h 9250612"/>
                <a:gd name="connsiteX4679" fmla="*/ 5074362 w 6942639"/>
                <a:gd name="connsiteY4679" fmla="*/ 5471102 h 9250612"/>
                <a:gd name="connsiteX4680" fmla="*/ 4905620 w 6942639"/>
                <a:gd name="connsiteY4680" fmla="*/ 5471102 h 9250612"/>
                <a:gd name="connsiteX4681" fmla="*/ 4914581 w 6942639"/>
                <a:gd name="connsiteY4681" fmla="*/ 5480062 h 9250612"/>
                <a:gd name="connsiteX4682" fmla="*/ 4905620 w 6942639"/>
                <a:gd name="connsiteY4682" fmla="*/ 5489023 h 9250612"/>
                <a:gd name="connsiteX4683" fmla="*/ 4896660 w 6942639"/>
                <a:gd name="connsiteY4683" fmla="*/ 5480062 h 9250612"/>
                <a:gd name="connsiteX4684" fmla="*/ 4905620 w 6942639"/>
                <a:gd name="connsiteY4684" fmla="*/ 5471102 h 9250612"/>
                <a:gd name="connsiteX4685" fmla="*/ 4736878 w 6942639"/>
                <a:gd name="connsiteY4685" fmla="*/ 5471102 h 9250612"/>
                <a:gd name="connsiteX4686" fmla="*/ 4745839 w 6942639"/>
                <a:gd name="connsiteY4686" fmla="*/ 5480062 h 9250612"/>
                <a:gd name="connsiteX4687" fmla="*/ 4736878 w 6942639"/>
                <a:gd name="connsiteY4687" fmla="*/ 5489023 h 9250612"/>
                <a:gd name="connsiteX4688" fmla="*/ 4727918 w 6942639"/>
                <a:gd name="connsiteY4688" fmla="*/ 5480062 h 9250612"/>
                <a:gd name="connsiteX4689" fmla="*/ 4736878 w 6942639"/>
                <a:gd name="connsiteY4689" fmla="*/ 5471102 h 9250612"/>
                <a:gd name="connsiteX4690" fmla="*/ 4568137 w 6942639"/>
                <a:gd name="connsiteY4690" fmla="*/ 5471102 h 9250612"/>
                <a:gd name="connsiteX4691" fmla="*/ 4577098 w 6942639"/>
                <a:gd name="connsiteY4691" fmla="*/ 5480062 h 9250612"/>
                <a:gd name="connsiteX4692" fmla="*/ 4568137 w 6942639"/>
                <a:gd name="connsiteY4692" fmla="*/ 5489023 h 9250612"/>
                <a:gd name="connsiteX4693" fmla="*/ 4559177 w 6942639"/>
                <a:gd name="connsiteY4693" fmla="*/ 5480062 h 9250612"/>
                <a:gd name="connsiteX4694" fmla="*/ 4568137 w 6942639"/>
                <a:gd name="connsiteY4694" fmla="*/ 5471102 h 9250612"/>
                <a:gd name="connsiteX4695" fmla="*/ 4399396 w 6942639"/>
                <a:gd name="connsiteY4695" fmla="*/ 5471102 h 9250612"/>
                <a:gd name="connsiteX4696" fmla="*/ 4408357 w 6942639"/>
                <a:gd name="connsiteY4696" fmla="*/ 5480062 h 9250612"/>
                <a:gd name="connsiteX4697" fmla="*/ 4399396 w 6942639"/>
                <a:gd name="connsiteY4697" fmla="*/ 5489023 h 9250612"/>
                <a:gd name="connsiteX4698" fmla="*/ 4390436 w 6942639"/>
                <a:gd name="connsiteY4698" fmla="*/ 5480062 h 9250612"/>
                <a:gd name="connsiteX4699" fmla="*/ 4399396 w 6942639"/>
                <a:gd name="connsiteY4699" fmla="*/ 5471102 h 9250612"/>
                <a:gd name="connsiteX4700" fmla="*/ 4230654 w 6942639"/>
                <a:gd name="connsiteY4700" fmla="*/ 5471102 h 9250612"/>
                <a:gd name="connsiteX4701" fmla="*/ 4239615 w 6942639"/>
                <a:gd name="connsiteY4701" fmla="*/ 5480062 h 9250612"/>
                <a:gd name="connsiteX4702" fmla="*/ 4230654 w 6942639"/>
                <a:gd name="connsiteY4702" fmla="*/ 5489023 h 9250612"/>
                <a:gd name="connsiteX4703" fmla="*/ 4221694 w 6942639"/>
                <a:gd name="connsiteY4703" fmla="*/ 5480062 h 9250612"/>
                <a:gd name="connsiteX4704" fmla="*/ 4230654 w 6942639"/>
                <a:gd name="connsiteY4704" fmla="*/ 5471102 h 9250612"/>
                <a:gd name="connsiteX4705" fmla="*/ 4061912 w 6942639"/>
                <a:gd name="connsiteY4705" fmla="*/ 5471102 h 9250612"/>
                <a:gd name="connsiteX4706" fmla="*/ 4070873 w 6942639"/>
                <a:gd name="connsiteY4706" fmla="*/ 5480062 h 9250612"/>
                <a:gd name="connsiteX4707" fmla="*/ 4061912 w 6942639"/>
                <a:gd name="connsiteY4707" fmla="*/ 5489023 h 9250612"/>
                <a:gd name="connsiteX4708" fmla="*/ 4052952 w 6942639"/>
                <a:gd name="connsiteY4708" fmla="*/ 5480062 h 9250612"/>
                <a:gd name="connsiteX4709" fmla="*/ 4061912 w 6942639"/>
                <a:gd name="connsiteY4709" fmla="*/ 5471102 h 9250612"/>
                <a:gd name="connsiteX4710" fmla="*/ 3893170 w 6942639"/>
                <a:gd name="connsiteY4710" fmla="*/ 5471102 h 9250612"/>
                <a:gd name="connsiteX4711" fmla="*/ 3902131 w 6942639"/>
                <a:gd name="connsiteY4711" fmla="*/ 5480062 h 9250612"/>
                <a:gd name="connsiteX4712" fmla="*/ 3893170 w 6942639"/>
                <a:gd name="connsiteY4712" fmla="*/ 5489023 h 9250612"/>
                <a:gd name="connsiteX4713" fmla="*/ 3884210 w 6942639"/>
                <a:gd name="connsiteY4713" fmla="*/ 5480062 h 9250612"/>
                <a:gd name="connsiteX4714" fmla="*/ 3893170 w 6942639"/>
                <a:gd name="connsiteY4714" fmla="*/ 5471102 h 9250612"/>
                <a:gd name="connsiteX4715" fmla="*/ 3724429 w 6942639"/>
                <a:gd name="connsiteY4715" fmla="*/ 5471102 h 9250612"/>
                <a:gd name="connsiteX4716" fmla="*/ 3733390 w 6942639"/>
                <a:gd name="connsiteY4716" fmla="*/ 5480062 h 9250612"/>
                <a:gd name="connsiteX4717" fmla="*/ 3724429 w 6942639"/>
                <a:gd name="connsiteY4717" fmla="*/ 5489023 h 9250612"/>
                <a:gd name="connsiteX4718" fmla="*/ 3715469 w 6942639"/>
                <a:gd name="connsiteY4718" fmla="*/ 5480062 h 9250612"/>
                <a:gd name="connsiteX4719" fmla="*/ 3724429 w 6942639"/>
                <a:gd name="connsiteY4719" fmla="*/ 5471102 h 9250612"/>
                <a:gd name="connsiteX4720" fmla="*/ 3555688 w 6942639"/>
                <a:gd name="connsiteY4720" fmla="*/ 5471102 h 9250612"/>
                <a:gd name="connsiteX4721" fmla="*/ 3564649 w 6942639"/>
                <a:gd name="connsiteY4721" fmla="*/ 5480062 h 9250612"/>
                <a:gd name="connsiteX4722" fmla="*/ 3555688 w 6942639"/>
                <a:gd name="connsiteY4722" fmla="*/ 5489023 h 9250612"/>
                <a:gd name="connsiteX4723" fmla="*/ 3546728 w 6942639"/>
                <a:gd name="connsiteY4723" fmla="*/ 5480062 h 9250612"/>
                <a:gd name="connsiteX4724" fmla="*/ 3555688 w 6942639"/>
                <a:gd name="connsiteY4724" fmla="*/ 5471102 h 9250612"/>
                <a:gd name="connsiteX4725" fmla="*/ 3387014 w 6942639"/>
                <a:gd name="connsiteY4725" fmla="*/ 5471102 h 9250612"/>
                <a:gd name="connsiteX4726" fmla="*/ 3395974 w 6942639"/>
                <a:gd name="connsiteY4726" fmla="*/ 5480062 h 9250612"/>
                <a:gd name="connsiteX4727" fmla="*/ 3387014 w 6942639"/>
                <a:gd name="connsiteY4727" fmla="*/ 5489023 h 9250612"/>
                <a:gd name="connsiteX4728" fmla="*/ 3378020 w 6942639"/>
                <a:gd name="connsiteY4728" fmla="*/ 5480062 h 9250612"/>
                <a:gd name="connsiteX4729" fmla="*/ 3387014 w 6942639"/>
                <a:gd name="connsiteY4729" fmla="*/ 5471102 h 9250612"/>
                <a:gd name="connsiteX4730" fmla="*/ 3218256 w 6942639"/>
                <a:gd name="connsiteY4730" fmla="*/ 5471102 h 9250612"/>
                <a:gd name="connsiteX4731" fmla="*/ 3227229 w 6942639"/>
                <a:gd name="connsiteY4731" fmla="*/ 5480062 h 9250612"/>
                <a:gd name="connsiteX4732" fmla="*/ 3218256 w 6942639"/>
                <a:gd name="connsiteY4732" fmla="*/ 5489023 h 9250612"/>
                <a:gd name="connsiteX4733" fmla="*/ 3209300 w 6942639"/>
                <a:gd name="connsiteY4733" fmla="*/ 5480062 h 9250612"/>
                <a:gd name="connsiteX4734" fmla="*/ 3218256 w 6942639"/>
                <a:gd name="connsiteY4734" fmla="*/ 5471102 h 9250612"/>
                <a:gd name="connsiteX4735" fmla="*/ 3049546 w 6942639"/>
                <a:gd name="connsiteY4735" fmla="*/ 5471102 h 9250612"/>
                <a:gd name="connsiteX4736" fmla="*/ 3058493 w 6942639"/>
                <a:gd name="connsiteY4736" fmla="*/ 5480062 h 9250612"/>
                <a:gd name="connsiteX4737" fmla="*/ 3049546 w 6942639"/>
                <a:gd name="connsiteY4737" fmla="*/ 5489023 h 9250612"/>
                <a:gd name="connsiteX4738" fmla="*/ 3040573 w 6942639"/>
                <a:gd name="connsiteY4738" fmla="*/ 5480062 h 9250612"/>
                <a:gd name="connsiteX4739" fmla="*/ 3049546 w 6942639"/>
                <a:gd name="connsiteY4739" fmla="*/ 5471102 h 9250612"/>
                <a:gd name="connsiteX4740" fmla="*/ 2880810 w 6942639"/>
                <a:gd name="connsiteY4740" fmla="*/ 5471102 h 9250612"/>
                <a:gd name="connsiteX4741" fmla="*/ 2889766 w 6942639"/>
                <a:gd name="connsiteY4741" fmla="*/ 5480062 h 9250612"/>
                <a:gd name="connsiteX4742" fmla="*/ 2880810 w 6942639"/>
                <a:gd name="connsiteY4742" fmla="*/ 5489023 h 9250612"/>
                <a:gd name="connsiteX4743" fmla="*/ 2871847 w 6942639"/>
                <a:gd name="connsiteY4743" fmla="*/ 5480062 h 9250612"/>
                <a:gd name="connsiteX4744" fmla="*/ 2880810 w 6942639"/>
                <a:gd name="connsiteY4744" fmla="*/ 5471102 h 9250612"/>
                <a:gd name="connsiteX4745" fmla="*/ 2712051 w 6942639"/>
                <a:gd name="connsiteY4745" fmla="*/ 5471102 h 9250612"/>
                <a:gd name="connsiteX4746" fmla="*/ 2721035 w 6942639"/>
                <a:gd name="connsiteY4746" fmla="*/ 5480062 h 9250612"/>
                <a:gd name="connsiteX4747" fmla="*/ 2712051 w 6942639"/>
                <a:gd name="connsiteY4747" fmla="*/ 5489023 h 9250612"/>
                <a:gd name="connsiteX4748" fmla="*/ 2703095 w 6942639"/>
                <a:gd name="connsiteY4748" fmla="*/ 5480062 h 9250612"/>
                <a:gd name="connsiteX4749" fmla="*/ 2712051 w 6942639"/>
                <a:gd name="connsiteY4749" fmla="*/ 5471102 h 9250612"/>
                <a:gd name="connsiteX4750" fmla="*/ 2543346 w 6942639"/>
                <a:gd name="connsiteY4750" fmla="*/ 5471102 h 9250612"/>
                <a:gd name="connsiteX4751" fmla="*/ 2552304 w 6942639"/>
                <a:gd name="connsiteY4751" fmla="*/ 5480062 h 9250612"/>
                <a:gd name="connsiteX4752" fmla="*/ 2543346 w 6942639"/>
                <a:gd name="connsiteY4752" fmla="*/ 5489023 h 9250612"/>
                <a:gd name="connsiteX4753" fmla="*/ 2534373 w 6942639"/>
                <a:gd name="connsiteY4753" fmla="*/ 5480062 h 9250612"/>
                <a:gd name="connsiteX4754" fmla="*/ 2543346 w 6942639"/>
                <a:gd name="connsiteY4754" fmla="*/ 5471102 h 9250612"/>
                <a:gd name="connsiteX4755" fmla="*/ 2374568 w 6942639"/>
                <a:gd name="connsiteY4755" fmla="*/ 5471102 h 9250612"/>
                <a:gd name="connsiteX4756" fmla="*/ 2383557 w 6942639"/>
                <a:gd name="connsiteY4756" fmla="*/ 5480062 h 9250612"/>
                <a:gd name="connsiteX4757" fmla="*/ 2374568 w 6942639"/>
                <a:gd name="connsiteY4757" fmla="*/ 5489023 h 9250612"/>
                <a:gd name="connsiteX4758" fmla="*/ 2365605 w 6942639"/>
                <a:gd name="connsiteY4758" fmla="*/ 5480062 h 9250612"/>
                <a:gd name="connsiteX4759" fmla="*/ 2374568 w 6942639"/>
                <a:gd name="connsiteY4759" fmla="*/ 5471102 h 9250612"/>
                <a:gd name="connsiteX4760" fmla="*/ 2205853 w 6942639"/>
                <a:gd name="connsiteY4760" fmla="*/ 5471102 h 9250612"/>
                <a:gd name="connsiteX4761" fmla="*/ 2214810 w 6942639"/>
                <a:gd name="connsiteY4761" fmla="*/ 5480062 h 9250612"/>
                <a:gd name="connsiteX4762" fmla="*/ 2205853 w 6942639"/>
                <a:gd name="connsiteY4762" fmla="*/ 5489023 h 9250612"/>
                <a:gd name="connsiteX4763" fmla="*/ 2196874 w 6942639"/>
                <a:gd name="connsiteY4763" fmla="*/ 5480062 h 9250612"/>
                <a:gd name="connsiteX4764" fmla="*/ 2205853 w 6942639"/>
                <a:gd name="connsiteY4764" fmla="*/ 5471102 h 9250612"/>
                <a:gd name="connsiteX4765" fmla="*/ 2037108 w 6942639"/>
                <a:gd name="connsiteY4765" fmla="*/ 5471102 h 9250612"/>
                <a:gd name="connsiteX4766" fmla="*/ 2046059 w 6942639"/>
                <a:gd name="connsiteY4766" fmla="*/ 5480062 h 9250612"/>
                <a:gd name="connsiteX4767" fmla="*/ 2037108 w 6942639"/>
                <a:gd name="connsiteY4767" fmla="*/ 5489023 h 9250612"/>
                <a:gd name="connsiteX4768" fmla="*/ 2028161 w 6942639"/>
                <a:gd name="connsiteY4768" fmla="*/ 5480062 h 9250612"/>
                <a:gd name="connsiteX4769" fmla="*/ 2037108 w 6942639"/>
                <a:gd name="connsiteY4769" fmla="*/ 5471102 h 9250612"/>
                <a:gd name="connsiteX4770" fmla="*/ 1868388 w 6942639"/>
                <a:gd name="connsiteY4770" fmla="*/ 5471102 h 9250612"/>
                <a:gd name="connsiteX4771" fmla="*/ 1877341 w 6942639"/>
                <a:gd name="connsiteY4771" fmla="*/ 5480062 h 9250612"/>
                <a:gd name="connsiteX4772" fmla="*/ 1868388 w 6942639"/>
                <a:gd name="connsiteY4772" fmla="*/ 5489023 h 9250612"/>
                <a:gd name="connsiteX4773" fmla="*/ 1859417 w 6942639"/>
                <a:gd name="connsiteY4773" fmla="*/ 5480062 h 9250612"/>
                <a:gd name="connsiteX4774" fmla="*/ 1868388 w 6942639"/>
                <a:gd name="connsiteY4774" fmla="*/ 5471102 h 9250612"/>
                <a:gd name="connsiteX4775" fmla="*/ 1699637 w 6942639"/>
                <a:gd name="connsiteY4775" fmla="*/ 5471102 h 9250612"/>
                <a:gd name="connsiteX4776" fmla="*/ 1708605 w 6942639"/>
                <a:gd name="connsiteY4776" fmla="*/ 5480062 h 9250612"/>
                <a:gd name="connsiteX4777" fmla="*/ 1699637 w 6942639"/>
                <a:gd name="connsiteY4777" fmla="*/ 5489023 h 9250612"/>
                <a:gd name="connsiteX4778" fmla="*/ 1690676 w 6942639"/>
                <a:gd name="connsiteY4778" fmla="*/ 5480062 h 9250612"/>
                <a:gd name="connsiteX4779" fmla="*/ 1699637 w 6942639"/>
                <a:gd name="connsiteY4779" fmla="*/ 5471102 h 9250612"/>
                <a:gd name="connsiteX4780" fmla="*/ 1530898 w 6942639"/>
                <a:gd name="connsiteY4780" fmla="*/ 5471102 h 9250612"/>
                <a:gd name="connsiteX4781" fmla="*/ 1539859 w 6942639"/>
                <a:gd name="connsiteY4781" fmla="*/ 5480062 h 9250612"/>
                <a:gd name="connsiteX4782" fmla="*/ 1530898 w 6942639"/>
                <a:gd name="connsiteY4782" fmla="*/ 5489023 h 9250612"/>
                <a:gd name="connsiteX4783" fmla="*/ 1521936 w 6942639"/>
                <a:gd name="connsiteY4783" fmla="*/ 5480062 h 9250612"/>
                <a:gd name="connsiteX4784" fmla="*/ 1530898 w 6942639"/>
                <a:gd name="connsiteY4784" fmla="*/ 5471102 h 9250612"/>
                <a:gd name="connsiteX4785" fmla="*/ 1362150 w 6942639"/>
                <a:gd name="connsiteY4785" fmla="*/ 5471102 h 9250612"/>
                <a:gd name="connsiteX4786" fmla="*/ 1371111 w 6942639"/>
                <a:gd name="connsiteY4786" fmla="*/ 5480062 h 9250612"/>
                <a:gd name="connsiteX4787" fmla="*/ 1362150 w 6942639"/>
                <a:gd name="connsiteY4787" fmla="*/ 5489023 h 9250612"/>
                <a:gd name="connsiteX4788" fmla="*/ 1353189 w 6942639"/>
                <a:gd name="connsiteY4788" fmla="*/ 5480062 h 9250612"/>
                <a:gd name="connsiteX4789" fmla="*/ 1362150 w 6942639"/>
                <a:gd name="connsiteY4789" fmla="*/ 5471102 h 9250612"/>
                <a:gd name="connsiteX4790" fmla="*/ 1193408 w 6942639"/>
                <a:gd name="connsiteY4790" fmla="*/ 5471102 h 9250612"/>
                <a:gd name="connsiteX4791" fmla="*/ 1202369 w 6942639"/>
                <a:gd name="connsiteY4791" fmla="*/ 5480062 h 9250612"/>
                <a:gd name="connsiteX4792" fmla="*/ 1193408 w 6942639"/>
                <a:gd name="connsiteY4792" fmla="*/ 5489023 h 9250612"/>
                <a:gd name="connsiteX4793" fmla="*/ 1184450 w 6942639"/>
                <a:gd name="connsiteY4793" fmla="*/ 5480062 h 9250612"/>
                <a:gd name="connsiteX4794" fmla="*/ 1193408 w 6942639"/>
                <a:gd name="connsiteY4794" fmla="*/ 5471102 h 9250612"/>
                <a:gd name="connsiteX4795" fmla="*/ 1024659 w 6942639"/>
                <a:gd name="connsiteY4795" fmla="*/ 5471102 h 9250612"/>
                <a:gd name="connsiteX4796" fmla="*/ 1033624 w 6942639"/>
                <a:gd name="connsiteY4796" fmla="*/ 5480062 h 9250612"/>
                <a:gd name="connsiteX4797" fmla="*/ 1024659 w 6942639"/>
                <a:gd name="connsiteY4797" fmla="*/ 5489023 h 9250612"/>
                <a:gd name="connsiteX4798" fmla="*/ 1015699 w 6942639"/>
                <a:gd name="connsiteY4798" fmla="*/ 5480062 h 9250612"/>
                <a:gd name="connsiteX4799" fmla="*/ 1024659 w 6942639"/>
                <a:gd name="connsiteY4799" fmla="*/ 5471102 h 9250612"/>
                <a:gd name="connsiteX4800" fmla="*/ 855927 w 6942639"/>
                <a:gd name="connsiteY4800" fmla="*/ 5471102 h 9250612"/>
                <a:gd name="connsiteX4801" fmla="*/ 864887 w 6942639"/>
                <a:gd name="connsiteY4801" fmla="*/ 5480062 h 9250612"/>
                <a:gd name="connsiteX4802" fmla="*/ 855927 w 6942639"/>
                <a:gd name="connsiteY4802" fmla="*/ 5489023 h 9250612"/>
                <a:gd name="connsiteX4803" fmla="*/ 846967 w 6942639"/>
                <a:gd name="connsiteY4803" fmla="*/ 5480062 h 9250612"/>
                <a:gd name="connsiteX4804" fmla="*/ 855927 w 6942639"/>
                <a:gd name="connsiteY4804" fmla="*/ 5471102 h 9250612"/>
                <a:gd name="connsiteX4805" fmla="*/ 687187 w 6942639"/>
                <a:gd name="connsiteY4805" fmla="*/ 5471102 h 9250612"/>
                <a:gd name="connsiteX4806" fmla="*/ 696147 w 6942639"/>
                <a:gd name="connsiteY4806" fmla="*/ 5480062 h 9250612"/>
                <a:gd name="connsiteX4807" fmla="*/ 687187 w 6942639"/>
                <a:gd name="connsiteY4807" fmla="*/ 5489023 h 9250612"/>
                <a:gd name="connsiteX4808" fmla="*/ 678228 w 6942639"/>
                <a:gd name="connsiteY4808" fmla="*/ 5480062 h 9250612"/>
                <a:gd name="connsiteX4809" fmla="*/ 687187 w 6942639"/>
                <a:gd name="connsiteY4809" fmla="*/ 5471102 h 9250612"/>
                <a:gd name="connsiteX4810" fmla="*/ 518427 w 6942639"/>
                <a:gd name="connsiteY4810" fmla="*/ 5471102 h 9250612"/>
                <a:gd name="connsiteX4811" fmla="*/ 527388 w 6942639"/>
                <a:gd name="connsiteY4811" fmla="*/ 5480062 h 9250612"/>
                <a:gd name="connsiteX4812" fmla="*/ 518427 w 6942639"/>
                <a:gd name="connsiteY4812" fmla="*/ 5489023 h 9250612"/>
                <a:gd name="connsiteX4813" fmla="*/ 509467 w 6942639"/>
                <a:gd name="connsiteY4813" fmla="*/ 5480062 h 9250612"/>
                <a:gd name="connsiteX4814" fmla="*/ 518427 w 6942639"/>
                <a:gd name="connsiteY4814" fmla="*/ 5471102 h 9250612"/>
                <a:gd name="connsiteX4815" fmla="*/ 349688 w 6942639"/>
                <a:gd name="connsiteY4815" fmla="*/ 5471102 h 9250612"/>
                <a:gd name="connsiteX4816" fmla="*/ 358649 w 6942639"/>
                <a:gd name="connsiteY4816" fmla="*/ 5480062 h 9250612"/>
                <a:gd name="connsiteX4817" fmla="*/ 349688 w 6942639"/>
                <a:gd name="connsiteY4817" fmla="*/ 5489023 h 9250612"/>
                <a:gd name="connsiteX4818" fmla="*/ 340728 w 6942639"/>
                <a:gd name="connsiteY4818" fmla="*/ 5480062 h 9250612"/>
                <a:gd name="connsiteX4819" fmla="*/ 349688 w 6942639"/>
                <a:gd name="connsiteY4819" fmla="*/ 5471102 h 9250612"/>
                <a:gd name="connsiteX4820" fmla="*/ 179369 w 6942639"/>
                <a:gd name="connsiteY4820" fmla="*/ 5471102 h 9250612"/>
                <a:gd name="connsiteX4821" fmla="*/ 188330 w 6942639"/>
                <a:gd name="connsiteY4821" fmla="*/ 5480062 h 9250612"/>
                <a:gd name="connsiteX4822" fmla="*/ 179369 w 6942639"/>
                <a:gd name="connsiteY4822" fmla="*/ 5489023 h 9250612"/>
                <a:gd name="connsiteX4823" fmla="*/ 170409 w 6942639"/>
                <a:gd name="connsiteY4823" fmla="*/ 5480062 h 9250612"/>
                <a:gd name="connsiteX4824" fmla="*/ 179369 w 6942639"/>
                <a:gd name="connsiteY4824" fmla="*/ 5471102 h 9250612"/>
                <a:gd name="connsiteX4825" fmla="*/ 9051 w 6942639"/>
                <a:gd name="connsiteY4825" fmla="*/ 5471102 h 9250612"/>
                <a:gd name="connsiteX4826" fmla="*/ 18011 w 6942639"/>
                <a:gd name="connsiteY4826" fmla="*/ 5480062 h 9250612"/>
                <a:gd name="connsiteX4827" fmla="*/ 9051 w 6942639"/>
                <a:gd name="connsiteY4827" fmla="*/ 5489023 h 9250612"/>
                <a:gd name="connsiteX4828" fmla="*/ 91 w 6942639"/>
                <a:gd name="connsiteY4828" fmla="*/ 5480062 h 9250612"/>
                <a:gd name="connsiteX4829" fmla="*/ 9051 w 6942639"/>
                <a:gd name="connsiteY4829" fmla="*/ 5471102 h 9250612"/>
                <a:gd name="connsiteX4830" fmla="*/ 6933679 w 6942639"/>
                <a:gd name="connsiteY4830" fmla="*/ 5300120 h 9250612"/>
                <a:gd name="connsiteX4831" fmla="*/ 6942639 w 6942639"/>
                <a:gd name="connsiteY4831" fmla="*/ 5309080 h 9250612"/>
                <a:gd name="connsiteX4832" fmla="*/ 6933679 w 6942639"/>
                <a:gd name="connsiteY4832" fmla="*/ 5318041 h 9250612"/>
                <a:gd name="connsiteX4833" fmla="*/ 6924718 w 6942639"/>
                <a:gd name="connsiteY4833" fmla="*/ 5309080 h 9250612"/>
                <a:gd name="connsiteX4834" fmla="*/ 6933679 w 6942639"/>
                <a:gd name="connsiteY4834" fmla="*/ 5300120 h 9250612"/>
                <a:gd name="connsiteX4835" fmla="*/ 6763357 w 6942639"/>
                <a:gd name="connsiteY4835" fmla="*/ 5300120 h 9250612"/>
                <a:gd name="connsiteX4836" fmla="*/ 6772318 w 6942639"/>
                <a:gd name="connsiteY4836" fmla="*/ 5309080 h 9250612"/>
                <a:gd name="connsiteX4837" fmla="*/ 6763357 w 6942639"/>
                <a:gd name="connsiteY4837" fmla="*/ 5318041 h 9250612"/>
                <a:gd name="connsiteX4838" fmla="*/ 6754397 w 6942639"/>
                <a:gd name="connsiteY4838" fmla="*/ 5309080 h 9250612"/>
                <a:gd name="connsiteX4839" fmla="*/ 6763357 w 6942639"/>
                <a:gd name="connsiteY4839" fmla="*/ 5300120 h 9250612"/>
                <a:gd name="connsiteX4840" fmla="*/ 6593035 w 6942639"/>
                <a:gd name="connsiteY4840" fmla="*/ 5300120 h 9250612"/>
                <a:gd name="connsiteX4841" fmla="*/ 6601996 w 6942639"/>
                <a:gd name="connsiteY4841" fmla="*/ 5309080 h 9250612"/>
                <a:gd name="connsiteX4842" fmla="*/ 6593035 w 6942639"/>
                <a:gd name="connsiteY4842" fmla="*/ 5318041 h 9250612"/>
                <a:gd name="connsiteX4843" fmla="*/ 6584075 w 6942639"/>
                <a:gd name="connsiteY4843" fmla="*/ 5309080 h 9250612"/>
                <a:gd name="connsiteX4844" fmla="*/ 6593035 w 6942639"/>
                <a:gd name="connsiteY4844" fmla="*/ 5300120 h 9250612"/>
                <a:gd name="connsiteX4845" fmla="*/ 6424294 w 6942639"/>
                <a:gd name="connsiteY4845" fmla="*/ 5300120 h 9250612"/>
                <a:gd name="connsiteX4846" fmla="*/ 6433255 w 6942639"/>
                <a:gd name="connsiteY4846" fmla="*/ 5309080 h 9250612"/>
                <a:gd name="connsiteX4847" fmla="*/ 6424294 w 6942639"/>
                <a:gd name="connsiteY4847" fmla="*/ 5318041 h 9250612"/>
                <a:gd name="connsiteX4848" fmla="*/ 6415334 w 6942639"/>
                <a:gd name="connsiteY4848" fmla="*/ 5309080 h 9250612"/>
                <a:gd name="connsiteX4849" fmla="*/ 6424294 w 6942639"/>
                <a:gd name="connsiteY4849" fmla="*/ 5300120 h 9250612"/>
                <a:gd name="connsiteX4850" fmla="*/ 6255553 w 6942639"/>
                <a:gd name="connsiteY4850" fmla="*/ 5300120 h 9250612"/>
                <a:gd name="connsiteX4851" fmla="*/ 6264514 w 6942639"/>
                <a:gd name="connsiteY4851" fmla="*/ 5309080 h 9250612"/>
                <a:gd name="connsiteX4852" fmla="*/ 6255553 w 6942639"/>
                <a:gd name="connsiteY4852" fmla="*/ 5318041 h 9250612"/>
                <a:gd name="connsiteX4853" fmla="*/ 6246593 w 6942639"/>
                <a:gd name="connsiteY4853" fmla="*/ 5309080 h 9250612"/>
                <a:gd name="connsiteX4854" fmla="*/ 6255553 w 6942639"/>
                <a:gd name="connsiteY4854" fmla="*/ 5300120 h 9250612"/>
                <a:gd name="connsiteX4855" fmla="*/ 6086811 w 6942639"/>
                <a:gd name="connsiteY4855" fmla="*/ 5300120 h 9250612"/>
                <a:gd name="connsiteX4856" fmla="*/ 6095772 w 6942639"/>
                <a:gd name="connsiteY4856" fmla="*/ 5309080 h 9250612"/>
                <a:gd name="connsiteX4857" fmla="*/ 6086811 w 6942639"/>
                <a:gd name="connsiteY4857" fmla="*/ 5318041 h 9250612"/>
                <a:gd name="connsiteX4858" fmla="*/ 6077851 w 6942639"/>
                <a:gd name="connsiteY4858" fmla="*/ 5309080 h 9250612"/>
                <a:gd name="connsiteX4859" fmla="*/ 6086811 w 6942639"/>
                <a:gd name="connsiteY4859" fmla="*/ 5300120 h 9250612"/>
                <a:gd name="connsiteX4860" fmla="*/ 5918069 w 6942639"/>
                <a:gd name="connsiteY4860" fmla="*/ 5300120 h 9250612"/>
                <a:gd name="connsiteX4861" fmla="*/ 5927030 w 6942639"/>
                <a:gd name="connsiteY4861" fmla="*/ 5309080 h 9250612"/>
                <a:gd name="connsiteX4862" fmla="*/ 5918069 w 6942639"/>
                <a:gd name="connsiteY4862" fmla="*/ 5318041 h 9250612"/>
                <a:gd name="connsiteX4863" fmla="*/ 5909109 w 6942639"/>
                <a:gd name="connsiteY4863" fmla="*/ 5309080 h 9250612"/>
                <a:gd name="connsiteX4864" fmla="*/ 5918069 w 6942639"/>
                <a:gd name="connsiteY4864" fmla="*/ 5300120 h 9250612"/>
                <a:gd name="connsiteX4865" fmla="*/ 5749328 w 6942639"/>
                <a:gd name="connsiteY4865" fmla="*/ 5300120 h 9250612"/>
                <a:gd name="connsiteX4866" fmla="*/ 5758289 w 6942639"/>
                <a:gd name="connsiteY4866" fmla="*/ 5309080 h 9250612"/>
                <a:gd name="connsiteX4867" fmla="*/ 5749328 w 6942639"/>
                <a:gd name="connsiteY4867" fmla="*/ 5318041 h 9250612"/>
                <a:gd name="connsiteX4868" fmla="*/ 5740368 w 6942639"/>
                <a:gd name="connsiteY4868" fmla="*/ 5309080 h 9250612"/>
                <a:gd name="connsiteX4869" fmla="*/ 5749328 w 6942639"/>
                <a:gd name="connsiteY4869" fmla="*/ 5300120 h 9250612"/>
                <a:gd name="connsiteX4870" fmla="*/ 5580586 w 6942639"/>
                <a:gd name="connsiteY4870" fmla="*/ 5300120 h 9250612"/>
                <a:gd name="connsiteX4871" fmla="*/ 5589547 w 6942639"/>
                <a:gd name="connsiteY4871" fmla="*/ 5309080 h 9250612"/>
                <a:gd name="connsiteX4872" fmla="*/ 5580586 w 6942639"/>
                <a:gd name="connsiteY4872" fmla="*/ 5318041 h 9250612"/>
                <a:gd name="connsiteX4873" fmla="*/ 5571626 w 6942639"/>
                <a:gd name="connsiteY4873" fmla="*/ 5309080 h 9250612"/>
                <a:gd name="connsiteX4874" fmla="*/ 5580586 w 6942639"/>
                <a:gd name="connsiteY4874" fmla="*/ 5300120 h 9250612"/>
                <a:gd name="connsiteX4875" fmla="*/ 5411845 w 6942639"/>
                <a:gd name="connsiteY4875" fmla="*/ 5300120 h 9250612"/>
                <a:gd name="connsiteX4876" fmla="*/ 5420806 w 6942639"/>
                <a:gd name="connsiteY4876" fmla="*/ 5309080 h 9250612"/>
                <a:gd name="connsiteX4877" fmla="*/ 5411845 w 6942639"/>
                <a:gd name="connsiteY4877" fmla="*/ 5318041 h 9250612"/>
                <a:gd name="connsiteX4878" fmla="*/ 5402885 w 6942639"/>
                <a:gd name="connsiteY4878" fmla="*/ 5309080 h 9250612"/>
                <a:gd name="connsiteX4879" fmla="*/ 5411845 w 6942639"/>
                <a:gd name="connsiteY4879" fmla="*/ 5300120 h 9250612"/>
                <a:gd name="connsiteX4880" fmla="*/ 5243103 w 6942639"/>
                <a:gd name="connsiteY4880" fmla="*/ 5300120 h 9250612"/>
                <a:gd name="connsiteX4881" fmla="*/ 5252064 w 6942639"/>
                <a:gd name="connsiteY4881" fmla="*/ 5309080 h 9250612"/>
                <a:gd name="connsiteX4882" fmla="*/ 5243103 w 6942639"/>
                <a:gd name="connsiteY4882" fmla="*/ 5318041 h 9250612"/>
                <a:gd name="connsiteX4883" fmla="*/ 5234143 w 6942639"/>
                <a:gd name="connsiteY4883" fmla="*/ 5309080 h 9250612"/>
                <a:gd name="connsiteX4884" fmla="*/ 5243103 w 6942639"/>
                <a:gd name="connsiteY4884" fmla="*/ 5300120 h 9250612"/>
                <a:gd name="connsiteX4885" fmla="*/ 5074362 w 6942639"/>
                <a:gd name="connsiteY4885" fmla="*/ 5300120 h 9250612"/>
                <a:gd name="connsiteX4886" fmla="*/ 5083323 w 6942639"/>
                <a:gd name="connsiteY4886" fmla="*/ 5309080 h 9250612"/>
                <a:gd name="connsiteX4887" fmla="*/ 5074362 w 6942639"/>
                <a:gd name="connsiteY4887" fmla="*/ 5318041 h 9250612"/>
                <a:gd name="connsiteX4888" fmla="*/ 5065402 w 6942639"/>
                <a:gd name="connsiteY4888" fmla="*/ 5309080 h 9250612"/>
                <a:gd name="connsiteX4889" fmla="*/ 5074362 w 6942639"/>
                <a:gd name="connsiteY4889" fmla="*/ 5300120 h 9250612"/>
                <a:gd name="connsiteX4890" fmla="*/ 4905620 w 6942639"/>
                <a:gd name="connsiteY4890" fmla="*/ 5300120 h 9250612"/>
                <a:gd name="connsiteX4891" fmla="*/ 4914581 w 6942639"/>
                <a:gd name="connsiteY4891" fmla="*/ 5309080 h 9250612"/>
                <a:gd name="connsiteX4892" fmla="*/ 4905620 w 6942639"/>
                <a:gd name="connsiteY4892" fmla="*/ 5318041 h 9250612"/>
                <a:gd name="connsiteX4893" fmla="*/ 4896660 w 6942639"/>
                <a:gd name="connsiteY4893" fmla="*/ 5309080 h 9250612"/>
                <a:gd name="connsiteX4894" fmla="*/ 4905620 w 6942639"/>
                <a:gd name="connsiteY4894" fmla="*/ 5300120 h 9250612"/>
                <a:gd name="connsiteX4895" fmla="*/ 4736878 w 6942639"/>
                <a:gd name="connsiteY4895" fmla="*/ 5300120 h 9250612"/>
                <a:gd name="connsiteX4896" fmla="*/ 4745839 w 6942639"/>
                <a:gd name="connsiteY4896" fmla="*/ 5309080 h 9250612"/>
                <a:gd name="connsiteX4897" fmla="*/ 4736878 w 6942639"/>
                <a:gd name="connsiteY4897" fmla="*/ 5318041 h 9250612"/>
                <a:gd name="connsiteX4898" fmla="*/ 4727918 w 6942639"/>
                <a:gd name="connsiteY4898" fmla="*/ 5309080 h 9250612"/>
                <a:gd name="connsiteX4899" fmla="*/ 4736878 w 6942639"/>
                <a:gd name="connsiteY4899" fmla="*/ 5300120 h 9250612"/>
                <a:gd name="connsiteX4900" fmla="*/ 4568137 w 6942639"/>
                <a:gd name="connsiteY4900" fmla="*/ 5300120 h 9250612"/>
                <a:gd name="connsiteX4901" fmla="*/ 4577098 w 6942639"/>
                <a:gd name="connsiteY4901" fmla="*/ 5309080 h 9250612"/>
                <a:gd name="connsiteX4902" fmla="*/ 4568137 w 6942639"/>
                <a:gd name="connsiteY4902" fmla="*/ 5318041 h 9250612"/>
                <a:gd name="connsiteX4903" fmla="*/ 4559177 w 6942639"/>
                <a:gd name="connsiteY4903" fmla="*/ 5309080 h 9250612"/>
                <a:gd name="connsiteX4904" fmla="*/ 4568137 w 6942639"/>
                <a:gd name="connsiteY4904" fmla="*/ 5300120 h 9250612"/>
                <a:gd name="connsiteX4905" fmla="*/ 4399396 w 6942639"/>
                <a:gd name="connsiteY4905" fmla="*/ 5300120 h 9250612"/>
                <a:gd name="connsiteX4906" fmla="*/ 4408357 w 6942639"/>
                <a:gd name="connsiteY4906" fmla="*/ 5309080 h 9250612"/>
                <a:gd name="connsiteX4907" fmla="*/ 4399396 w 6942639"/>
                <a:gd name="connsiteY4907" fmla="*/ 5318041 h 9250612"/>
                <a:gd name="connsiteX4908" fmla="*/ 4390436 w 6942639"/>
                <a:gd name="connsiteY4908" fmla="*/ 5309080 h 9250612"/>
                <a:gd name="connsiteX4909" fmla="*/ 4399396 w 6942639"/>
                <a:gd name="connsiteY4909" fmla="*/ 5300120 h 9250612"/>
                <a:gd name="connsiteX4910" fmla="*/ 4230654 w 6942639"/>
                <a:gd name="connsiteY4910" fmla="*/ 5300120 h 9250612"/>
                <a:gd name="connsiteX4911" fmla="*/ 4239615 w 6942639"/>
                <a:gd name="connsiteY4911" fmla="*/ 5309080 h 9250612"/>
                <a:gd name="connsiteX4912" fmla="*/ 4230654 w 6942639"/>
                <a:gd name="connsiteY4912" fmla="*/ 5318041 h 9250612"/>
                <a:gd name="connsiteX4913" fmla="*/ 4221694 w 6942639"/>
                <a:gd name="connsiteY4913" fmla="*/ 5309080 h 9250612"/>
                <a:gd name="connsiteX4914" fmla="*/ 4230654 w 6942639"/>
                <a:gd name="connsiteY4914" fmla="*/ 5300120 h 9250612"/>
                <a:gd name="connsiteX4915" fmla="*/ 4061912 w 6942639"/>
                <a:gd name="connsiteY4915" fmla="*/ 5300120 h 9250612"/>
                <a:gd name="connsiteX4916" fmla="*/ 4070873 w 6942639"/>
                <a:gd name="connsiteY4916" fmla="*/ 5309080 h 9250612"/>
                <a:gd name="connsiteX4917" fmla="*/ 4061912 w 6942639"/>
                <a:gd name="connsiteY4917" fmla="*/ 5318041 h 9250612"/>
                <a:gd name="connsiteX4918" fmla="*/ 4052952 w 6942639"/>
                <a:gd name="connsiteY4918" fmla="*/ 5309080 h 9250612"/>
                <a:gd name="connsiteX4919" fmla="*/ 4061912 w 6942639"/>
                <a:gd name="connsiteY4919" fmla="*/ 5300120 h 9250612"/>
                <a:gd name="connsiteX4920" fmla="*/ 3893170 w 6942639"/>
                <a:gd name="connsiteY4920" fmla="*/ 5300120 h 9250612"/>
                <a:gd name="connsiteX4921" fmla="*/ 3902131 w 6942639"/>
                <a:gd name="connsiteY4921" fmla="*/ 5309080 h 9250612"/>
                <a:gd name="connsiteX4922" fmla="*/ 3893170 w 6942639"/>
                <a:gd name="connsiteY4922" fmla="*/ 5318041 h 9250612"/>
                <a:gd name="connsiteX4923" fmla="*/ 3884210 w 6942639"/>
                <a:gd name="connsiteY4923" fmla="*/ 5309080 h 9250612"/>
                <a:gd name="connsiteX4924" fmla="*/ 3893170 w 6942639"/>
                <a:gd name="connsiteY4924" fmla="*/ 5300120 h 9250612"/>
                <a:gd name="connsiteX4925" fmla="*/ 3724429 w 6942639"/>
                <a:gd name="connsiteY4925" fmla="*/ 5300120 h 9250612"/>
                <a:gd name="connsiteX4926" fmla="*/ 3733390 w 6942639"/>
                <a:gd name="connsiteY4926" fmla="*/ 5309080 h 9250612"/>
                <a:gd name="connsiteX4927" fmla="*/ 3724429 w 6942639"/>
                <a:gd name="connsiteY4927" fmla="*/ 5318041 h 9250612"/>
                <a:gd name="connsiteX4928" fmla="*/ 3715469 w 6942639"/>
                <a:gd name="connsiteY4928" fmla="*/ 5309080 h 9250612"/>
                <a:gd name="connsiteX4929" fmla="*/ 3724429 w 6942639"/>
                <a:gd name="connsiteY4929" fmla="*/ 5300120 h 9250612"/>
                <a:gd name="connsiteX4930" fmla="*/ 3555688 w 6942639"/>
                <a:gd name="connsiteY4930" fmla="*/ 5300120 h 9250612"/>
                <a:gd name="connsiteX4931" fmla="*/ 3564649 w 6942639"/>
                <a:gd name="connsiteY4931" fmla="*/ 5309080 h 9250612"/>
                <a:gd name="connsiteX4932" fmla="*/ 3555688 w 6942639"/>
                <a:gd name="connsiteY4932" fmla="*/ 5318041 h 9250612"/>
                <a:gd name="connsiteX4933" fmla="*/ 3546728 w 6942639"/>
                <a:gd name="connsiteY4933" fmla="*/ 5309080 h 9250612"/>
                <a:gd name="connsiteX4934" fmla="*/ 3555688 w 6942639"/>
                <a:gd name="connsiteY4934" fmla="*/ 5300120 h 9250612"/>
                <a:gd name="connsiteX4935" fmla="*/ 3387017 w 6942639"/>
                <a:gd name="connsiteY4935" fmla="*/ 5300120 h 9250612"/>
                <a:gd name="connsiteX4936" fmla="*/ 3395977 w 6942639"/>
                <a:gd name="connsiteY4936" fmla="*/ 5309080 h 9250612"/>
                <a:gd name="connsiteX4937" fmla="*/ 3387017 w 6942639"/>
                <a:gd name="connsiteY4937" fmla="*/ 5318041 h 9250612"/>
                <a:gd name="connsiteX4938" fmla="*/ 3378021 w 6942639"/>
                <a:gd name="connsiteY4938" fmla="*/ 5309080 h 9250612"/>
                <a:gd name="connsiteX4939" fmla="*/ 3387017 w 6942639"/>
                <a:gd name="connsiteY4939" fmla="*/ 5300120 h 9250612"/>
                <a:gd name="connsiteX4940" fmla="*/ 3218259 w 6942639"/>
                <a:gd name="connsiteY4940" fmla="*/ 5300120 h 9250612"/>
                <a:gd name="connsiteX4941" fmla="*/ 3227232 w 6942639"/>
                <a:gd name="connsiteY4941" fmla="*/ 5309080 h 9250612"/>
                <a:gd name="connsiteX4942" fmla="*/ 3218259 w 6942639"/>
                <a:gd name="connsiteY4942" fmla="*/ 5318041 h 9250612"/>
                <a:gd name="connsiteX4943" fmla="*/ 3209303 w 6942639"/>
                <a:gd name="connsiteY4943" fmla="*/ 5309080 h 9250612"/>
                <a:gd name="connsiteX4944" fmla="*/ 3218259 w 6942639"/>
                <a:gd name="connsiteY4944" fmla="*/ 5300120 h 9250612"/>
                <a:gd name="connsiteX4945" fmla="*/ 3049549 w 6942639"/>
                <a:gd name="connsiteY4945" fmla="*/ 5300120 h 9250612"/>
                <a:gd name="connsiteX4946" fmla="*/ 3058496 w 6942639"/>
                <a:gd name="connsiteY4946" fmla="*/ 5309080 h 9250612"/>
                <a:gd name="connsiteX4947" fmla="*/ 3049549 w 6942639"/>
                <a:gd name="connsiteY4947" fmla="*/ 5318041 h 9250612"/>
                <a:gd name="connsiteX4948" fmla="*/ 3040576 w 6942639"/>
                <a:gd name="connsiteY4948" fmla="*/ 5309080 h 9250612"/>
                <a:gd name="connsiteX4949" fmla="*/ 3049549 w 6942639"/>
                <a:gd name="connsiteY4949" fmla="*/ 5300120 h 9250612"/>
                <a:gd name="connsiteX4950" fmla="*/ 2880814 w 6942639"/>
                <a:gd name="connsiteY4950" fmla="*/ 5300120 h 9250612"/>
                <a:gd name="connsiteX4951" fmla="*/ 2889770 w 6942639"/>
                <a:gd name="connsiteY4951" fmla="*/ 5309080 h 9250612"/>
                <a:gd name="connsiteX4952" fmla="*/ 2880814 w 6942639"/>
                <a:gd name="connsiteY4952" fmla="*/ 5318041 h 9250612"/>
                <a:gd name="connsiteX4953" fmla="*/ 2871851 w 6942639"/>
                <a:gd name="connsiteY4953" fmla="*/ 5309080 h 9250612"/>
                <a:gd name="connsiteX4954" fmla="*/ 2880814 w 6942639"/>
                <a:gd name="connsiteY4954" fmla="*/ 5300120 h 9250612"/>
                <a:gd name="connsiteX4955" fmla="*/ 2712054 w 6942639"/>
                <a:gd name="connsiteY4955" fmla="*/ 5300120 h 9250612"/>
                <a:gd name="connsiteX4956" fmla="*/ 2721038 w 6942639"/>
                <a:gd name="connsiteY4956" fmla="*/ 5309080 h 9250612"/>
                <a:gd name="connsiteX4957" fmla="*/ 2712054 w 6942639"/>
                <a:gd name="connsiteY4957" fmla="*/ 5318041 h 9250612"/>
                <a:gd name="connsiteX4958" fmla="*/ 2703098 w 6942639"/>
                <a:gd name="connsiteY4958" fmla="*/ 5309080 h 9250612"/>
                <a:gd name="connsiteX4959" fmla="*/ 2712054 w 6942639"/>
                <a:gd name="connsiteY4959" fmla="*/ 5300120 h 9250612"/>
                <a:gd name="connsiteX4960" fmla="*/ 2543351 w 6942639"/>
                <a:gd name="connsiteY4960" fmla="*/ 5300120 h 9250612"/>
                <a:gd name="connsiteX4961" fmla="*/ 2552308 w 6942639"/>
                <a:gd name="connsiteY4961" fmla="*/ 5309080 h 9250612"/>
                <a:gd name="connsiteX4962" fmla="*/ 2543351 w 6942639"/>
                <a:gd name="connsiteY4962" fmla="*/ 5318041 h 9250612"/>
                <a:gd name="connsiteX4963" fmla="*/ 2534379 w 6942639"/>
                <a:gd name="connsiteY4963" fmla="*/ 5309080 h 9250612"/>
                <a:gd name="connsiteX4964" fmla="*/ 2543351 w 6942639"/>
                <a:gd name="connsiteY4964" fmla="*/ 5300120 h 9250612"/>
                <a:gd name="connsiteX4965" fmla="*/ 2374571 w 6942639"/>
                <a:gd name="connsiteY4965" fmla="*/ 5300120 h 9250612"/>
                <a:gd name="connsiteX4966" fmla="*/ 2383561 w 6942639"/>
                <a:gd name="connsiteY4966" fmla="*/ 5309080 h 9250612"/>
                <a:gd name="connsiteX4967" fmla="*/ 2374571 w 6942639"/>
                <a:gd name="connsiteY4967" fmla="*/ 5318041 h 9250612"/>
                <a:gd name="connsiteX4968" fmla="*/ 2365608 w 6942639"/>
                <a:gd name="connsiteY4968" fmla="*/ 5309080 h 9250612"/>
                <a:gd name="connsiteX4969" fmla="*/ 2374571 w 6942639"/>
                <a:gd name="connsiteY4969" fmla="*/ 5300120 h 9250612"/>
                <a:gd name="connsiteX4970" fmla="*/ 2205857 w 6942639"/>
                <a:gd name="connsiteY4970" fmla="*/ 5300120 h 9250612"/>
                <a:gd name="connsiteX4971" fmla="*/ 2214814 w 6942639"/>
                <a:gd name="connsiteY4971" fmla="*/ 5309080 h 9250612"/>
                <a:gd name="connsiteX4972" fmla="*/ 2205857 w 6942639"/>
                <a:gd name="connsiteY4972" fmla="*/ 5318041 h 9250612"/>
                <a:gd name="connsiteX4973" fmla="*/ 2196877 w 6942639"/>
                <a:gd name="connsiteY4973" fmla="*/ 5309080 h 9250612"/>
                <a:gd name="connsiteX4974" fmla="*/ 2205857 w 6942639"/>
                <a:gd name="connsiteY4974" fmla="*/ 5300120 h 9250612"/>
                <a:gd name="connsiteX4975" fmla="*/ 2037112 w 6942639"/>
                <a:gd name="connsiteY4975" fmla="*/ 5300120 h 9250612"/>
                <a:gd name="connsiteX4976" fmla="*/ 2046063 w 6942639"/>
                <a:gd name="connsiteY4976" fmla="*/ 5309080 h 9250612"/>
                <a:gd name="connsiteX4977" fmla="*/ 2037112 w 6942639"/>
                <a:gd name="connsiteY4977" fmla="*/ 5318041 h 9250612"/>
                <a:gd name="connsiteX4978" fmla="*/ 2028166 w 6942639"/>
                <a:gd name="connsiteY4978" fmla="*/ 5309080 h 9250612"/>
                <a:gd name="connsiteX4979" fmla="*/ 2037112 w 6942639"/>
                <a:gd name="connsiteY4979" fmla="*/ 5300120 h 9250612"/>
                <a:gd name="connsiteX4980" fmla="*/ 1868393 w 6942639"/>
                <a:gd name="connsiteY4980" fmla="*/ 5300120 h 9250612"/>
                <a:gd name="connsiteX4981" fmla="*/ 1877346 w 6942639"/>
                <a:gd name="connsiteY4981" fmla="*/ 5309080 h 9250612"/>
                <a:gd name="connsiteX4982" fmla="*/ 1868393 w 6942639"/>
                <a:gd name="connsiteY4982" fmla="*/ 5318041 h 9250612"/>
                <a:gd name="connsiteX4983" fmla="*/ 1859422 w 6942639"/>
                <a:gd name="connsiteY4983" fmla="*/ 5309080 h 9250612"/>
                <a:gd name="connsiteX4984" fmla="*/ 1868393 w 6942639"/>
                <a:gd name="connsiteY4984" fmla="*/ 5300120 h 9250612"/>
                <a:gd name="connsiteX4985" fmla="*/ 1699642 w 6942639"/>
                <a:gd name="connsiteY4985" fmla="*/ 5300120 h 9250612"/>
                <a:gd name="connsiteX4986" fmla="*/ 1708610 w 6942639"/>
                <a:gd name="connsiteY4986" fmla="*/ 5309080 h 9250612"/>
                <a:gd name="connsiteX4987" fmla="*/ 1699642 w 6942639"/>
                <a:gd name="connsiteY4987" fmla="*/ 5318041 h 9250612"/>
                <a:gd name="connsiteX4988" fmla="*/ 1690680 w 6942639"/>
                <a:gd name="connsiteY4988" fmla="*/ 5309080 h 9250612"/>
                <a:gd name="connsiteX4989" fmla="*/ 1699642 w 6942639"/>
                <a:gd name="connsiteY4989" fmla="*/ 5300120 h 9250612"/>
                <a:gd name="connsiteX4990" fmla="*/ 1530902 w 6942639"/>
                <a:gd name="connsiteY4990" fmla="*/ 5300120 h 9250612"/>
                <a:gd name="connsiteX4991" fmla="*/ 1539864 w 6942639"/>
                <a:gd name="connsiteY4991" fmla="*/ 5309080 h 9250612"/>
                <a:gd name="connsiteX4992" fmla="*/ 1530902 w 6942639"/>
                <a:gd name="connsiteY4992" fmla="*/ 5318041 h 9250612"/>
                <a:gd name="connsiteX4993" fmla="*/ 1521941 w 6942639"/>
                <a:gd name="connsiteY4993" fmla="*/ 5309080 h 9250612"/>
                <a:gd name="connsiteX4994" fmla="*/ 1530902 w 6942639"/>
                <a:gd name="connsiteY4994" fmla="*/ 5300120 h 9250612"/>
                <a:gd name="connsiteX4995" fmla="*/ 1362154 w 6942639"/>
                <a:gd name="connsiteY4995" fmla="*/ 5300120 h 9250612"/>
                <a:gd name="connsiteX4996" fmla="*/ 1371115 w 6942639"/>
                <a:gd name="connsiteY4996" fmla="*/ 5309080 h 9250612"/>
                <a:gd name="connsiteX4997" fmla="*/ 1362154 w 6942639"/>
                <a:gd name="connsiteY4997" fmla="*/ 5318041 h 9250612"/>
                <a:gd name="connsiteX4998" fmla="*/ 1353194 w 6942639"/>
                <a:gd name="connsiteY4998" fmla="*/ 5309080 h 9250612"/>
                <a:gd name="connsiteX4999" fmla="*/ 1362154 w 6942639"/>
                <a:gd name="connsiteY4999" fmla="*/ 5300120 h 9250612"/>
                <a:gd name="connsiteX5000" fmla="*/ 1193413 w 6942639"/>
                <a:gd name="connsiteY5000" fmla="*/ 5300120 h 9250612"/>
                <a:gd name="connsiteX5001" fmla="*/ 1202373 w 6942639"/>
                <a:gd name="connsiteY5001" fmla="*/ 5309080 h 9250612"/>
                <a:gd name="connsiteX5002" fmla="*/ 1193413 w 6942639"/>
                <a:gd name="connsiteY5002" fmla="*/ 5318041 h 9250612"/>
                <a:gd name="connsiteX5003" fmla="*/ 1184454 w 6942639"/>
                <a:gd name="connsiteY5003" fmla="*/ 5309080 h 9250612"/>
                <a:gd name="connsiteX5004" fmla="*/ 1193413 w 6942639"/>
                <a:gd name="connsiteY5004" fmla="*/ 5300120 h 9250612"/>
                <a:gd name="connsiteX5005" fmla="*/ 1024663 w 6942639"/>
                <a:gd name="connsiteY5005" fmla="*/ 5300120 h 9250612"/>
                <a:gd name="connsiteX5006" fmla="*/ 1033628 w 6942639"/>
                <a:gd name="connsiteY5006" fmla="*/ 5309080 h 9250612"/>
                <a:gd name="connsiteX5007" fmla="*/ 1024663 w 6942639"/>
                <a:gd name="connsiteY5007" fmla="*/ 5318041 h 9250612"/>
                <a:gd name="connsiteX5008" fmla="*/ 1015702 w 6942639"/>
                <a:gd name="connsiteY5008" fmla="*/ 5309080 h 9250612"/>
                <a:gd name="connsiteX5009" fmla="*/ 1024663 w 6942639"/>
                <a:gd name="connsiteY5009" fmla="*/ 5300120 h 9250612"/>
                <a:gd name="connsiteX5010" fmla="*/ 855932 w 6942639"/>
                <a:gd name="connsiteY5010" fmla="*/ 5300120 h 9250612"/>
                <a:gd name="connsiteX5011" fmla="*/ 864892 w 6942639"/>
                <a:gd name="connsiteY5011" fmla="*/ 5309080 h 9250612"/>
                <a:gd name="connsiteX5012" fmla="*/ 855932 w 6942639"/>
                <a:gd name="connsiteY5012" fmla="*/ 5318041 h 9250612"/>
                <a:gd name="connsiteX5013" fmla="*/ 846971 w 6942639"/>
                <a:gd name="connsiteY5013" fmla="*/ 5309080 h 9250612"/>
                <a:gd name="connsiteX5014" fmla="*/ 855932 w 6942639"/>
                <a:gd name="connsiteY5014" fmla="*/ 5300120 h 9250612"/>
                <a:gd name="connsiteX5015" fmla="*/ 687192 w 6942639"/>
                <a:gd name="connsiteY5015" fmla="*/ 5300120 h 9250612"/>
                <a:gd name="connsiteX5016" fmla="*/ 696152 w 6942639"/>
                <a:gd name="connsiteY5016" fmla="*/ 5309080 h 9250612"/>
                <a:gd name="connsiteX5017" fmla="*/ 687192 w 6942639"/>
                <a:gd name="connsiteY5017" fmla="*/ 5318041 h 9250612"/>
                <a:gd name="connsiteX5018" fmla="*/ 678232 w 6942639"/>
                <a:gd name="connsiteY5018" fmla="*/ 5309080 h 9250612"/>
                <a:gd name="connsiteX5019" fmla="*/ 687192 w 6942639"/>
                <a:gd name="connsiteY5019" fmla="*/ 5300120 h 9250612"/>
                <a:gd name="connsiteX5020" fmla="*/ 518431 w 6942639"/>
                <a:gd name="connsiteY5020" fmla="*/ 5300120 h 9250612"/>
                <a:gd name="connsiteX5021" fmla="*/ 527391 w 6942639"/>
                <a:gd name="connsiteY5021" fmla="*/ 5309080 h 9250612"/>
                <a:gd name="connsiteX5022" fmla="*/ 518431 w 6942639"/>
                <a:gd name="connsiteY5022" fmla="*/ 5318041 h 9250612"/>
                <a:gd name="connsiteX5023" fmla="*/ 509470 w 6942639"/>
                <a:gd name="connsiteY5023" fmla="*/ 5309080 h 9250612"/>
                <a:gd name="connsiteX5024" fmla="*/ 518431 w 6942639"/>
                <a:gd name="connsiteY5024" fmla="*/ 5300120 h 9250612"/>
                <a:gd name="connsiteX5025" fmla="*/ 349692 w 6942639"/>
                <a:gd name="connsiteY5025" fmla="*/ 5300120 h 9250612"/>
                <a:gd name="connsiteX5026" fmla="*/ 358653 w 6942639"/>
                <a:gd name="connsiteY5026" fmla="*/ 5309080 h 9250612"/>
                <a:gd name="connsiteX5027" fmla="*/ 349692 w 6942639"/>
                <a:gd name="connsiteY5027" fmla="*/ 5318041 h 9250612"/>
                <a:gd name="connsiteX5028" fmla="*/ 340732 w 6942639"/>
                <a:gd name="connsiteY5028" fmla="*/ 5309080 h 9250612"/>
                <a:gd name="connsiteX5029" fmla="*/ 349692 w 6942639"/>
                <a:gd name="connsiteY5029" fmla="*/ 5300120 h 9250612"/>
                <a:gd name="connsiteX5030" fmla="*/ 179373 w 6942639"/>
                <a:gd name="connsiteY5030" fmla="*/ 5300120 h 9250612"/>
                <a:gd name="connsiteX5031" fmla="*/ 188334 w 6942639"/>
                <a:gd name="connsiteY5031" fmla="*/ 5309080 h 9250612"/>
                <a:gd name="connsiteX5032" fmla="*/ 179373 w 6942639"/>
                <a:gd name="connsiteY5032" fmla="*/ 5318041 h 9250612"/>
                <a:gd name="connsiteX5033" fmla="*/ 170413 w 6942639"/>
                <a:gd name="connsiteY5033" fmla="*/ 5309080 h 9250612"/>
                <a:gd name="connsiteX5034" fmla="*/ 179373 w 6942639"/>
                <a:gd name="connsiteY5034" fmla="*/ 5300120 h 9250612"/>
                <a:gd name="connsiteX5035" fmla="*/ 9055 w 6942639"/>
                <a:gd name="connsiteY5035" fmla="*/ 5300120 h 9250612"/>
                <a:gd name="connsiteX5036" fmla="*/ 18015 w 6942639"/>
                <a:gd name="connsiteY5036" fmla="*/ 5309080 h 9250612"/>
                <a:gd name="connsiteX5037" fmla="*/ 9055 w 6942639"/>
                <a:gd name="connsiteY5037" fmla="*/ 5318041 h 9250612"/>
                <a:gd name="connsiteX5038" fmla="*/ 95 w 6942639"/>
                <a:gd name="connsiteY5038" fmla="*/ 5309080 h 9250612"/>
                <a:gd name="connsiteX5039" fmla="*/ 9055 w 6942639"/>
                <a:gd name="connsiteY5039" fmla="*/ 5300120 h 9250612"/>
                <a:gd name="connsiteX5040" fmla="*/ 6933679 w 6942639"/>
                <a:gd name="connsiteY5040" fmla="*/ 5129139 h 9250612"/>
                <a:gd name="connsiteX5041" fmla="*/ 6942639 w 6942639"/>
                <a:gd name="connsiteY5041" fmla="*/ 5138099 h 9250612"/>
                <a:gd name="connsiteX5042" fmla="*/ 6933679 w 6942639"/>
                <a:gd name="connsiteY5042" fmla="*/ 5147060 h 9250612"/>
                <a:gd name="connsiteX5043" fmla="*/ 6924718 w 6942639"/>
                <a:gd name="connsiteY5043" fmla="*/ 5138099 h 9250612"/>
                <a:gd name="connsiteX5044" fmla="*/ 6933679 w 6942639"/>
                <a:gd name="connsiteY5044" fmla="*/ 5129139 h 9250612"/>
                <a:gd name="connsiteX5045" fmla="*/ 6763357 w 6942639"/>
                <a:gd name="connsiteY5045" fmla="*/ 5129139 h 9250612"/>
                <a:gd name="connsiteX5046" fmla="*/ 6772318 w 6942639"/>
                <a:gd name="connsiteY5046" fmla="*/ 5138099 h 9250612"/>
                <a:gd name="connsiteX5047" fmla="*/ 6763357 w 6942639"/>
                <a:gd name="connsiteY5047" fmla="*/ 5147060 h 9250612"/>
                <a:gd name="connsiteX5048" fmla="*/ 6754397 w 6942639"/>
                <a:gd name="connsiteY5048" fmla="*/ 5138099 h 9250612"/>
                <a:gd name="connsiteX5049" fmla="*/ 6763357 w 6942639"/>
                <a:gd name="connsiteY5049" fmla="*/ 5129139 h 9250612"/>
                <a:gd name="connsiteX5050" fmla="*/ 6593035 w 6942639"/>
                <a:gd name="connsiteY5050" fmla="*/ 5129139 h 9250612"/>
                <a:gd name="connsiteX5051" fmla="*/ 6601996 w 6942639"/>
                <a:gd name="connsiteY5051" fmla="*/ 5138099 h 9250612"/>
                <a:gd name="connsiteX5052" fmla="*/ 6593035 w 6942639"/>
                <a:gd name="connsiteY5052" fmla="*/ 5147060 h 9250612"/>
                <a:gd name="connsiteX5053" fmla="*/ 6584075 w 6942639"/>
                <a:gd name="connsiteY5053" fmla="*/ 5138099 h 9250612"/>
                <a:gd name="connsiteX5054" fmla="*/ 6593035 w 6942639"/>
                <a:gd name="connsiteY5054" fmla="*/ 5129139 h 9250612"/>
                <a:gd name="connsiteX5055" fmla="*/ 6424294 w 6942639"/>
                <a:gd name="connsiteY5055" fmla="*/ 5129139 h 9250612"/>
                <a:gd name="connsiteX5056" fmla="*/ 6433255 w 6942639"/>
                <a:gd name="connsiteY5056" fmla="*/ 5138099 h 9250612"/>
                <a:gd name="connsiteX5057" fmla="*/ 6424294 w 6942639"/>
                <a:gd name="connsiteY5057" fmla="*/ 5147060 h 9250612"/>
                <a:gd name="connsiteX5058" fmla="*/ 6415334 w 6942639"/>
                <a:gd name="connsiteY5058" fmla="*/ 5138099 h 9250612"/>
                <a:gd name="connsiteX5059" fmla="*/ 6424294 w 6942639"/>
                <a:gd name="connsiteY5059" fmla="*/ 5129139 h 9250612"/>
                <a:gd name="connsiteX5060" fmla="*/ 6255553 w 6942639"/>
                <a:gd name="connsiteY5060" fmla="*/ 5129139 h 9250612"/>
                <a:gd name="connsiteX5061" fmla="*/ 6264514 w 6942639"/>
                <a:gd name="connsiteY5061" fmla="*/ 5138099 h 9250612"/>
                <a:gd name="connsiteX5062" fmla="*/ 6255553 w 6942639"/>
                <a:gd name="connsiteY5062" fmla="*/ 5147060 h 9250612"/>
                <a:gd name="connsiteX5063" fmla="*/ 6246593 w 6942639"/>
                <a:gd name="connsiteY5063" fmla="*/ 5138099 h 9250612"/>
                <a:gd name="connsiteX5064" fmla="*/ 6255553 w 6942639"/>
                <a:gd name="connsiteY5064" fmla="*/ 5129139 h 9250612"/>
                <a:gd name="connsiteX5065" fmla="*/ 6086811 w 6942639"/>
                <a:gd name="connsiteY5065" fmla="*/ 5129139 h 9250612"/>
                <a:gd name="connsiteX5066" fmla="*/ 6095772 w 6942639"/>
                <a:gd name="connsiteY5066" fmla="*/ 5138099 h 9250612"/>
                <a:gd name="connsiteX5067" fmla="*/ 6086811 w 6942639"/>
                <a:gd name="connsiteY5067" fmla="*/ 5147060 h 9250612"/>
                <a:gd name="connsiteX5068" fmla="*/ 6077851 w 6942639"/>
                <a:gd name="connsiteY5068" fmla="*/ 5138099 h 9250612"/>
                <a:gd name="connsiteX5069" fmla="*/ 6086811 w 6942639"/>
                <a:gd name="connsiteY5069" fmla="*/ 5129139 h 9250612"/>
                <a:gd name="connsiteX5070" fmla="*/ 5918069 w 6942639"/>
                <a:gd name="connsiteY5070" fmla="*/ 5129139 h 9250612"/>
                <a:gd name="connsiteX5071" fmla="*/ 5927030 w 6942639"/>
                <a:gd name="connsiteY5071" fmla="*/ 5138099 h 9250612"/>
                <a:gd name="connsiteX5072" fmla="*/ 5918069 w 6942639"/>
                <a:gd name="connsiteY5072" fmla="*/ 5147060 h 9250612"/>
                <a:gd name="connsiteX5073" fmla="*/ 5909109 w 6942639"/>
                <a:gd name="connsiteY5073" fmla="*/ 5138099 h 9250612"/>
                <a:gd name="connsiteX5074" fmla="*/ 5918069 w 6942639"/>
                <a:gd name="connsiteY5074" fmla="*/ 5129139 h 9250612"/>
                <a:gd name="connsiteX5075" fmla="*/ 5749328 w 6942639"/>
                <a:gd name="connsiteY5075" fmla="*/ 5129139 h 9250612"/>
                <a:gd name="connsiteX5076" fmla="*/ 5758289 w 6942639"/>
                <a:gd name="connsiteY5076" fmla="*/ 5138099 h 9250612"/>
                <a:gd name="connsiteX5077" fmla="*/ 5749328 w 6942639"/>
                <a:gd name="connsiteY5077" fmla="*/ 5147060 h 9250612"/>
                <a:gd name="connsiteX5078" fmla="*/ 5740368 w 6942639"/>
                <a:gd name="connsiteY5078" fmla="*/ 5138099 h 9250612"/>
                <a:gd name="connsiteX5079" fmla="*/ 5749328 w 6942639"/>
                <a:gd name="connsiteY5079" fmla="*/ 5129139 h 9250612"/>
                <a:gd name="connsiteX5080" fmla="*/ 5580586 w 6942639"/>
                <a:gd name="connsiteY5080" fmla="*/ 5129139 h 9250612"/>
                <a:gd name="connsiteX5081" fmla="*/ 5589547 w 6942639"/>
                <a:gd name="connsiteY5081" fmla="*/ 5138099 h 9250612"/>
                <a:gd name="connsiteX5082" fmla="*/ 5580586 w 6942639"/>
                <a:gd name="connsiteY5082" fmla="*/ 5147060 h 9250612"/>
                <a:gd name="connsiteX5083" fmla="*/ 5571626 w 6942639"/>
                <a:gd name="connsiteY5083" fmla="*/ 5138099 h 9250612"/>
                <a:gd name="connsiteX5084" fmla="*/ 5580586 w 6942639"/>
                <a:gd name="connsiteY5084" fmla="*/ 5129139 h 9250612"/>
                <a:gd name="connsiteX5085" fmla="*/ 5411845 w 6942639"/>
                <a:gd name="connsiteY5085" fmla="*/ 5129139 h 9250612"/>
                <a:gd name="connsiteX5086" fmla="*/ 5420806 w 6942639"/>
                <a:gd name="connsiteY5086" fmla="*/ 5138099 h 9250612"/>
                <a:gd name="connsiteX5087" fmla="*/ 5411845 w 6942639"/>
                <a:gd name="connsiteY5087" fmla="*/ 5147060 h 9250612"/>
                <a:gd name="connsiteX5088" fmla="*/ 5402885 w 6942639"/>
                <a:gd name="connsiteY5088" fmla="*/ 5138099 h 9250612"/>
                <a:gd name="connsiteX5089" fmla="*/ 5411845 w 6942639"/>
                <a:gd name="connsiteY5089" fmla="*/ 5129139 h 9250612"/>
                <a:gd name="connsiteX5090" fmla="*/ 5243103 w 6942639"/>
                <a:gd name="connsiteY5090" fmla="*/ 5129139 h 9250612"/>
                <a:gd name="connsiteX5091" fmla="*/ 5252064 w 6942639"/>
                <a:gd name="connsiteY5091" fmla="*/ 5138099 h 9250612"/>
                <a:gd name="connsiteX5092" fmla="*/ 5243103 w 6942639"/>
                <a:gd name="connsiteY5092" fmla="*/ 5147060 h 9250612"/>
                <a:gd name="connsiteX5093" fmla="*/ 5234143 w 6942639"/>
                <a:gd name="connsiteY5093" fmla="*/ 5138099 h 9250612"/>
                <a:gd name="connsiteX5094" fmla="*/ 5243103 w 6942639"/>
                <a:gd name="connsiteY5094" fmla="*/ 5129139 h 9250612"/>
                <a:gd name="connsiteX5095" fmla="*/ 5074362 w 6942639"/>
                <a:gd name="connsiteY5095" fmla="*/ 5129139 h 9250612"/>
                <a:gd name="connsiteX5096" fmla="*/ 5083323 w 6942639"/>
                <a:gd name="connsiteY5096" fmla="*/ 5138099 h 9250612"/>
                <a:gd name="connsiteX5097" fmla="*/ 5074362 w 6942639"/>
                <a:gd name="connsiteY5097" fmla="*/ 5147060 h 9250612"/>
                <a:gd name="connsiteX5098" fmla="*/ 5065402 w 6942639"/>
                <a:gd name="connsiteY5098" fmla="*/ 5138099 h 9250612"/>
                <a:gd name="connsiteX5099" fmla="*/ 5074362 w 6942639"/>
                <a:gd name="connsiteY5099" fmla="*/ 5129139 h 9250612"/>
                <a:gd name="connsiteX5100" fmla="*/ 4905620 w 6942639"/>
                <a:gd name="connsiteY5100" fmla="*/ 5129139 h 9250612"/>
                <a:gd name="connsiteX5101" fmla="*/ 4914581 w 6942639"/>
                <a:gd name="connsiteY5101" fmla="*/ 5138099 h 9250612"/>
                <a:gd name="connsiteX5102" fmla="*/ 4905620 w 6942639"/>
                <a:gd name="connsiteY5102" fmla="*/ 5147060 h 9250612"/>
                <a:gd name="connsiteX5103" fmla="*/ 4896660 w 6942639"/>
                <a:gd name="connsiteY5103" fmla="*/ 5138099 h 9250612"/>
                <a:gd name="connsiteX5104" fmla="*/ 4905620 w 6942639"/>
                <a:gd name="connsiteY5104" fmla="*/ 5129139 h 9250612"/>
                <a:gd name="connsiteX5105" fmla="*/ 4736878 w 6942639"/>
                <a:gd name="connsiteY5105" fmla="*/ 5129139 h 9250612"/>
                <a:gd name="connsiteX5106" fmla="*/ 4745839 w 6942639"/>
                <a:gd name="connsiteY5106" fmla="*/ 5138099 h 9250612"/>
                <a:gd name="connsiteX5107" fmla="*/ 4736878 w 6942639"/>
                <a:gd name="connsiteY5107" fmla="*/ 5147060 h 9250612"/>
                <a:gd name="connsiteX5108" fmla="*/ 4727918 w 6942639"/>
                <a:gd name="connsiteY5108" fmla="*/ 5138099 h 9250612"/>
                <a:gd name="connsiteX5109" fmla="*/ 4736878 w 6942639"/>
                <a:gd name="connsiteY5109" fmla="*/ 5129139 h 9250612"/>
                <a:gd name="connsiteX5110" fmla="*/ 4568137 w 6942639"/>
                <a:gd name="connsiteY5110" fmla="*/ 5129139 h 9250612"/>
                <a:gd name="connsiteX5111" fmla="*/ 4577098 w 6942639"/>
                <a:gd name="connsiteY5111" fmla="*/ 5138099 h 9250612"/>
                <a:gd name="connsiteX5112" fmla="*/ 4568137 w 6942639"/>
                <a:gd name="connsiteY5112" fmla="*/ 5147060 h 9250612"/>
                <a:gd name="connsiteX5113" fmla="*/ 4559177 w 6942639"/>
                <a:gd name="connsiteY5113" fmla="*/ 5138099 h 9250612"/>
                <a:gd name="connsiteX5114" fmla="*/ 4568137 w 6942639"/>
                <a:gd name="connsiteY5114" fmla="*/ 5129139 h 9250612"/>
                <a:gd name="connsiteX5115" fmla="*/ 4399396 w 6942639"/>
                <a:gd name="connsiteY5115" fmla="*/ 5129139 h 9250612"/>
                <a:gd name="connsiteX5116" fmla="*/ 4408357 w 6942639"/>
                <a:gd name="connsiteY5116" fmla="*/ 5138099 h 9250612"/>
                <a:gd name="connsiteX5117" fmla="*/ 4399396 w 6942639"/>
                <a:gd name="connsiteY5117" fmla="*/ 5147060 h 9250612"/>
                <a:gd name="connsiteX5118" fmla="*/ 4390436 w 6942639"/>
                <a:gd name="connsiteY5118" fmla="*/ 5138099 h 9250612"/>
                <a:gd name="connsiteX5119" fmla="*/ 4399396 w 6942639"/>
                <a:gd name="connsiteY5119" fmla="*/ 5129139 h 9250612"/>
                <a:gd name="connsiteX5120" fmla="*/ 4230654 w 6942639"/>
                <a:gd name="connsiteY5120" fmla="*/ 5129139 h 9250612"/>
                <a:gd name="connsiteX5121" fmla="*/ 4239615 w 6942639"/>
                <a:gd name="connsiteY5121" fmla="*/ 5138099 h 9250612"/>
                <a:gd name="connsiteX5122" fmla="*/ 4230654 w 6942639"/>
                <a:gd name="connsiteY5122" fmla="*/ 5147060 h 9250612"/>
                <a:gd name="connsiteX5123" fmla="*/ 4221694 w 6942639"/>
                <a:gd name="connsiteY5123" fmla="*/ 5138099 h 9250612"/>
                <a:gd name="connsiteX5124" fmla="*/ 4230654 w 6942639"/>
                <a:gd name="connsiteY5124" fmla="*/ 5129139 h 9250612"/>
                <a:gd name="connsiteX5125" fmla="*/ 4061912 w 6942639"/>
                <a:gd name="connsiteY5125" fmla="*/ 5129139 h 9250612"/>
                <a:gd name="connsiteX5126" fmla="*/ 4070873 w 6942639"/>
                <a:gd name="connsiteY5126" fmla="*/ 5138099 h 9250612"/>
                <a:gd name="connsiteX5127" fmla="*/ 4061912 w 6942639"/>
                <a:gd name="connsiteY5127" fmla="*/ 5147060 h 9250612"/>
                <a:gd name="connsiteX5128" fmla="*/ 4052952 w 6942639"/>
                <a:gd name="connsiteY5128" fmla="*/ 5138099 h 9250612"/>
                <a:gd name="connsiteX5129" fmla="*/ 4061912 w 6942639"/>
                <a:gd name="connsiteY5129" fmla="*/ 5129139 h 9250612"/>
                <a:gd name="connsiteX5130" fmla="*/ 3893170 w 6942639"/>
                <a:gd name="connsiteY5130" fmla="*/ 5129139 h 9250612"/>
                <a:gd name="connsiteX5131" fmla="*/ 3902131 w 6942639"/>
                <a:gd name="connsiteY5131" fmla="*/ 5138099 h 9250612"/>
                <a:gd name="connsiteX5132" fmla="*/ 3893170 w 6942639"/>
                <a:gd name="connsiteY5132" fmla="*/ 5147060 h 9250612"/>
                <a:gd name="connsiteX5133" fmla="*/ 3884210 w 6942639"/>
                <a:gd name="connsiteY5133" fmla="*/ 5138099 h 9250612"/>
                <a:gd name="connsiteX5134" fmla="*/ 3893170 w 6942639"/>
                <a:gd name="connsiteY5134" fmla="*/ 5129139 h 9250612"/>
                <a:gd name="connsiteX5135" fmla="*/ 3724429 w 6942639"/>
                <a:gd name="connsiteY5135" fmla="*/ 5129139 h 9250612"/>
                <a:gd name="connsiteX5136" fmla="*/ 3733390 w 6942639"/>
                <a:gd name="connsiteY5136" fmla="*/ 5138099 h 9250612"/>
                <a:gd name="connsiteX5137" fmla="*/ 3724429 w 6942639"/>
                <a:gd name="connsiteY5137" fmla="*/ 5147060 h 9250612"/>
                <a:gd name="connsiteX5138" fmla="*/ 3715469 w 6942639"/>
                <a:gd name="connsiteY5138" fmla="*/ 5138099 h 9250612"/>
                <a:gd name="connsiteX5139" fmla="*/ 3724429 w 6942639"/>
                <a:gd name="connsiteY5139" fmla="*/ 5129139 h 9250612"/>
                <a:gd name="connsiteX5140" fmla="*/ 3555688 w 6942639"/>
                <a:gd name="connsiteY5140" fmla="*/ 5129139 h 9250612"/>
                <a:gd name="connsiteX5141" fmla="*/ 3564649 w 6942639"/>
                <a:gd name="connsiteY5141" fmla="*/ 5138099 h 9250612"/>
                <a:gd name="connsiteX5142" fmla="*/ 3555688 w 6942639"/>
                <a:gd name="connsiteY5142" fmla="*/ 5147060 h 9250612"/>
                <a:gd name="connsiteX5143" fmla="*/ 3546728 w 6942639"/>
                <a:gd name="connsiteY5143" fmla="*/ 5138099 h 9250612"/>
                <a:gd name="connsiteX5144" fmla="*/ 3555688 w 6942639"/>
                <a:gd name="connsiteY5144" fmla="*/ 5129139 h 9250612"/>
                <a:gd name="connsiteX5145" fmla="*/ 3387020 w 6942639"/>
                <a:gd name="connsiteY5145" fmla="*/ 5129139 h 9250612"/>
                <a:gd name="connsiteX5146" fmla="*/ 3395980 w 6942639"/>
                <a:gd name="connsiteY5146" fmla="*/ 5138099 h 9250612"/>
                <a:gd name="connsiteX5147" fmla="*/ 3387020 w 6942639"/>
                <a:gd name="connsiteY5147" fmla="*/ 5147060 h 9250612"/>
                <a:gd name="connsiteX5148" fmla="*/ 3378023 w 6942639"/>
                <a:gd name="connsiteY5148" fmla="*/ 5138099 h 9250612"/>
                <a:gd name="connsiteX5149" fmla="*/ 3387020 w 6942639"/>
                <a:gd name="connsiteY5149" fmla="*/ 5129139 h 9250612"/>
                <a:gd name="connsiteX5150" fmla="*/ 3218262 w 6942639"/>
                <a:gd name="connsiteY5150" fmla="*/ 5129139 h 9250612"/>
                <a:gd name="connsiteX5151" fmla="*/ 3227234 w 6942639"/>
                <a:gd name="connsiteY5151" fmla="*/ 5138099 h 9250612"/>
                <a:gd name="connsiteX5152" fmla="*/ 3218262 w 6942639"/>
                <a:gd name="connsiteY5152" fmla="*/ 5147060 h 9250612"/>
                <a:gd name="connsiteX5153" fmla="*/ 3209305 w 6942639"/>
                <a:gd name="connsiteY5153" fmla="*/ 5138099 h 9250612"/>
                <a:gd name="connsiteX5154" fmla="*/ 3218262 w 6942639"/>
                <a:gd name="connsiteY5154" fmla="*/ 5129139 h 9250612"/>
                <a:gd name="connsiteX5155" fmla="*/ 3049552 w 6942639"/>
                <a:gd name="connsiteY5155" fmla="*/ 5129139 h 9250612"/>
                <a:gd name="connsiteX5156" fmla="*/ 3058499 w 6942639"/>
                <a:gd name="connsiteY5156" fmla="*/ 5138099 h 9250612"/>
                <a:gd name="connsiteX5157" fmla="*/ 3049552 w 6942639"/>
                <a:gd name="connsiteY5157" fmla="*/ 5147060 h 9250612"/>
                <a:gd name="connsiteX5158" fmla="*/ 3040580 w 6942639"/>
                <a:gd name="connsiteY5158" fmla="*/ 5138099 h 9250612"/>
                <a:gd name="connsiteX5159" fmla="*/ 3049552 w 6942639"/>
                <a:gd name="connsiteY5159" fmla="*/ 5129139 h 9250612"/>
                <a:gd name="connsiteX5160" fmla="*/ 2880817 w 6942639"/>
                <a:gd name="connsiteY5160" fmla="*/ 5129139 h 9250612"/>
                <a:gd name="connsiteX5161" fmla="*/ 2889774 w 6942639"/>
                <a:gd name="connsiteY5161" fmla="*/ 5138099 h 9250612"/>
                <a:gd name="connsiteX5162" fmla="*/ 2880817 w 6942639"/>
                <a:gd name="connsiteY5162" fmla="*/ 5147060 h 9250612"/>
                <a:gd name="connsiteX5163" fmla="*/ 2871855 w 6942639"/>
                <a:gd name="connsiteY5163" fmla="*/ 5138099 h 9250612"/>
                <a:gd name="connsiteX5164" fmla="*/ 2880817 w 6942639"/>
                <a:gd name="connsiteY5164" fmla="*/ 5129139 h 9250612"/>
                <a:gd name="connsiteX5165" fmla="*/ 2712057 w 6942639"/>
                <a:gd name="connsiteY5165" fmla="*/ 5129139 h 9250612"/>
                <a:gd name="connsiteX5166" fmla="*/ 2721041 w 6942639"/>
                <a:gd name="connsiteY5166" fmla="*/ 5138099 h 9250612"/>
                <a:gd name="connsiteX5167" fmla="*/ 2712057 w 6942639"/>
                <a:gd name="connsiteY5167" fmla="*/ 5147060 h 9250612"/>
                <a:gd name="connsiteX5168" fmla="*/ 2703101 w 6942639"/>
                <a:gd name="connsiteY5168" fmla="*/ 5138099 h 9250612"/>
                <a:gd name="connsiteX5169" fmla="*/ 2712057 w 6942639"/>
                <a:gd name="connsiteY5169" fmla="*/ 5129139 h 9250612"/>
                <a:gd name="connsiteX5170" fmla="*/ 2543355 w 6942639"/>
                <a:gd name="connsiteY5170" fmla="*/ 5129139 h 9250612"/>
                <a:gd name="connsiteX5171" fmla="*/ 2552313 w 6942639"/>
                <a:gd name="connsiteY5171" fmla="*/ 5138099 h 9250612"/>
                <a:gd name="connsiteX5172" fmla="*/ 2543355 w 6942639"/>
                <a:gd name="connsiteY5172" fmla="*/ 5147060 h 9250612"/>
                <a:gd name="connsiteX5173" fmla="*/ 2534383 w 6942639"/>
                <a:gd name="connsiteY5173" fmla="*/ 5138099 h 9250612"/>
                <a:gd name="connsiteX5174" fmla="*/ 2543355 w 6942639"/>
                <a:gd name="connsiteY5174" fmla="*/ 5129139 h 9250612"/>
                <a:gd name="connsiteX5175" fmla="*/ 2374574 w 6942639"/>
                <a:gd name="connsiteY5175" fmla="*/ 5129139 h 9250612"/>
                <a:gd name="connsiteX5176" fmla="*/ 2383566 w 6942639"/>
                <a:gd name="connsiteY5176" fmla="*/ 5138099 h 9250612"/>
                <a:gd name="connsiteX5177" fmla="*/ 2374574 w 6942639"/>
                <a:gd name="connsiteY5177" fmla="*/ 5147060 h 9250612"/>
                <a:gd name="connsiteX5178" fmla="*/ 2365611 w 6942639"/>
                <a:gd name="connsiteY5178" fmla="*/ 5138099 h 9250612"/>
                <a:gd name="connsiteX5179" fmla="*/ 2374574 w 6942639"/>
                <a:gd name="connsiteY5179" fmla="*/ 5129139 h 9250612"/>
                <a:gd name="connsiteX5180" fmla="*/ 2205862 w 6942639"/>
                <a:gd name="connsiteY5180" fmla="*/ 5129139 h 9250612"/>
                <a:gd name="connsiteX5181" fmla="*/ 2214818 w 6942639"/>
                <a:gd name="connsiteY5181" fmla="*/ 5138099 h 9250612"/>
                <a:gd name="connsiteX5182" fmla="*/ 2205862 w 6942639"/>
                <a:gd name="connsiteY5182" fmla="*/ 5147060 h 9250612"/>
                <a:gd name="connsiteX5183" fmla="*/ 2196880 w 6942639"/>
                <a:gd name="connsiteY5183" fmla="*/ 5138099 h 9250612"/>
                <a:gd name="connsiteX5184" fmla="*/ 2205862 w 6942639"/>
                <a:gd name="connsiteY5184" fmla="*/ 5129139 h 9250612"/>
                <a:gd name="connsiteX5185" fmla="*/ 2037117 w 6942639"/>
                <a:gd name="connsiteY5185" fmla="*/ 5129139 h 9250612"/>
                <a:gd name="connsiteX5186" fmla="*/ 2046067 w 6942639"/>
                <a:gd name="connsiteY5186" fmla="*/ 5138099 h 9250612"/>
                <a:gd name="connsiteX5187" fmla="*/ 2037117 w 6942639"/>
                <a:gd name="connsiteY5187" fmla="*/ 5147060 h 9250612"/>
                <a:gd name="connsiteX5188" fmla="*/ 2028170 w 6942639"/>
                <a:gd name="connsiteY5188" fmla="*/ 5138099 h 9250612"/>
                <a:gd name="connsiteX5189" fmla="*/ 2037117 w 6942639"/>
                <a:gd name="connsiteY5189" fmla="*/ 5129139 h 9250612"/>
                <a:gd name="connsiteX5190" fmla="*/ 1868397 w 6942639"/>
                <a:gd name="connsiteY5190" fmla="*/ 5129139 h 9250612"/>
                <a:gd name="connsiteX5191" fmla="*/ 1877351 w 6942639"/>
                <a:gd name="connsiteY5191" fmla="*/ 5138099 h 9250612"/>
                <a:gd name="connsiteX5192" fmla="*/ 1868397 w 6942639"/>
                <a:gd name="connsiteY5192" fmla="*/ 5147060 h 9250612"/>
                <a:gd name="connsiteX5193" fmla="*/ 1859426 w 6942639"/>
                <a:gd name="connsiteY5193" fmla="*/ 5138099 h 9250612"/>
                <a:gd name="connsiteX5194" fmla="*/ 1868397 w 6942639"/>
                <a:gd name="connsiteY5194" fmla="*/ 5129139 h 9250612"/>
                <a:gd name="connsiteX5195" fmla="*/ 1699646 w 6942639"/>
                <a:gd name="connsiteY5195" fmla="*/ 5129139 h 9250612"/>
                <a:gd name="connsiteX5196" fmla="*/ 1708615 w 6942639"/>
                <a:gd name="connsiteY5196" fmla="*/ 5138099 h 9250612"/>
                <a:gd name="connsiteX5197" fmla="*/ 1699646 w 6942639"/>
                <a:gd name="connsiteY5197" fmla="*/ 5147060 h 9250612"/>
                <a:gd name="connsiteX5198" fmla="*/ 1690685 w 6942639"/>
                <a:gd name="connsiteY5198" fmla="*/ 5138099 h 9250612"/>
                <a:gd name="connsiteX5199" fmla="*/ 1699646 w 6942639"/>
                <a:gd name="connsiteY5199" fmla="*/ 5129139 h 9250612"/>
                <a:gd name="connsiteX5200" fmla="*/ 1530907 w 6942639"/>
                <a:gd name="connsiteY5200" fmla="*/ 5129139 h 9250612"/>
                <a:gd name="connsiteX5201" fmla="*/ 1539869 w 6942639"/>
                <a:gd name="connsiteY5201" fmla="*/ 5138099 h 9250612"/>
                <a:gd name="connsiteX5202" fmla="*/ 1530907 w 6942639"/>
                <a:gd name="connsiteY5202" fmla="*/ 5147060 h 9250612"/>
                <a:gd name="connsiteX5203" fmla="*/ 1521946 w 6942639"/>
                <a:gd name="connsiteY5203" fmla="*/ 5138099 h 9250612"/>
                <a:gd name="connsiteX5204" fmla="*/ 1530907 w 6942639"/>
                <a:gd name="connsiteY5204" fmla="*/ 5129139 h 9250612"/>
                <a:gd name="connsiteX5205" fmla="*/ 1362159 w 6942639"/>
                <a:gd name="connsiteY5205" fmla="*/ 5129139 h 9250612"/>
                <a:gd name="connsiteX5206" fmla="*/ 1371120 w 6942639"/>
                <a:gd name="connsiteY5206" fmla="*/ 5138099 h 9250612"/>
                <a:gd name="connsiteX5207" fmla="*/ 1362159 w 6942639"/>
                <a:gd name="connsiteY5207" fmla="*/ 5147060 h 9250612"/>
                <a:gd name="connsiteX5208" fmla="*/ 1353198 w 6942639"/>
                <a:gd name="connsiteY5208" fmla="*/ 5138099 h 9250612"/>
                <a:gd name="connsiteX5209" fmla="*/ 1362159 w 6942639"/>
                <a:gd name="connsiteY5209" fmla="*/ 5129139 h 9250612"/>
                <a:gd name="connsiteX5210" fmla="*/ 1193417 w 6942639"/>
                <a:gd name="connsiteY5210" fmla="*/ 5129139 h 9250612"/>
                <a:gd name="connsiteX5211" fmla="*/ 1202378 w 6942639"/>
                <a:gd name="connsiteY5211" fmla="*/ 5138099 h 9250612"/>
                <a:gd name="connsiteX5212" fmla="*/ 1193417 w 6942639"/>
                <a:gd name="connsiteY5212" fmla="*/ 5147060 h 9250612"/>
                <a:gd name="connsiteX5213" fmla="*/ 1184459 w 6942639"/>
                <a:gd name="connsiteY5213" fmla="*/ 5138099 h 9250612"/>
                <a:gd name="connsiteX5214" fmla="*/ 1193417 w 6942639"/>
                <a:gd name="connsiteY5214" fmla="*/ 5129139 h 9250612"/>
                <a:gd name="connsiteX5215" fmla="*/ 1024667 w 6942639"/>
                <a:gd name="connsiteY5215" fmla="*/ 5129139 h 9250612"/>
                <a:gd name="connsiteX5216" fmla="*/ 1033633 w 6942639"/>
                <a:gd name="connsiteY5216" fmla="*/ 5138099 h 9250612"/>
                <a:gd name="connsiteX5217" fmla="*/ 1024667 w 6942639"/>
                <a:gd name="connsiteY5217" fmla="*/ 5147060 h 9250612"/>
                <a:gd name="connsiteX5218" fmla="*/ 1015707 w 6942639"/>
                <a:gd name="connsiteY5218" fmla="*/ 5138099 h 9250612"/>
                <a:gd name="connsiteX5219" fmla="*/ 1024667 w 6942639"/>
                <a:gd name="connsiteY5219" fmla="*/ 5129139 h 9250612"/>
                <a:gd name="connsiteX5220" fmla="*/ 855936 w 6942639"/>
                <a:gd name="connsiteY5220" fmla="*/ 5129139 h 9250612"/>
                <a:gd name="connsiteX5221" fmla="*/ 864896 w 6942639"/>
                <a:gd name="connsiteY5221" fmla="*/ 5138099 h 9250612"/>
                <a:gd name="connsiteX5222" fmla="*/ 855936 w 6942639"/>
                <a:gd name="connsiteY5222" fmla="*/ 5147060 h 9250612"/>
                <a:gd name="connsiteX5223" fmla="*/ 846975 w 6942639"/>
                <a:gd name="connsiteY5223" fmla="*/ 5138099 h 9250612"/>
                <a:gd name="connsiteX5224" fmla="*/ 855936 w 6942639"/>
                <a:gd name="connsiteY5224" fmla="*/ 5129139 h 9250612"/>
                <a:gd name="connsiteX5225" fmla="*/ 687196 w 6942639"/>
                <a:gd name="connsiteY5225" fmla="*/ 5129139 h 9250612"/>
                <a:gd name="connsiteX5226" fmla="*/ 696157 w 6942639"/>
                <a:gd name="connsiteY5226" fmla="*/ 5138099 h 9250612"/>
                <a:gd name="connsiteX5227" fmla="*/ 687196 w 6942639"/>
                <a:gd name="connsiteY5227" fmla="*/ 5147060 h 9250612"/>
                <a:gd name="connsiteX5228" fmla="*/ 678237 w 6942639"/>
                <a:gd name="connsiteY5228" fmla="*/ 5138099 h 9250612"/>
                <a:gd name="connsiteX5229" fmla="*/ 687196 w 6942639"/>
                <a:gd name="connsiteY5229" fmla="*/ 5129139 h 9250612"/>
                <a:gd name="connsiteX5230" fmla="*/ 518435 w 6942639"/>
                <a:gd name="connsiteY5230" fmla="*/ 5129139 h 9250612"/>
                <a:gd name="connsiteX5231" fmla="*/ 527395 w 6942639"/>
                <a:gd name="connsiteY5231" fmla="*/ 5138099 h 9250612"/>
                <a:gd name="connsiteX5232" fmla="*/ 518435 w 6942639"/>
                <a:gd name="connsiteY5232" fmla="*/ 5147060 h 9250612"/>
                <a:gd name="connsiteX5233" fmla="*/ 509474 w 6942639"/>
                <a:gd name="connsiteY5233" fmla="*/ 5138099 h 9250612"/>
                <a:gd name="connsiteX5234" fmla="*/ 518435 w 6942639"/>
                <a:gd name="connsiteY5234" fmla="*/ 5129139 h 9250612"/>
                <a:gd name="connsiteX5235" fmla="*/ 349696 w 6942639"/>
                <a:gd name="connsiteY5235" fmla="*/ 5129139 h 9250612"/>
                <a:gd name="connsiteX5236" fmla="*/ 358657 w 6942639"/>
                <a:gd name="connsiteY5236" fmla="*/ 5138099 h 9250612"/>
                <a:gd name="connsiteX5237" fmla="*/ 349696 w 6942639"/>
                <a:gd name="connsiteY5237" fmla="*/ 5147060 h 9250612"/>
                <a:gd name="connsiteX5238" fmla="*/ 340736 w 6942639"/>
                <a:gd name="connsiteY5238" fmla="*/ 5138099 h 9250612"/>
                <a:gd name="connsiteX5239" fmla="*/ 349696 w 6942639"/>
                <a:gd name="connsiteY5239" fmla="*/ 5129139 h 9250612"/>
                <a:gd name="connsiteX5240" fmla="*/ 179377 w 6942639"/>
                <a:gd name="connsiteY5240" fmla="*/ 5129139 h 9250612"/>
                <a:gd name="connsiteX5241" fmla="*/ 188338 w 6942639"/>
                <a:gd name="connsiteY5241" fmla="*/ 5138099 h 9250612"/>
                <a:gd name="connsiteX5242" fmla="*/ 179377 w 6942639"/>
                <a:gd name="connsiteY5242" fmla="*/ 5147060 h 9250612"/>
                <a:gd name="connsiteX5243" fmla="*/ 170417 w 6942639"/>
                <a:gd name="connsiteY5243" fmla="*/ 5138099 h 9250612"/>
                <a:gd name="connsiteX5244" fmla="*/ 179377 w 6942639"/>
                <a:gd name="connsiteY5244" fmla="*/ 5129139 h 9250612"/>
                <a:gd name="connsiteX5245" fmla="*/ 9060 w 6942639"/>
                <a:gd name="connsiteY5245" fmla="*/ 5129139 h 9250612"/>
                <a:gd name="connsiteX5246" fmla="*/ 18019 w 6942639"/>
                <a:gd name="connsiteY5246" fmla="*/ 5138099 h 9250612"/>
                <a:gd name="connsiteX5247" fmla="*/ 9060 w 6942639"/>
                <a:gd name="connsiteY5247" fmla="*/ 5147060 h 9250612"/>
                <a:gd name="connsiteX5248" fmla="*/ 99 w 6942639"/>
                <a:gd name="connsiteY5248" fmla="*/ 5138099 h 9250612"/>
                <a:gd name="connsiteX5249" fmla="*/ 9060 w 6942639"/>
                <a:gd name="connsiteY5249" fmla="*/ 5129139 h 9250612"/>
                <a:gd name="connsiteX5250" fmla="*/ 6933679 w 6942639"/>
                <a:gd name="connsiteY5250" fmla="*/ 4958158 h 9250612"/>
                <a:gd name="connsiteX5251" fmla="*/ 6942639 w 6942639"/>
                <a:gd name="connsiteY5251" fmla="*/ 4967118 h 9250612"/>
                <a:gd name="connsiteX5252" fmla="*/ 6933679 w 6942639"/>
                <a:gd name="connsiteY5252" fmla="*/ 4976079 h 9250612"/>
                <a:gd name="connsiteX5253" fmla="*/ 6924718 w 6942639"/>
                <a:gd name="connsiteY5253" fmla="*/ 4967118 h 9250612"/>
                <a:gd name="connsiteX5254" fmla="*/ 6933679 w 6942639"/>
                <a:gd name="connsiteY5254" fmla="*/ 4958158 h 9250612"/>
                <a:gd name="connsiteX5255" fmla="*/ 6763357 w 6942639"/>
                <a:gd name="connsiteY5255" fmla="*/ 4958158 h 9250612"/>
                <a:gd name="connsiteX5256" fmla="*/ 6772318 w 6942639"/>
                <a:gd name="connsiteY5256" fmla="*/ 4967118 h 9250612"/>
                <a:gd name="connsiteX5257" fmla="*/ 6763357 w 6942639"/>
                <a:gd name="connsiteY5257" fmla="*/ 4976079 h 9250612"/>
                <a:gd name="connsiteX5258" fmla="*/ 6754397 w 6942639"/>
                <a:gd name="connsiteY5258" fmla="*/ 4967118 h 9250612"/>
                <a:gd name="connsiteX5259" fmla="*/ 6763357 w 6942639"/>
                <a:gd name="connsiteY5259" fmla="*/ 4958158 h 9250612"/>
                <a:gd name="connsiteX5260" fmla="*/ 6593035 w 6942639"/>
                <a:gd name="connsiteY5260" fmla="*/ 4958158 h 9250612"/>
                <a:gd name="connsiteX5261" fmla="*/ 6601996 w 6942639"/>
                <a:gd name="connsiteY5261" fmla="*/ 4967118 h 9250612"/>
                <a:gd name="connsiteX5262" fmla="*/ 6593035 w 6942639"/>
                <a:gd name="connsiteY5262" fmla="*/ 4976079 h 9250612"/>
                <a:gd name="connsiteX5263" fmla="*/ 6584075 w 6942639"/>
                <a:gd name="connsiteY5263" fmla="*/ 4967118 h 9250612"/>
                <a:gd name="connsiteX5264" fmla="*/ 6593035 w 6942639"/>
                <a:gd name="connsiteY5264" fmla="*/ 4958158 h 9250612"/>
                <a:gd name="connsiteX5265" fmla="*/ 6424294 w 6942639"/>
                <a:gd name="connsiteY5265" fmla="*/ 4958158 h 9250612"/>
                <a:gd name="connsiteX5266" fmla="*/ 6433255 w 6942639"/>
                <a:gd name="connsiteY5266" fmla="*/ 4967118 h 9250612"/>
                <a:gd name="connsiteX5267" fmla="*/ 6424294 w 6942639"/>
                <a:gd name="connsiteY5267" fmla="*/ 4976079 h 9250612"/>
                <a:gd name="connsiteX5268" fmla="*/ 6415334 w 6942639"/>
                <a:gd name="connsiteY5268" fmla="*/ 4967118 h 9250612"/>
                <a:gd name="connsiteX5269" fmla="*/ 6424294 w 6942639"/>
                <a:gd name="connsiteY5269" fmla="*/ 4958158 h 9250612"/>
                <a:gd name="connsiteX5270" fmla="*/ 6255553 w 6942639"/>
                <a:gd name="connsiteY5270" fmla="*/ 4958158 h 9250612"/>
                <a:gd name="connsiteX5271" fmla="*/ 6264514 w 6942639"/>
                <a:gd name="connsiteY5271" fmla="*/ 4967118 h 9250612"/>
                <a:gd name="connsiteX5272" fmla="*/ 6255553 w 6942639"/>
                <a:gd name="connsiteY5272" fmla="*/ 4976079 h 9250612"/>
                <a:gd name="connsiteX5273" fmla="*/ 6246593 w 6942639"/>
                <a:gd name="connsiteY5273" fmla="*/ 4967118 h 9250612"/>
                <a:gd name="connsiteX5274" fmla="*/ 6255553 w 6942639"/>
                <a:gd name="connsiteY5274" fmla="*/ 4958158 h 9250612"/>
                <a:gd name="connsiteX5275" fmla="*/ 6086811 w 6942639"/>
                <a:gd name="connsiteY5275" fmla="*/ 4958158 h 9250612"/>
                <a:gd name="connsiteX5276" fmla="*/ 6095772 w 6942639"/>
                <a:gd name="connsiteY5276" fmla="*/ 4967118 h 9250612"/>
                <a:gd name="connsiteX5277" fmla="*/ 6086811 w 6942639"/>
                <a:gd name="connsiteY5277" fmla="*/ 4976079 h 9250612"/>
                <a:gd name="connsiteX5278" fmla="*/ 6077851 w 6942639"/>
                <a:gd name="connsiteY5278" fmla="*/ 4967118 h 9250612"/>
                <a:gd name="connsiteX5279" fmla="*/ 6086811 w 6942639"/>
                <a:gd name="connsiteY5279" fmla="*/ 4958158 h 9250612"/>
                <a:gd name="connsiteX5280" fmla="*/ 5918069 w 6942639"/>
                <a:gd name="connsiteY5280" fmla="*/ 4958158 h 9250612"/>
                <a:gd name="connsiteX5281" fmla="*/ 5927030 w 6942639"/>
                <a:gd name="connsiteY5281" fmla="*/ 4967118 h 9250612"/>
                <a:gd name="connsiteX5282" fmla="*/ 5918069 w 6942639"/>
                <a:gd name="connsiteY5282" fmla="*/ 4976079 h 9250612"/>
                <a:gd name="connsiteX5283" fmla="*/ 5909109 w 6942639"/>
                <a:gd name="connsiteY5283" fmla="*/ 4967118 h 9250612"/>
                <a:gd name="connsiteX5284" fmla="*/ 5918069 w 6942639"/>
                <a:gd name="connsiteY5284" fmla="*/ 4958158 h 9250612"/>
                <a:gd name="connsiteX5285" fmla="*/ 5749328 w 6942639"/>
                <a:gd name="connsiteY5285" fmla="*/ 4958158 h 9250612"/>
                <a:gd name="connsiteX5286" fmla="*/ 5758289 w 6942639"/>
                <a:gd name="connsiteY5286" fmla="*/ 4967118 h 9250612"/>
                <a:gd name="connsiteX5287" fmla="*/ 5749328 w 6942639"/>
                <a:gd name="connsiteY5287" fmla="*/ 4976079 h 9250612"/>
                <a:gd name="connsiteX5288" fmla="*/ 5740368 w 6942639"/>
                <a:gd name="connsiteY5288" fmla="*/ 4967118 h 9250612"/>
                <a:gd name="connsiteX5289" fmla="*/ 5749328 w 6942639"/>
                <a:gd name="connsiteY5289" fmla="*/ 4958158 h 9250612"/>
                <a:gd name="connsiteX5290" fmla="*/ 5580586 w 6942639"/>
                <a:gd name="connsiteY5290" fmla="*/ 4958158 h 9250612"/>
                <a:gd name="connsiteX5291" fmla="*/ 5589547 w 6942639"/>
                <a:gd name="connsiteY5291" fmla="*/ 4967118 h 9250612"/>
                <a:gd name="connsiteX5292" fmla="*/ 5580586 w 6942639"/>
                <a:gd name="connsiteY5292" fmla="*/ 4976079 h 9250612"/>
                <a:gd name="connsiteX5293" fmla="*/ 5571626 w 6942639"/>
                <a:gd name="connsiteY5293" fmla="*/ 4967118 h 9250612"/>
                <a:gd name="connsiteX5294" fmla="*/ 5580586 w 6942639"/>
                <a:gd name="connsiteY5294" fmla="*/ 4958158 h 9250612"/>
                <a:gd name="connsiteX5295" fmla="*/ 5411845 w 6942639"/>
                <a:gd name="connsiteY5295" fmla="*/ 4958158 h 9250612"/>
                <a:gd name="connsiteX5296" fmla="*/ 5420806 w 6942639"/>
                <a:gd name="connsiteY5296" fmla="*/ 4967118 h 9250612"/>
                <a:gd name="connsiteX5297" fmla="*/ 5411845 w 6942639"/>
                <a:gd name="connsiteY5297" fmla="*/ 4976079 h 9250612"/>
                <a:gd name="connsiteX5298" fmla="*/ 5402885 w 6942639"/>
                <a:gd name="connsiteY5298" fmla="*/ 4967118 h 9250612"/>
                <a:gd name="connsiteX5299" fmla="*/ 5411845 w 6942639"/>
                <a:gd name="connsiteY5299" fmla="*/ 4958158 h 9250612"/>
                <a:gd name="connsiteX5300" fmla="*/ 5243103 w 6942639"/>
                <a:gd name="connsiteY5300" fmla="*/ 4958158 h 9250612"/>
                <a:gd name="connsiteX5301" fmla="*/ 5252064 w 6942639"/>
                <a:gd name="connsiteY5301" fmla="*/ 4967118 h 9250612"/>
                <a:gd name="connsiteX5302" fmla="*/ 5243103 w 6942639"/>
                <a:gd name="connsiteY5302" fmla="*/ 4976079 h 9250612"/>
                <a:gd name="connsiteX5303" fmla="*/ 5234143 w 6942639"/>
                <a:gd name="connsiteY5303" fmla="*/ 4967118 h 9250612"/>
                <a:gd name="connsiteX5304" fmla="*/ 5243103 w 6942639"/>
                <a:gd name="connsiteY5304" fmla="*/ 4958158 h 9250612"/>
                <a:gd name="connsiteX5305" fmla="*/ 5074362 w 6942639"/>
                <a:gd name="connsiteY5305" fmla="*/ 4958158 h 9250612"/>
                <a:gd name="connsiteX5306" fmla="*/ 5083323 w 6942639"/>
                <a:gd name="connsiteY5306" fmla="*/ 4967118 h 9250612"/>
                <a:gd name="connsiteX5307" fmla="*/ 5074362 w 6942639"/>
                <a:gd name="connsiteY5307" fmla="*/ 4976079 h 9250612"/>
                <a:gd name="connsiteX5308" fmla="*/ 5065402 w 6942639"/>
                <a:gd name="connsiteY5308" fmla="*/ 4967118 h 9250612"/>
                <a:gd name="connsiteX5309" fmla="*/ 5074362 w 6942639"/>
                <a:gd name="connsiteY5309" fmla="*/ 4958158 h 9250612"/>
                <a:gd name="connsiteX5310" fmla="*/ 4905620 w 6942639"/>
                <a:gd name="connsiteY5310" fmla="*/ 4958158 h 9250612"/>
                <a:gd name="connsiteX5311" fmla="*/ 4914581 w 6942639"/>
                <a:gd name="connsiteY5311" fmla="*/ 4967118 h 9250612"/>
                <a:gd name="connsiteX5312" fmla="*/ 4905620 w 6942639"/>
                <a:gd name="connsiteY5312" fmla="*/ 4976079 h 9250612"/>
                <a:gd name="connsiteX5313" fmla="*/ 4896660 w 6942639"/>
                <a:gd name="connsiteY5313" fmla="*/ 4967118 h 9250612"/>
                <a:gd name="connsiteX5314" fmla="*/ 4905620 w 6942639"/>
                <a:gd name="connsiteY5314" fmla="*/ 4958158 h 9250612"/>
                <a:gd name="connsiteX5315" fmla="*/ 4736878 w 6942639"/>
                <a:gd name="connsiteY5315" fmla="*/ 4958158 h 9250612"/>
                <a:gd name="connsiteX5316" fmla="*/ 4745839 w 6942639"/>
                <a:gd name="connsiteY5316" fmla="*/ 4967118 h 9250612"/>
                <a:gd name="connsiteX5317" fmla="*/ 4736878 w 6942639"/>
                <a:gd name="connsiteY5317" fmla="*/ 4976079 h 9250612"/>
                <a:gd name="connsiteX5318" fmla="*/ 4727918 w 6942639"/>
                <a:gd name="connsiteY5318" fmla="*/ 4967118 h 9250612"/>
                <a:gd name="connsiteX5319" fmla="*/ 4736878 w 6942639"/>
                <a:gd name="connsiteY5319" fmla="*/ 4958158 h 9250612"/>
                <a:gd name="connsiteX5320" fmla="*/ 4568137 w 6942639"/>
                <a:gd name="connsiteY5320" fmla="*/ 4958158 h 9250612"/>
                <a:gd name="connsiteX5321" fmla="*/ 4577098 w 6942639"/>
                <a:gd name="connsiteY5321" fmla="*/ 4967118 h 9250612"/>
                <a:gd name="connsiteX5322" fmla="*/ 4568137 w 6942639"/>
                <a:gd name="connsiteY5322" fmla="*/ 4976079 h 9250612"/>
                <a:gd name="connsiteX5323" fmla="*/ 4559177 w 6942639"/>
                <a:gd name="connsiteY5323" fmla="*/ 4967118 h 9250612"/>
                <a:gd name="connsiteX5324" fmla="*/ 4568137 w 6942639"/>
                <a:gd name="connsiteY5324" fmla="*/ 4958158 h 9250612"/>
                <a:gd name="connsiteX5325" fmla="*/ 4399396 w 6942639"/>
                <a:gd name="connsiteY5325" fmla="*/ 4958158 h 9250612"/>
                <a:gd name="connsiteX5326" fmla="*/ 4408357 w 6942639"/>
                <a:gd name="connsiteY5326" fmla="*/ 4967118 h 9250612"/>
                <a:gd name="connsiteX5327" fmla="*/ 4399396 w 6942639"/>
                <a:gd name="connsiteY5327" fmla="*/ 4976079 h 9250612"/>
                <a:gd name="connsiteX5328" fmla="*/ 4390436 w 6942639"/>
                <a:gd name="connsiteY5328" fmla="*/ 4967118 h 9250612"/>
                <a:gd name="connsiteX5329" fmla="*/ 4399396 w 6942639"/>
                <a:gd name="connsiteY5329" fmla="*/ 4958158 h 9250612"/>
                <a:gd name="connsiteX5330" fmla="*/ 4230654 w 6942639"/>
                <a:gd name="connsiteY5330" fmla="*/ 4958158 h 9250612"/>
                <a:gd name="connsiteX5331" fmla="*/ 4239615 w 6942639"/>
                <a:gd name="connsiteY5331" fmla="*/ 4967118 h 9250612"/>
                <a:gd name="connsiteX5332" fmla="*/ 4230654 w 6942639"/>
                <a:gd name="connsiteY5332" fmla="*/ 4976079 h 9250612"/>
                <a:gd name="connsiteX5333" fmla="*/ 4221694 w 6942639"/>
                <a:gd name="connsiteY5333" fmla="*/ 4967118 h 9250612"/>
                <a:gd name="connsiteX5334" fmla="*/ 4230654 w 6942639"/>
                <a:gd name="connsiteY5334" fmla="*/ 4958158 h 9250612"/>
                <a:gd name="connsiteX5335" fmla="*/ 4061912 w 6942639"/>
                <a:gd name="connsiteY5335" fmla="*/ 4958158 h 9250612"/>
                <a:gd name="connsiteX5336" fmla="*/ 4070873 w 6942639"/>
                <a:gd name="connsiteY5336" fmla="*/ 4967118 h 9250612"/>
                <a:gd name="connsiteX5337" fmla="*/ 4061912 w 6942639"/>
                <a:gd name="connsiteY5337" fmla="*/ 4976079 h 9250612"/>
                <a:gd name="connsiteX5338" fmla="*/ 4052952 w 6942639"/>
                <a:gd name="connsiteY5338" fmla="*/ 4967118 h 9250612"/>
                <a:gd name="connsiteX5339" fmla="*/ 4061912 w 6942639"/>
                <a:gd name="connsiteY5339" fmla="*/ 4958158 h 9250612"/>
                <a:gd name="connsiteX5340" fmla="*/ 3893170 w 6942639"/>
                <a:gd name="connsiteY5340" fmla="*/ 4958158 h 9250612"/>
                <a:gd name="connsiteX5341" fmla="*/ 3902131 w 6942639"/>
                <a:gd name="connsiteY5341" fmla="*/ 4967118 h 9250612"/>
                <a:gd name="connsiteX5342" fmla="*/ 3893170 w 6942639"/>
                <a:gd name="connsiteY5342" fmla="*/ 4976079 h 9250612"/>
                <a:gd name="connsiteX5343" fmla="*/ 3884210 w 6942639"/>
                <a:gd name="connsiteY5343" fmla="*/ 4967118 h 9250612"/>
                <a:gd name="connsiteX5344" fmla="*/ 3893170 w 6942639"/>
                <a:gd name="connsiteY5344" fmla="*/ 4958158 h 9250612"/>
                <a:gd name="connsiteX5345" fmla="*/ 3724429 w 6942639"/>
                <a:gd name="connsiteY5345" fmla="*/ 4958158 h 9250612"/>
                <a:gd name="connsiteX5346" fmla="*/ 3733390 w 6942639"/>
                <a:gd name="connsiteY5346" fmla="*/ 4967118 h 9250612"/>
                <a:gd name="connsiteX5347" fmla="*/ 3724429 w 6942639"/>
                <a:gd name="connsiteY5347" fmla="*/ 4976079 h 9250612"/>
                <a:gd name="connsiteX5348" fmla="*/ 3715469 w 6942639"/>
                <a:gd name="connsiteY5348" fmla="*/ 4967118 h 9250612"/>
                <a:gd name="connsiteX5349" fmla="*/ 3724429 w 6942639"/>
                <a:gd name="connsiteY5349" fmla="*/ 4958158 h 9250612"/>
                <a:gd name="connsiteX5350" fmla="*/ 3555688 w 6942639"/>
                <a:gd name="connsiteY5350" fmla="*/ 4958158 h 9250612"/>
                <a:gd name="connsiteX5351" fmla="*/ 3564649 w 6942639"/>
                <a:gd name="connsiteY5351" fmla="*/ 4967118 h 9250612"/>
                <a:gd name="connsiteX5352" fmla="*/ 3555688 w 6942639"/>
                <a:gd name="connsiteY5352" fmla="*/ 4976079 h 9250612"/>
                <a:gd name="connsiteX5353" fmla="*/ 3546728 w 6942639"/>
                <a:gd name="connsiteY5353" fmla="*/ 4967118 h 9250612"/>
                <a:gd name="connsiteX5354" fmla="*/ 3555688 w 6942639"/>
                <a:gd name="connsiteY5354" fmla="*/ 4958158 h 9250612"/>
                <a:gd name="connsiteX5355" fmla="*/ 3387023 w 6942639"/>
                <a:gd name="connsiteY5355" fmla="*/ 4958158 h 9250612"/>
                <a:gd name="connsiteX5356" fmla="*/ 3395983 w 6942639"/>
                <a:gd name="connsiteY5356" fmla="*/ 4967118 h 9250612"/>
                <a:gd name="connsiteX5357" fmla="*/ 3387023 w 6942639"/>
                <a:gd name="connsiteY5357" fmla="*/ 4976079 h 9250612"/>
                <a:gd name="connsiteX5358" fmla="*/ 3378024 w 6942639"/>
                <a:gd name="connsiteY5358" fmla="*/ 4967118 h 9250612"/>
                <a:gd name="connsiteX5359" fmla="*/ 3387023 w 6942639"/>
                <a:gd name="connsiteY5359" fmla="*/ 4958158 h 9250612"/>
                <a:gd name="connsiteX5360" fmla="*/ 3218265 w 6942639"/>
                <a:gd name="connsiteY5360" fmla="*/ 4958158 h 9250612"/>
                <a:gd name="connsiteX5361" fmla="*/ 3227235 w 6942639"/>
                <a:gd name="connsiteY5361" fmla="*/ 4967118 h 9250612"/>
                <a:gd name="connsiteX5362" fmla="*/ 3218265 w 6942639"/>
                <a:gd name="connsiteY5362" fmla="*/ 4976079 h 9250612"/>
                <a:gd name="connsiteX5363" fmla="*/ 3209307 w 6942639"/>
                <a:gd name="connsiteY5363" fmla="*/ 4967118 h 9250612"/>
                <a:gd name="connsiteX5364" fmla="*/ 3218265 w 6942639"/>
                <a:gd name="connsiteY5364" fmla="*/ 4958158 h 9250612"/>
                <a:gd name="connsiteX5365" fmla="*/ 3049555 w 6942639"/>
                <a:gd name="connsiteY5365" fmla="*/ 4958158 h 9250612"/>
                <a:gd name="connsiteX5366" fmla="*/ 3058502 w 6942639"/>
                <a:gd name="connsiteY5366" fmla="*/ 4967118 h 9250612"/>
                <a:gd name="connsiteX5367" fmla="*/ 3049555 w 6942639"/>
                <a:gd name="connsiteY5367" fmla="*/ 4976079 h 9250612"/>
                <a:gd name="connsiteX5368" fmla="*/ 3040585 w 6942639"/>
                <a:gd name="connsiteY5368" fmla="*/ 4967118 h 9250612"/>
                <a:gd name="connsiteX5369" fmla="*/ 3049555 w 6942639"/>
                <a:gd name="connsiteY5369" fmla="*/ 4958158 h 9250612"/>
                <a:gd name="connsiteX5370" fmla="*/ 2880821 w 6942639"/>
                <a:gd name="connsiteY5370" fmla="*/ 4958158 h 9250612"/>
                <a:gd name="connsiteX5371" fmla="*/ 2889778 w 6942639"/>
                <a:gd name="connsiteY5371" fmla="*/ 4967118 h 9250612"/>
                <a:gd name="connsiteX5372" fmla="*/ 2880821 w 6942639"/>
                <a:gd name="connsiteY5372" fmla="*/ 4976079 h 9250612"/>
                <a:gd name="connsiteX5373" fmla="*/ 2871859 w 6942639"/>
                <a:gd name="connsiteY5373" fmla="*/ 4967118 h 9250612"/>
                <a:gd name="connsiteX5374" fmla="*/ 2880821 w 6942639"/>
                <a:gd name="connsiteY5374" fmla="*/ 4958158 h 9250612"/>
                <a:gd name="connsiteX5375" fmla="*/ 2712060 w 6942639"/>
                <a:gd name="connsiteY5375" fmla="*/ 4958158 h 9250612"/>
                <a:gd name="connsiteX5376" fmla="*/ 2721044 w 6942639"/>
                <a:gd name="connsiteY5376" fmla="*/ 4967118 h 9250612"/>
                <a:gd name="connsiteX5377" fmla="*/ 2712060 w 6942639"/>
                <a:gd name="connsiteY5377" fmla="*/ 4976079 h 9250612"/>
                <a:gd name="connsiteX5378" fmla="*/ 2703105 w 6942639"/>
                <a:gd name="connsiteY5378" fmla="*/ 4967118 h 9250612"/>
                <a:gd name="connsiteX5379" fmla="*/ 2712060 w 6942639"/>
                <a:gd name="connsiteY5379" fmla="*/ 4958158 h 9250612"/>
                <a:gd name="connsiteX5380" fmla="*/ 2543360 w 6942639"/>
                <a:gd name="connsiteY5380" fmla="*/ 4958158 h 9250612"/>
                <a:gd name="connsiteX5381" fmla="*/ 2552319 w 6942639"/>
                <a:gd name="connsiteY5381" fmla="*/ 4967118 h 9250612"/>
                <a:gd name="connsiteX5382" fmla="*/ 2543360 w 6942639"/>
                <a:gd name="connsiteY5382" fmla="*/ 4976079 h 9250612"/>
                <a:gd name="connsiteX5383" fmla="*/ 2534388 w 6942639"/>
                <a:gd name="connsiteY5383" fmla="*/ 4967118 h 9250612"/>
                <a:gd name="connsiteX5384" fmla="*/ 2543360 w 6942639"/>
                <a:gd name="connsiteY5384" fmla="*/ 4958158 h 9250612"/>
                <a:gd name="connsiteX5385" fmla="*/ 2374577 w 6942639"/>
                <a:gd name="connsiteY5385" fmla="*/ 4958158 h 9250612"/>
                <a:gd name="connsiteX5386" fmla="*/ 2383570 w 6942639"/>
                <a:gd name="connsiteY5386" fmla="*/ 4967118 h 9250612"/>
                <a:gd name="connsiteX5387" fmla="*/ 2374577 w 6942639"/>
                <a:gd name="connsiteY5387" fmla="*/ 4976079 h 9250612"/>
                <a:gd name="connsiteX5388" fmla="*/ 2365614 w 6942639"/>
                <a:gd name="connsiteY5388" fmla="*/ 4967118 h 9250612"/>
                <a:gd name="connsiteX5389" fmla="*/ 2374577 w 6942639"/>
                <a:gd name="connsiteY5389" fmla="*/ 4958158 h 9250612"/>
                <a:gd name="connsiteX5390" fmla="*/ 2205866 w 6942639"/>
                <a:gd name="connsiteY5390" fmla="*/ 4958158 h 9250612"/>
                <a:gd name="connsiteX5391" fmla="*/ 2214822 w 6942639"/>
                <a:gd name="connsiteY5391" fmla="*/ 4967118 h 9250612"/>
                <a:gd name="connsiteX5392" fmla="*/ 2205866 w 6942639"/>
                <a:gd name="connsiteY5392" fmla="*/ 4976079 h 9250612"/>
                <a:gd name="connsiteX5393" fmla="*/ 2196883 w 6942639"/>
                <a:gd name="connsiteY5393" fmla="*/ 4967118 h 9250612"/>
                <a:gd name="connsiteX5394" fmla="*/ 2205866 w 6942639"/>
                <a:gd name="connsiteY5394" fmla="*/ 4958158 h 9250612"/>
                <a:gd name="connsiteX5395" fmla="*/ 2037121 w 6942639"/>
                <a:gd name="connsiteY5395" fmla="*/ 4958158 h 9250612"/>
                <a:gd name="connsiteX5396" fmla="*/ 2046070 w 6942639"/>
                <a:gd name="connsiteY5396" fmla="*/ 4967118 h 9250612"/>
                <a:gd name="connsiteX5397" fmla="*/ 2037121 w 6942639"/>
                <a:gd name="connsiteY5397" fmla="*/ 4976079 h 9250612"/>
                <a:gd name="connsiteX5398" fmla="*/ 2028175 w 6942639"/>
                <a:gd name="connsiteY5398" fmla="*/ 4967118 h 9250612"/>
                <a:gd name="connsiteX5399" fmla="*/ 2037121 w 6942639"/>
                <a:gd name="connsiteY5399" fmla="*/ 4958158 h 9250612"/>
                <a:gd name="connsiteX5400" fmla="*/ 1868403 w 6942639"/>
                <a:gd name="connsiteY5400" fmla="*/ 4958158 h 9250612"/>
                <a:gd name="connsiteX5401" fmla="*/ 1877357 w 6942639"/>
                <a:gd name="connsiteY5401" fmla="*/ 4967118 h 9250612"/>
                <a:gd name="connsiteX5402" fmla="*/ 1868403 w 6942639"/>
                <a:gd name="connsiteY5402" fmla="*/ 4976079 h 9250612"/>
                <a:gd name="connsiteX5403" fmla="*/ 1859430 w 6942639"/>
                <a:gd name="connsiteY5403" fmla="*/ 4967118 h 9250612"/>
                <a:gd name="connsiteX5404" fmla="*/ 1868403 w 6942639"/>
                <a:gd name="connsiteY5404" fmla="*/ 4958158 h 9250612"/>
                <a:gd name="connsiteX5405" fmla="*/ 1699652 w 6942639"/>
                <a:gd name="connsiteY5405" fmla="*/ 4958158 h 9250612"/>
                <a:gd name="connsiteX5406" fmla="*/ 1708620 w 6942639"/>
                <a:gd name="connsiteY5406" fmla="*/ 4967118 h 9250612"/>
                <a:gd name="connsiteX5407" fmla="*/ 1699652 w 6942639"/>
                <a:gd name="connsiteY5407" fmla="*/ 4976079 h 9250612"/>
                <a:gd name="connsiteX5408" fmla="*/ 1690689 w 6942639"/>
                <a:gd name="connsiteY5408" fmla="*/ 4967118 h 9250612"/>
                <a:gd name="connsiteX5409" fmla="*/ 1699652 w 6942639"/>
                <a:gd name="connsiteY5409" fmla="*/ 4958158 h 9250612"/>
                <a:gd name="connsiteX5410" fmla="*/ 1530912 w 6942639"/>
                <a:gd name="connsiteY5410" fmla="*/ 4958158 h 9250612"/>
                <a:gd name="connsiteX5411" fmla="*/ 1539874 w 6942639"/>
                <a:gd name="connsiteY5411" fmla="*/ 4967118 h 9250612"/>
                <a:gd name="connsiteX5412" fmla="*/ 1530912 w 6942639"/>
                <a:gd name="connsiteY5412" fmla="*/ 4976079 h 9250612"/>
                <a:gd name="connsiteX5413" fmla="*/ 1521951 w 6942639"/>
                <a:gd name="connsiteY5413" fmla="*/ 4967118 h 9250612"/>
                <a:gd name="connsiteX5414" fmla="*/ 1530912 w 6942639"/>
                <a:gd name="connsiteY5414" fmla="*/ 4958158 h 9250612"/>
                <a:gd name="connsiteX5415" fmla="*/ 1362163 w 6942639"/>
                <a:gd name="connsiteY5415" fmla="*/ 4958158 h 9250612"/>
                <a:gd name="connsiteX5416" fmla="*/ 1371124 w 6942639"/>
                <a:gd name="connsiteY5416" fmla="*/ 4967118 h 9250612"/>
                <a:gd name="connsiteX5417" fmla="*/ 1362163 w 6942639"/>
                <a:gd name="connsiteY5417" fmla="*/ 4976079 h 9250612"/>
                <a:gd name="connsiteX5418" fmla="*/ 1353203 w 6942639"/>
                <a:gd name="connsiteY5418" fmla="*/ 4967118 h 9250612"/>
                <a:gd name="connsiteX5419" fmla="*/ 1362163 w 6942639"/>
                <a:gd name="connsiteY5419" fmla="*/ 4958158 h 9250612"/>
                <a:gd name="connsiteX5420" fmla="*/ 1193422 w 6942639"/>
                <a:gd name="connsiteY5420" fmla="*/ 4958158 h 9250612"/>
                <a:gd name="connsiteX5421" fmla="*/ 1202382 w 6942639"/>
                <a:gd name="connsiteY5421" fmla="*/ 4967118 h 9250612"/>
                <a:gd name="connsiteX5422" fmla="*/ 1193422 w 6942639"/>
                <a:gd name="connsiteY5422" fmla="*/ 4976079 h 9250612"/>
                <a:gd name="connsiteX5423" fmla="*/ 1184463 w 6942639"/>
                <a:gd name="connsiteY5423" fmla="*/ 4967118 h 9250612"/>
                <a:gd name="connsiteX5424" fmla="*/ 1193422 w 6942639"/>
                <a:gd name="connsiteY5424" fmla="*/ 4958158 h 9250612"/>
                <a:gd name="connsiteX5425" fmla="*/ 1024671 w 6942639"/>
                <a:gd name="connsiteY5425" fmla="*/ 4958158 h 9250612"/>
                <a:gd name="connsiteX5426" fmla="*/ 1033637 w 6942639"/>
                <a:gd name="connsiteY5426" fmla="*/ 4967118 h 9250612"/>
                <a:gd name="connsiteX5427" fmla="*/ 1024671 w 6942639"/>
                <a:gd name="connsiteY5427" fmla="*/ 4976079 h 9250612"/>
                <a:gd name="connsiteX5428" fmla="*/ 1015711 w 6942639"/>
                <a:gd name="connsiteY5428" fmla="*/ 4967118 h 9250612"/>
                <a:gd name="connsiteX5429" fmla="*/ 1024671 w 6942639"/>
                <a:gd name="connsiteY5429" fmla="*/ 4958158 h 9250612"/>
                <a:gd name="connsiteX5430" fmla="*/ 855941 w 6942639"/>
                <a:gd name="connsiteY5430" fmla="*/ 4958158 h 9250612"/>
                <a:gd name="connsiteX5431" fmla="*/ 864901 w 6942639"/>
                <a:gd name="connsiteY5431" fmla="*/ 4967118 h 9250612"/>
                <a:gd name="connsiteX5432" fmla="*/ 855941 w 6942639"/>
                <a:gd name="connsiteY5432" fmla="*/ 4976079 h 9250612"/>
                <a:gd name="connsiteX5433" fmla="*/ 846980 w 6942639"/>
                <a:gd name="connsiteY5433" fmla="*/ 4967118 h 9250612"/>
                <a:gd name="connsiteX5434" fmla="*/ 855941 w 6942639"/>
                <a:gd name="connsiteY5434" fmla="*/ 4958158 h 9250612"/>
                <a:gd name="connsiteX5435" fmla="*/ 687201 w 6942639"/>
                <a:gd name="connsiteY5435" fmla="*/ 4958158 h 9250612"/>
                <a:gd name="connsiteX5436" fmla="*/ 696161 w 6942639"/>
                <a:gd name="connsiteY5436" fmla="*/ 4967118 h 9250612"/>
                <a:gd name="connsiteX5437" fmla="*/ 687201 w 6942639"/>
                <a:gd name="connsiteY5437" fmla="*/ 4976079 h 9250612"/>
                <a:gd name="connsiteX5438" fmla="*/ 678242 w 6942639"/>
                <a:gd name="connsiteY5438" fmla="*/ 4967118 h 9250612"/>
                <a:gd name="connsiteX5439" fmla="*/ 687201 w 6942639"/>
                <a:gd name="connsiteY5439" fmla="*/ 4958158 h 9250612"/>
                <a:gd name="connsiteX5440" fmla="*/ 518439 w 6942639"/>
                <a:gd name="connsiteY5440" fmla="*/ 4958158 h 9250612"/>
                <a:gd name="connsiteX5441" fmla="*/ 527399 w 6942639"/>
                <a:gd name="connsiteY5441" fmla="*/ 4967118 h 9250612"/>
                <a:gd name="connsiteX5442" fmla="*/ 518439 w 6942639"/>
                <a:gd name="connsiteY5442" fmla="*/ 4976079 h 9250612"/>
                <a:gd name="connsiteX5443" fmla="*/ 509478 w 6942639"/>
                <a:gd name="connsiteY5443" fmla="*/ 4967118 h 9250612"/>
                <a:gd name="connsiteX5444" fmla="*/ 518439 w 6942639"/>
                <a:gd name="connsiteY5444" fmla="*/ 4958158 h 9250612"/>
                <a:gd name="connsiteX5445" fmla="*/ 349700 w 6942639"/>
                <a:gd name="connsiteY5445" fmla="*/ 4958158 h 9250612"/>
                <a:gd name="connsiteX5446" fmla="*/ 358660 w 6942639"/>
                <a:gd name="connsiteY5446" fmla="*/ 4967118 h 9250612"/>
                <a:gd name="connsiteX5447" fmla="*/ 349700 w 6942639"/>
                <a:gd name="connsiteY5447" fmla="*/ 4976079 h 9250612"/>
                <a:gd name="connsiteX5448" fmla="*/ 340740 w 6942639"/>
                <a:gd name="connsiteY5448" fmla="*/ 4967118 h 9250612"/>
                <a:gd name="connsiteX5449" fmla="*/ 349700 w 6942639"/>
                <a:gd name="connsiteY5449" fmla="*/ 4958158 h 9250612"/>
                <a:gd name="connsiteX5450" fmla="*/ 179381 w 6942639"/>
                <a:gd name="connsiteY5450" fmla="*/ 4958158 h 9250612"/>
                <a:gd name="connsiteX5451" fmla="*/ 188342 w 6942639"/>
                <a:gd name="connsiteY5451" fmla="*/ 4967118 h 9250612"/>
                <a:gd name="connsiteX5452" fmla="*/ 179381 w 6942639"/>
                <a:gd name="connsiteY5452" fmla="*/ 4976079 h 9250612"/>
                <a:gd name="connsiteX5453" fmla="*/ 170421 w 6942639"/>
                <a:gd name="connsiteY5453" fmla="*/ 4967118 h 9250612"/>
                <a:gd name="connsiteX5454" fmla="*/ 179381 w 6942639"/>
                <a:gd name="connsiteY5454" fmla="*/ 4958158 h 9250612"/>
                <a:gd name="connsiteX5455" fmla="*/ 9064 w 6942639"/>
                <a:gd name="connsiteY5455" fmla="*/ 4958158 h 9250612"/>
                <a:gd name="connsiteX5456" fmla="*/ 18023 w 6942639"/>
                <a:gd name="connsiteY5456" fmla="*/ 4967118 h 9250612"/>
                <a:gd name="connsiteX5457" fmla="*/ 9064 w 6942639"/>
                <a:gd name="connsiteY5457" fmla="*/ 4976079 h 9250612"/>
                <a:gd name="connsiteX5458" fmla="*/ 103 w 6942639"/>
                <a:gd name="connsiteY5458" fmla="*/ 4967118 h 9250612"/>
                <a:gd name="connsiteX5459" fmla="*/ 9064 w 6942639"/>
                <a:gd name="connsiteY5459" fmla="*/ 4958158 h 9250612"/>
                <a:gd name="connsiteX5460" fmla="*/ 6933679 w 6942639"/>
                <a:gd name="connsiteY5460" fmla="*/ 4787177 h 9250612"/>
                <a:gd name="connsiteX5461" fmla="*/ 6942639 w 6942639"/>
                <a:gd name="connsiteY5461" fmla="*/ 4796137 h 9250612"/>
                <a:gd name="connsiteX5462" fmla="*/ 6933679 w 6942639"/>
                <a:gd name="connsiteY5462" fmla="*/ 4805098 h 9250612"/>
                <a:gd name="connsiteX5463" fmla="*/ 6924718 w 6942639"/>
                <a:gd name="connsiteY5463" fmla="*/ 4796137 h 9250612"/>
                <a:gd name="connsiteX5464" fmla="*/ 6933679 w 6942639"/>
                <a:gd name="connsiteY5464" fmla="*/ 4787177 h 9250612"/>
                <a:gd name="connsiteX5465" fmla="*/ 6763357 w 6942639"/>
                <a:gd name="connsiteY5465" fmla="*/ 4787177 h 9250612"/>
                <a:gd name="connsiteX5466" fmla="*/ 6772318 w 6942639"/>
                <a:gd name="connsiteY5466" fmla="*/ 4796137 h 9250612"/>
                <a:gd name="connsiteX5467" fmla="*/ 6763357 w 6942639"/>
                <a:gd name="connsiteY5467" fmla="*/ 4805098 h 9250612"/>
                <a:gd name="connsiteX5468" fmla="*/ 6754397 w 6942639"/>
                <a:gd name="connsiteY5468" fmla="*/ 4796137 h 9250612"/>
                <a:gd name="connsiteX5469" fmla="*/ 6763357 w 6942639"/>
                <a:gd name="connsiteY5469" fmla="*/ 4787177 h 9250612"/>
                <a:gd name="connsiteX5470" fmla="*/ 6593035 w 6942639"/>
                <a:gd name="connsiteY5470" fmla="*/ 4787177 h 9250612"/>
                <a:gd name="connsiteX5471" fmla="*/ 6601996 w 6942639"/>
                <a:gd name="connsiteY5471" fmla="*/ 4796137 h 9250612"/>
                <a:gd name="connsiteX5472" fmla="*/ 6593035 w 6942639"/>
                <a:gd name="connsiteY5472" fmla="*/ 4805098 h 9250612"/>
                <a:gd name="connsiteX5473" fmla="*/ 6584075 w 6942639"/>
                <a:gd name="connsiteY5473" fmla="*/ 4796137 h 9250612"/>
                <a:gd name="connsiteX5474" fmla="*/ 6593035 w 6942639"/>
                <a:gd name="connsiteY5474" fmla="*/ 4787177 h 9250612"/>
                <a:gd name="connsiteX5475" fmla="*/ 6424294 w 6942639"/>
                <a:gd name="connsiteY5475" fmla="*/ 4787177 h 9250612"/>
                <a:gd name="connsiteX5476" fmla="*/ 6433255 w 6942639"/>
                <a:gd name="connsiteY5476" fmla="*/ 4796137 h 9250612"/>
                <a:gd name="connsiteX5477" fmla="*/ 6424294 w 6942639"/>
                <a:gd name="connsiteY5477" fmla="*/ 4805098 h 9250612"/>
                <a:gd name="connsiteX5478" fmla="*/ 6415334 w 6942639"/>
                <a:gd name="connsiteY5478" fmla="*/ 4796137 h 9250612"/>
                <a:gd name="connsiteX5479" fmla="*/ 6424294 w 6942639"/>
                <a:gd name="connsiteY5479" fmla="*/ 4787177 h 9250612"/>
                <a:gd name="connsiteX5480" fmla="*/ 6255553 w 6942639"/>
                <a:gd name="connsiteY5480" fmla="*/ 4787177 h 9250612"/>
                <a:gd name="connsiteX5481" fmla="*/ 6264514 w 6942639"/>
                <a:gd name="connsiteY5481" fmla="*/ 4796137 h 9250612"/>
                <a:gd name="connsiteX5482" fmla="*/ 6255553 w 6942639"/>
                <a:gd name="connsiteY5482" fmla="*/ 4805098 h 9250612"/>
                <a:gd name="connsiteX5483" fmla="*/ 6246593 w 6942639"/>
                <a:gd name="connsiteY5483" fmla="*/ 4796137 h 9250612"/>
                <a:gd name="connsiteX5484" fmla="*/ 6255553 w 6942639"/>
                <a:gd name="connsiteY5484" fmla="*/ 4787177 h 9250612"/>
                <a:gd name="connsiteX5485" fmla="*/ 6086811 w 6942639"/>
                <a:gd name="connsiteY5485" fmla="*/ 4787177 h 9250612"/>
                <a:gd name="connsiteX5486" fmla="*/ 6095772 w 6942639"/>
                <a:gd name="connsiteY5486" fmla="*/ 4796137 h 9250612"/>
                <a:gd name="connsiteX5487" fmla="*/ 6086811 w 6942639"/>
                <a:gd name="connsiteY5487" fmla="*/ 4805098 h 9250612"/>
                <a:gd name="connsiteX5488" fmla="*/ 6077851 w 6942639"/>
                <a:gd name="connsiteY5488" fmla="*/ 4796137 h 9250612"/>
                <a:gd name="connsiteX5489" fmla="*/ 6086811 w 6942639"/>
                <a:gd name="connsiteY5489" fmla="*/ 4787177 h 9250612"/>
                <a:gd name="connsiteX5490" fmla="*/ 5918069 w 6942639"/>
                <a:gd name="connsiteY5490" fmla="*/ 4787177 h 9250612"/>
                <a:gd name="connsiteX5491" fmla="*/ 5927030 w 6942639"/>
                <a:gd name="connsiteY5491" fmla="*/ 4796137 h 9250612"/>
                <a:gd name="connsiteX5492" fmla="*/ 5918069 w 6942639"/>
                <a:gd name="connsiteY5492" fmla="*/ 4805098 h 9250612"/>
                <a:gd name="connsiteX5493" fmla="*/ 5909109 w 6942639"/>
                <a:gd name="connsiteY5493" fmla="*/ 4796137 h 9250612"/>
                <a:gd name="connsiteX5494" fmla="*/ 5918069 w 6942639"/>
                <a:gd name="connsiteY5494" fmla="*/ 4787177 h 9250612"/>
                <a:gd name="connsiteX5495" fmla="*/ 5749328 w 6942639"/>
                <a:gd name="connsiteY5495" fmla="*/ 4787177 h 9250612"/>
                <a:gd name="connsiteX5496" fmla="*/ 5758289 w 6942639"/>
                <a:gd name="connsiteY5496" fmla="*/ 4796137 h 9250612"/>
                <a:gd name="connsiteX5497" fmla="*/ 5749328 w 6942639"/>
                <a:gd name="connsiteY5497" fmla="*/ 4805098 h 9250612"/>
                <a:gd name="connsiteX5498" fmla="*/ 5740368 w 6942639"/>
                <a:gd name="connsiteY5498" fmla="*/ 4796137 h 9250612"/>
                <a:gd name="connsiteX5499" fmla="*/ 5749328 w 6942639"/>
                <a:gd name="connsiteY5499" fmla="*/ 4787177 h 9250612"/>
                <a:gd name="connsiteX5500" fmla="*/ 5580586 w 6942639"/>
                <a:gd name="connsiteY5500" fmla="*/ 4787177 h 9250612"/>
                <a:gd name="connsiteX5501" fmla="*/ 5589547 w 6942639"/>
                <a:gd name="connsiteY5501" fmla="*/ 4796137 h 9250612"/>
                <a:gd name="connsiteX5502" fmla="*/ 5580586 w 6942639"/>
                <a:gd name="connsiteY5502" fmla="*/ 4805098 h 9250612"/>
                <a:gd name="connsiteX5503" fmla="*/ 5571626 w 6942639"/>
                <a:gd name="connsiteY5503" fmla="*/ 4796137 h 9250612"/>
                <a:gd name="connsiteX5504" fmla="*/ 5580586 w 6942639"/>
                <a:gd name="connsiteY5504" fmla="*/ 4787177 h 9250612"/>
                <a:gd name="connsiteX5505" fmla="*/ 5411845 w 6942639"/>
                <a:gd name="connsiteY5505" fmla="*/ 4787177 h 9250612"/>
                <a:gd name="connsiteX5506" fmla="*/ 5420806 w 6942639"/>
                <a:gd name="connsiteY5506" fmla="*/ 4796137 h 9250612"/>
                <a:gd name="connsiteX5507" fmla="*/ 5411845 w 6942639"/>
                <a:gd name="connsiteY5507" fmla="*/ 4805098 h 9250612"/>
                <a:gd name="connsiteX5508" fmla="*/ 5402885 w 6942639"/>
                <a:gd name="connsiteY5508" fmla="*/ 4796137 h 9250612"/>
                <a:gd name="connsiteX5509" fmla="*/ 5411845 w 6942639"/>
                <a:gd name="connsiteY5509" fmla="*/ 4787177 h 9250612"/>
                <a:gd name="connsiteX5510" fmla="*/ 5243103 w 6942639"/>
                <a:gd name="connsiteY5510" fmla="*/ 4787177 h 9250612"/>
                <a:gd name="connsiteX5511" fmla="*/ 5252064 w 6942639"/>
                <a:gd name="connsiteY5511" fmla="*/ 4796137 h 9250612"/>
                <a:gd name="connsiteX5512" fmla="*/ 5243103 w 6942639"/>
                <a:gd name="connsiteY5512" fmla="*/ 4805098 h 9250612"/>
                <a:gd name="connsiteX5513" fmla="*/ 5234143 w 6942639"/>
                <a:gd name="connsiteY5513" fmla="*/ 4796137 h 9250612"/>
                <a:gd name="connsiteX5514" fmla="*/ 5243103 w 6942639"/>
                <a:gd name="connsiteY5514" fmla="*/ 4787177 h 9250612"/>
                <a:gd name="connsiteX5515" fmla="*/ 5074362 w 6942639"/>
                <a:gd name="connsiteY5515" fmla="*/ 4787177 h 9250612"/>
                <a:gd name="connsiteX5516" fmla="*/ 5083323 w 6942639"/>
                <a:gd name="connsiteY5516" fmla="*/ 4796137 h 9250612"/>
                <a:gd name="connsiteX5517" fmla="*/ 5074362 w 6942639"/>
                <a:gd name="connsiteY5517" fmla="*/ 4805098 h 9250612"/>
                <a:gd name="connsiteX5518" fmla="*/ 5065402 w 6942639"/>
                <a:gd name="connsiteY5518" fmla="*/ 4796137 h 9250612"/>
                <a:gd name="connsiteX5519" fmla="*/ 5074362 w 6942639"/>
                <a:gd name="connsiteY5519" fmla="*/ 4787177 h 9250612"/>
                <a:gd name="connsiteX5520" fmla="*/ 4905620 w 6942639"/>
                <a:gd name="connsiteY5520" fmla="*/ 4787177 h 9250612"/>
                <a:gd name="connsiteX5521" fmla="*/ 4914581 w 6942639"/>
                <a:gd name="connsiteY5521" fmla="*/ 4796137 h 9250612"/>
                <a:gd name="connsiteX5522" fmla="*/ 4905620 w 6942639"/>
                <a:gd name="connsiteY5522" fmla="*/ 4805098 h 9250612"/>
                <a:gd name="connsiteX5523" fmla="*/ 4896660 w 6942639"/>
                <a:gd name="connsiteY5523" fmla="*/ 4796137 h 9250612"/>
                <a:gd name="connsiteX5524" fmla="*/ 4905620 w 6942639"/>
                <a:gd name="connsiteY5524" fmla="*/ 4787177 h 9250612"/>
                <a:gd name="connsiteX5525" fmla="*/ 4736878 w 6942639"/>
                <a:gd name="connsiteY5525" fmla="*/ 4787177 h 9250612"/>
                <a:gd name="connsiteX5526" fmla="*/ 4745839 w 6942639"/>
                <a:gd name="connsiteY5526" fmla="*/ 4796137 h 9250612"/>
                <a:gd name="connsiteX5527" fmla="*/ 4736878 w 6942639"/>
                <a:gd name="connsiteY5527" fmla="*/ 4805098 h 9250612"/>
                <a:gd name="connsiteX5528" fmla="*/ 4727918 w 6942639"/>
                <a:gd name="connsiteY5528" fmla="*/ 4796137 h 9250612"/>
                <a:gd name="connsiteX5529" fmla="*/ 4736878 w 6942639"/>
                <a:gd name="connsiteY5529" fmla="*/ 4787177 h 9250612"/>
                <a:gd name="connsiteX5530" fmla="*/ 4568137 w 6942639"/>
                <a:gd name="connsiteY5530" fmla="*/ 4787177 h 9250612"/>
                <a:gd name="connsiteX5531" fmla="*/ 4577098 w 6942639"/>
                <a:gd name="connsiteY5531" fmla="*/ 4796137 h 9250612"/>
                <a:gd name="connsiteX5532" fmla="*/ 4568137 w 6942639"/>
                <a:gd name="connsiteY5532" fmla="*/ 4805098 h 9250612"/>
                <a:gd name="connsiteX5533" fmla="*/ 4559177 w 6942639"/>
                <a:gd name="connsiteY5533" fmla="*/ 4796137 h 9250612"/>
                <a:gd name="connsiteX5534" fmla="*/ 4568137 w 6942639"/>
                <a:gd name="connsiteY5534" fmla="*/ 4787177 h 9250612"/>
                <a:gd name="connsiteX5535" fmla="*/ 4399396 w 6942639"/>
                <a:gd name="connsiteY5535" fmla="*/ 4787177 h 9250612"/>
                <a:gd name="connsiteX5536" fmla="*/ 4408357 w 6942639"/>
                <a:gd name="connsiteY5536" fmla="*/ 4796137 h 9250612"/>
                <a:gd name="connsiteX5537" fmla="*/ 4399396 w 6942639"/>
                <a:gd name="connsiteY5537" fmla="*/ 4805098 h 9250612"/>
                <a:gd name="connsiteX5538" fmla="*/ 4390436 w 6942639"/>
                <a:gd name="connsiteY5538" fmla="*/ 4796137 h 9250612"/>
                <a:gd name="connsiteX5539" fmla="*/ 4399396 w 6942639"/>
                <a:gd name="connsiteY5539" fmla="*/ 4787177 h 9250612"/>
                <a:gd name="connsiteX5540" fmla="*/ 4230654 w 6942639"/>
                <a:gd name="connsiteY5540" fmla="*/ 4787177 h 9250612"/>
                <a:gd name="connsiteX5541" fmla="*/ 4239615 w 6942639"/>
                <a:gd name="connsiteY5541" fmla="*/ 4796137 h 9250612"/>
                <a:gd name="connsiteX5542" fmla="*/ 4230654 w 6942639"/>
                <a:gd name="connsiteY5542" fmla="*/ 4805098 h 9250612"/>
                <a:gd name="connsiteX5543" fmla="*/ 4221694 w 6942639"/>
                <a:gd name="connsiteY5543" fmla="*/ 4796137 h 9250612"/>
                <a:gd name="connsiteX5544" fmla="*/ 4230654 w 6942639"/>
                <a:gd name="connsiteY5544" fmla="*/ 4787177 h 9250612"/>
                <a:gd name="connsiteX5545" fmla="*/ 4061912 w 6942639"/>
                <a:gd name="connsiteY5545" fmla="*/ 4787177 h 9250612"/>
                <a:gd name="connsiteX5546" fmla="*/ 4070873 w 6942639"/>
                <a:gd name="connsiteY5546" fmla="*/ 4796137 h 9250612"/>
                <a:gd name="connsiteX5547" fmla="*/ 4061912 w 6942639"/>
                <a:gd name="connsiteY5547" fmla="*/ 4805098 h 9250612"/>
                <a:gd name="connsiteX5548" fmla="*/ 4052952 w 6942639"/>
                <a:gd name="connsiteY5548" fmla="*/ 4796137 h 9250612"/>
                <a:gd name="connsiteX5549" fmla="*/ 4061912 w 6942639"/>
                <a:gd name="connsiteY5549" fmla="*/ 4787177 h 9250612"/>
                <a:gd name="connsiteX5550" fmla="*/ 3893170 w 6942639"/>
                <a:gd name="connsiteY5550" fmla="*/ 4787177 h 9250612"/>
                <a:gd name="connsiteX5551" fmla="*/ 3902131 w 6942639"/>
                <a:gd name="connsiteY5551" fmla="*/ 4796137 h 9250612"/>
                <a:gd name="connsiteX5552" fmla="*/ 3893170 w 6942639"/>
                <a:gd name="connsiteY5552" fmla="*/ 4805098 h 9250612"/>
                <a:gd name="connsiteX5553" fmla="*/ 3884210 w 6942639"/>
                <a:gd name="connsiteY5553" fmla="*/ 4796137 h 9250612"/>
                <a:gd name="connsiteX5554" fmla="*/ 3893170 w 6942639"/>
                <a:gd name="connsiteY5554" fmla="*/ 4787177 h 9250612"/>
                <a:gd name="connsiteX5555" fmla="*/ 3724429 w 6942639"/>
                <a:gd name="connsiteY5555" fmla="*/ 4787177 h 9250612"/>
                <a:gd name="connsiteX5556" fmla="*/ 3733390 w 6942639"/>
                <a:gd name="connsiteY5556" fmla="*/ 4796137 h 9250612"/>
                <a:gd name="connsiteX5557" fmla="*/ 3724429 w 6942639"/>
                <a:gd name="connsiteY5557" fmla="*/ 4805098 h 9250612"/>
                <a:gd name="connsiteX5558" fmla="*/ 3715469 w 6942639"/>
                <a:gd name="connsiteY5558" fmla="*/ 4796137 h 9250612"/>
                <a:gd name="connsiteX5559" fmla="*/ 3724429 w 6942639"/>
                <a:gd name="connsiteY5559" fmla="*/ 4787177 h 9250612"/>
                <a:gd name="connsiteX5560" fmla="*/ 3555688 w 6942639"/>
                <a:gd name="connsiteY5560" fmla="*/ 4787177 h 9250612"/>
                <a:gd name="connsiteX5561" fmla="*/ 3564649 w 6942639"/>
                <a:gd name="connsiteY5561" fmla="*/ 4796137 h 9250612"/>
                <a:gd name="connsiteX5562" fmla="*/ 3555688 w 6942639"/>
                <a:gd name="connsiteY5562" fmla="*/ 4805098 h 9250612"/>
                <a:gd name="connsiteX5563" fmla="*/ 3546728 w 6942639"/>
                <a:gd name="connsiteY5563" fmla="*/ 4796137 h 9250612"/>
                <a:gd name="connsiteX5564" fmla="*/ 3555688 w 6942639"/>
                <a:gd name="connsiteY5564" fmla="*/ 4787177 h 9250612"/>
                <a:gd name="connsiteX5565" fmla="*/ 3387026 w 6942639"/>
                <a:gd name="connsiteY5565" fmla="*/ 4787177 h 9250612"/>
                <a:gd name="connsiteX5566" fmla="*/ 3395986 w 6942639"/>
                <a:gd name="connsiteY5566" fmla="*/ 4796137 h 9250612"/>
                <a:gd name="connsiteX5567" fmla="*/ 3387026 w 6942639"/>
                <a:gd name="connsiteY5567" fmla="*/ 4805098 h 9250612"/>
                <a:gd name="connsiteX5568" fmla="*/ 3378026 w 6942639"/>
                <a:gd name="connsiteY5568" fmla="*/ 4796137 h 9250612"/>
                <a:gd name="connsiteX5569" fmla="*/ 3387026 w 6942639"/>
                <a:gd name="connsiteY5569" fmla="*/ 4787177 h 9250612"/>
                <a:gd name="connsiteX5570" fmla="*/ 3218268 w 6942639"/>
                <a:gd name="connsiteY5570" fmla="*/ 4787177 h 9250612"/>
                <a:gd name="connsiteX5571" fmla="*/ 3227237 w 6942639"/>
                <a:gd name="connsiteY5571" fmla="*/ 4796137 h 9250612"/>
                <a:gd name="connsiteX5572" fmla="*/ 3218268 w 6942639"/>
                <a:gd name="connsiteY5572" fmla="*/ 4805098 h 9250612"/>
                <a:gd name="connsiteX5573" fmla="*/ 3209309 w 6942639"/>
                <a:gd name="connsiteY5573" fmla="*/ 4796137 h 9250612"/>
                <a:gd name="connsiteX5574" fmla="*/ 3218268 w 6942639"/>
                <a:gd name="connsiteY5574" fmla="*/ 4787177 h 9250612"/>
                <a:gd name="connsiteX5575" fmla="*/ 3049558 w 6942639"/>
                <a:gd name="connsiteY5575" fmla="*/ 4787177 h 9250612"/>
                <a:gd name="connsiteX5576" fmla="*/ 3058505 w 6942639"/>
                <a:gd name="connsiteY5576" fmla="*/ 4796137 h 9250612"/>
                <a:gd name="connsiteX5577" fmla="*/ 3049558 w 6942639"/>
                <a:gd name="connsiteY5577" fmla="*/ 4805098 h 9250612"/>
                <a:gd name="connsiteX5578" fmla="*/ 3040588 w 6942639"/>
                <a:gd name="connsiteY5578" fmla="*/ 4796137 h 9250612"/>
                <a:gd name="connsiteX5579" fmla="*/ 3049558 w 6942639"/>
                <a:gd name="connsiteY5579" fmla="*/ 4787177 h 9250612"/>
                <a:gd name="connsiteX5580" fmla="*/ 2880824 w 6942639"/>
                <a:gd name="connsiteY5580" fmla="*/ 4787177 h 9250612"/>
                <a:gd name="connsiteX5581" fmla="*/ 2889781 w 6942639"/>
                <a:gd name="connsiteY5581" fmla="*/ 4796137 h 9250612"/>
                <a:gd name="connsiteX5582" fmla="*/ 2880824 w 6942639"/>
                <a:gd name="connsiteY5582" fmla="*/ 4805098 h 9250612"/>
                <a:gd name="connsiteX5583" fmla="*/ 2871863 w 6942639"/>
                <a:gd name="connsiteY5583" fmla="*/ 4796137 h 9250612"/>
                <a:gd name="connsiteX5584" fmla="*/ 2880824 w 6942639"/>
                <a:gd name="connsiteY5584" fmla="*/ 4787177 h 9250612"/>
                <a:gd name="connsiteX5585" fmla="*/ 2712063 w 6942639"/>
                <a:gd name="connsiteY5585" fmla="*/ 4787177 h 9250612"/>
                <a:gd name="connsiteX5586" fmla="*/ 2721047 w 6942639"/>
                <a:gd name="connsiteY5586" fmla="*/ 4796137 h 9250612"/>
                <a:gd name="connsiteX5587" fmla="*/ 2712063 w 6942639"/>
                <a:gd name="connsiteY5587" fmla="*/ 4805098 h 9250612"/>
                <a:gd name="connsiteX5588" fmla="*/ 2703108 w 6942639"/>
                <a:gd name="connsiteY5588" fmla="*/ 4796137 h 9250612"/>
                <a:gd name="connsiteX5589" fmla="*/ 2712063 w 6942639"/>
                <a:gd name="connsiteY5589" fmla="*/ 4787177 h 9250612"/>
                <a:gd name="connsiteX5590" fmla="*/ 2543364 w 6942639"/>
                <a:gd name="connsiteY5590" fmla="*/ 4787177 h 9250612"/>
                <a:gd name="connsiteX5591" fmla="*/ 2552324 w 6942639"/>
                <a:gd name="connsiteY5591" fmla="*/ 4796137 h 9250612"/>
                <a:gd name="connsiteX5592" fmla="*/ 2543364 w 6942639"/>
                <a:gd name="connsiteY5592" fmla="*/ 4805098 h 9250612"/>
                <a:gd name="connsiteX5593" fmla="*/ 2534392 w 6942639"/>
                <a:gd name="connsiteY5593" fmla="*/ 4796137 h 9250612"/>
                <a:gd name="connsiteX5594" fmla="*/ 2543364 w 6942639"/>
                <a:gd name="connsiteY5594" fmla="*/ 4787177 h 9250612"/>
                <a:gd name="connsiteX5595" fmla="*/ 2374581 w 6942639"/>
                <a:gd name="connsiteY5595" fmla="*/ 4787177 h 9250612"/>
                <a:gd name="connsiteX5596" fmla="*/ 2383575 w 6942639"/>
                <a:gd name="connsiteY5596" fmla="*/ 4796137 h 9250612"/>
                <a:gd name="connsiteX5597" fmla="*/ 2374581 w 6942639"/>
                <a:gd name="connsiteY5597" fmla="*/ 4805098 h 9250612"/>
                <a:gd name="connsiteX5598" fmla="*/ 2365617 w 6942639"/>
                <a:gd name="connsiteY5598" fmla="*/ 4796137 h 9250612"/>
                <a:gd name="connsiteX5599" fmla="*/ 2374581 w 6942639"/>
                <a:gd name="connsiteY5599" fmla="*/ 4787177 h 9250612"/>
                <a:gd name="connsiteX5600" fmla="*/ 2205871 w 6942639"/>
                <a:gd name="connsiteY5600" fmla="*/ 4787177 h 9250612"/>
                <a:gd name="connsiteX5601" fmla="*/ 2214826 w 6942639"/>
                <a:gd name="connsiteY5601" fmla="*/ 4796137 h 9250612"/>
                <a:gd name="connsiteX5602" fmla="*/ 2205871 w 6942639"/>
                <a:gd name="connsiteY5602" fmla="*/ 4805098 h 9250612"/>
                <a:gd name="connsiteX5603" fmla="*/ 2196886 w 6942639"/>
                <a:gd name="connsiteY5603" fmla="*/ 4796137 h 9250612"/>
                <a:gd name="connsiteX5604" fmla="*/ 2205871 w 6942639"/>
                <a:gd name="connsiteY5604" fmla="*/ 4787177 h 9250612"/>
                <a:gd name="connsiteX5605" fmla="*/ 2037125 w 6942639"/>
                <a:gd name="connsiteY5605" fmla="*/ 4787177 h 9250612"/>
                <a:gd name="connsiteX5606" fmla="*/ 2046073 w 6942639"/>
                <a:gd name="connsiteY5606" fmla="*/ 4796137 h 9250612"/>
                <a:gd name="connsiteX5607" fmla="*/ 2037125 w 6942639"/>
                <a:gd name="connsiteY5607" fmla="*/ 4805098 h 9250612"/>
                <a:gd name="connsiteX5608" fmla="*/ 2028179 w 6942639"/>
                <a:gd name="connsiteY5608" fmla="*/ 4796137 h 9250612"/>
                <a:gd name="connsiteX5609" fmla="*/ 2037125 w 6942639"/>
                <a:gd name="connsiteY5609" fmla="*/ 4787177 h 9250612"/>
                <a:gd name="connsiteX5610" fmla="*/ 1868407 w 6942639"/>
                <a:gd name="connsiteY5610" fmla="*/ 4787177 h 9250612"/>
                <a:gd name="connsiteX5611" fmla="*/ 1877360 w 6942639"/>
                <a:gd name="connsiteY5611" fmla="*/ 4796137 h 9250612"/>
                <a:gd name="connsiteX5612" fmla="*/ 1868407 w 6942639"/>
                <a:gd name="connsiteY5612" fmla="*/ 4805098 h 9250612"/>
                <a:gd name="connsiteX5613" fmla="*/ 1859435 w 6942639"/>
                <a:gd name="connsiteY5613" fmla="*/ 4796137 h 9250612"/>
                <a:gd name="connsiteX5614" fmla="*/ 1868407 w 6942639"/>
                <a:gd name="connsiteY5614" fmla="*/ 4787177 h 9250612"/>
                <a:gd name="connsiteX5615" fmla="*/ 1699657 w 6942639"/>
                <a:gd name="connsiteY5615" fmla="*/ 4787177 h 9250612"/>
                <a:gd name="connsiteX5616" fmla="*/ 1708625 w 6942639"/>
                <a:gd name="connsiteY5616" fmla="*/ 4796137 h 9250612"/>
                <a:gd name="connsiteX5617" fmla="*/ 1699657 w 6942639"/>
                <a:gd name="connsiteY5617" fmla="*/ 4805098 h 9250612"/>
                <a:gd name="connsiteX5618" fmla="*/ 1690694 w 6942639"/>
                <a:gd name="connsiteY5618" fmla="*/ 4796137 h 9250612"/>
                <a:gd name="connsiteX5619" fmla="*/ 1699657 w 6942639"/>
                <a:gd name="connsiteY5619" fmla="*/ 4787177 h 9250612"/>
                <a:gd name="connsiteX5620" fmla="*/ 1530917 w 6942639"/>
                <a:gd name="connsiteY5620" fmla="*/ 4787177 h 9250612"/>
                <a:gd name="connsiteX5621" fmla="*/ 1539878 w 6942639"/>
                <a:gd name="connsiteY5621" fmla="*/ 4796137 h 9250612"/>
                <a:gd name="connsiteX5622" fmla="*/ 1530917 w 6942639"/>
                <a:gd name="connsiteY5622" fmla="*/ 4805098 h 9250612"/>
                <a:gd name="connsiteX5623" fmla="*/ 1521955 w 6942639"/>
                <a:gd name="connsiteY5623" fmla="*/ 4796137 h 9250612"/>
                <a:gd name="connsiteX5624" fmla="*/ 1530917 w 6942639"/>
                <a:gd name="connsiteY5624" fmla="*/ 4787177 h 9250612"/>
                <a:gd name="connsiteX5625" fmla="*/ 1362168 w 6942639"/>
                <a:gd name="connsiteY5625" fmla="*/ 4787177 h 9250612"/>
                <a:gd name="connsiteX5626" fmla="*/ 1371129 w 6942639"/>
                <a:gd name="connsiteY5626" fmla="*/ 4796137 h 9250612"/>
                <a:gd name="connsiteX5627" fmla="*/ 1362168 w 6942639"/>
                <a:gd name="connsiteY5627" fmla="*/ 4805098 h 9250612"/>
                <a:gd name="connsiteX5628" fmla="*/ 1353207 w 6942639"/>
                <a:gd name="connsiteY5628" fmla="*/ 4796137 h 9250612"/>
                <a:gd name="connsiteX5629" fmla="*/ 1362168 w 6942639"/>
                <a:gd name="connsiteY5629" fmla="*/ 4787177 h 9250612"/>
                <a:gd name="connsiteX5630" fmla="*/ 1193426 w 6942639"/>
                <a:gd name="connsiteY5630" fmla="*/ 4787177 h 9250612"/>
                <a:gd name="connsiteX5631" fmla="*/ 1202387 w 6942639"/>
                <a:gd name="connsiteY5631" fmla="*/ 4796137 h 9250612"/>
                <a:gd name="connsiteX5632" fmla="*/ 1193426 w 6942639"/>
                <a:gd name="connsiteY5632" fmla="*/ 4805098 h 9250612"/>
                <a:gd name="connsiteX5633" fmla="*/ 1184468 w 6942639"/>
                <a:gd name="connsiteY5633" fmla="*/ 4796137 h 9250612"/>
                <a:gd name="connsiteX5634" fmla="*/ 1193426 w 6942639"/>
                <a:gd name="connsiteY5634" fmla="*/ 4787177 h 9250612"/>
                <a:gd name="connsiteX5635" fmla="*/ 1024675 w 6942639"/>
                <a:gd name="connsiteY5635" fmla="*/ 4787177 h 9250612"/>
                <a:gd name="connsiteX5636" fmla="*/ 1033642 w 6942639"/>
                <a:gd name="connsiteY5636" fmla="*/ 4796137 h 9250612"/>
                <a:gd name="connsiteX5637" fmla="*/ 1024675 w 6942639"/>
                <a:gd name="connsiteY5637" fmla="*/ 4805098 h 9250612"/>
                <a:gd name="connsiteX5638" fmla="*/ 1015716 w 6942639"/>
                <a:gd name="connsiteY5638" fmla="*/ 4796137 h 9250612"/>
                <a:gd name="connsiteX5639" fmla="*/ 1024675 w 6942639"/>
                <a:gd name="connsiteY5639" fmla="*/ 4787177 h 9250612"/>
                <a:gd name="connsiteX5640" fmla="*/ 855945 w 6942639"/>
                <a:gd name="connsiteY5640" fmla="*/ 4787177 h 9250612"/>
                <a:gd name="connsiteX5641" fmla="*/ 864906 w 6942639"/>
                <a:gd name="connsiteY5641" fmla="*/ 4796137 h 9250612"/>
                <a:gd name="connsiteX5642" fmla="*/ 855945 w 6942639"/>
                <a:gd name="connsiteY5642" fmla="*/ 4805098 h 9250612"/>
                <a:gd name="connsiteX5643" fmla="*/ 846984 w 6942639"/>
                <a:gd name="connsiteY5643" fmla="*/ 4796137 h 9250612"/>
                <a:gd name="connsiteX5644" fmla="*/ 855945 w 6942639"/>
                <a:gd name="connsiteY5644" fmla="*/ 4787177 h 9250612"/>
                <a:gd name="connsiteX5645" fmla="*/ 687206 w 6942639"/>
                <a:gd name="connsiteY5645" fmla="*/ 4787177 h 9250612"/>
                <a:gd name="connsiteX5646" fmla="*/ 696166 w 6942639"/>
                <a:gd name="connsiteY5646" fmla="*/ 4796137 h 9250612"/>
                <a:gd name="connsiteX5647" fmla="*/ 687206 w 6942639"/>
                <a:gd name="connsiteY5647" fmla="*/ 4805098 h 9250612"/>
                <a:gd name="connsiteX5648" fmla="*/ 678246 w 6942639"/>
                <a:gd name="connsiteY5648" fmla="*/ 4796137 h 9250612"/>
                <a:gd name="connsiteX5649" fmla="*/ 687206 w 6942639"/>
                <a:gd name="connsiteY5649" fmla="*/ 4787177 h 9250612"/>
                <a:gd name="connsiteX5650" fmla="*/ 518442 w 6942639"/>
                <a:gd name="connsiteY5650" fmla="*/ 4787177 h 9250612"/>
                <a:gd name="connsiteX5651" fmla="*/ 527403 w 6942639"/>
                <a:gd name="connsiteY5651" fmla="*/ 4796137 h 9250612"/>
                <a:gd name="connsiteX5652" fmla="*/ 518442 w 6942639"/>
                <a:gd name="connsiteY5652" fmla="*/ 4805098 h 9250612"/>
                <a:gd name="connsiteX5653" fmla="*/ 509482 w 6942639"/>
                <a:gd name="connsiteY5653" fmla="*/ 4796137 h 9250612"/>
                <a:gd name="connsiteX5654" fmla="*/ 518442 w 6942639"/>
                <a:gd name="connsiteY5654" fmla="*/ 4787177 h 9250612"/>
                <a:gd name="connsiteX5655" fmla="*/ 349704 w 6942639"/>
                <a:gd name="connsiteY5655" fmla="*/ 4787177 h 9250612"/>
                <a:gd name="connsiteX5656" fmla="*/ 358664 w 6942639"/>
                <a:gd name="connsiteY5656" fmla="*/ 4796137 h 9250612"/>
                <a:gd name="connsiteX5657" fmla="*/ 349704 w 6942639"/>
                <a:gd name="connsiteY5657" fmla="*/ 4805098 h 9250612"/>
                <a:gd name="connsiteX5658" fmla="*/ 340744 w 6942639"/>
                <a:gd name="connsiteY5658" fmla="*/ 4796137 h 9250612"/>
                <a:gd name="connsiteX5659" fmla="*/ 349704 w 6942639"/>
                <a:gd name="connsiteY5659" fmla="*/ 4787177 h 9250612"/>
                <a:gd name="connsiteX5660" fmla="*/ 179385 w 6942639"/>
                <a:gd name="connsiteY5660" fmla="*/ 4787177 h 9250612"/>
                <a:gd name="connsiteX5661" fmla="*/ 188346 w 6942639"/>
                <a:gd name="connsiteY5661" fmla="*/ 4796137 h 9250612"/>
                <a:gd name="connsiteX5662" fmla="*/ 179385 w 6942639"/>
                <a:gd name="connsiteY5662" fmla="*/ 4805098 h 9250612"/>
                <a:gd name="connsiteX5663" fmla="*/ 170425 w 6942639"/>
                <a:gd name="connsiteY5663" fmla="*/ 4796137 h 9250612"/>
                <a:gd name="connsiteX5664" fmla="*/ 179385 w 6942639"/>
                <a:gd name="connsiteY5664" fmla="*/ 4787177 h 9250612"/>
                <a:gd name="connsiteX5665" fmla="*/ 9068 w 6942639"/>
                <a:gd name="connsiteY5665" fmla="*/ 4787177 h 9250612"/>
                <a:gd name="connsiteX5666" fmla="*/ 18027 w 6942639"/>
                <a:gd name="connsiteY5666" fmla="*/ 4796137 h 9250612"/>
                <a:gd name="connsiteX5667" fmla="*/ 9068 w 6942639"/>
                <a:gd name="connsiteY5667" fmla="*/ 4805098 h 9250612"/>
                <a:gd name="connsiteX5668" fmla="*/ 107 w 6942639"/>
                <a:gd name="connsiteY5668" fmla="*/ 4796137 h 9250612"/>
                <a:gd name="connsiteX5669" fmla="*/ 9068 w 6942639"/>
                <a:gd name="connsiteY5669" fmla="*/ 4787177 h 9250612"/>
                <a:gd name="connsiteX5670" fmla="*/ 6933679 w 6942639"/>
                <a:gd name="connsiteY5670" fmla="*/ 4616195 h 9250612"/>
                <a:gd name="connsiteX5671" fmla="*/ 6942639 w 6942639"/>
                <a:gd name="connsiteY5671" fmla="*/ 4625155 h 9250612"/>
                <a:gd name="connsiteX5672" fmla="*/ 6933679 w 6942639"/>
                <a:gd name="connsiteY5672" fmla="*/ 4634116 h 9250612"/>
                <a:gd name="connsiteX5673" fmla="*/ 6924718 w 6942639"/>
                <a:gd name="connsiteY5673" fmla="*/ 4625155 h 9250612"/>
                <a:gd name="connsiteX5674" fmla="*/ 6933679 w 6942639"/>
                <a:gd name="connsiteY5674" fmla="*/ 4616195 h 9250612"/>
                <a:gd name="connsiteX5675" fmla="*/ 6763357 w 6942639"/>
                <a:gd name="connsiteY5675" fmla="*/ 4616195 h 9250612"/>
                <a:gd name="connsiteX5676" fmla="*/ 6772318 w 6942639"/>
                <a:gd name="connsiteY5676" fmla="*/ 4625155 h 9250612"/>
                <a:gd name="connsiteX5677" fmla="*/ 6763357 w 6942639"/>
                <a:gd name="connsiteY5677" fmla="*/ 4634116 h 9250612"/>
                <a:gd name="connsiteX5678" fmla="*/ 6754397 w 6942639"/>
                <a:gd name="connsiteY5678" fmla="*/ 4625155 h 9250612"/>
                <a:gd name="connsiteX5679" fmla="*/ 6763357 w 6942639"/>
                <a:gd name="connsiteY5679" fmla="*/ 4616195 h 9250612"/>
                <a:gd name="connsiteX5680" fmla="*/ 6593035 w 6942639"/>
                <a:gd name="connsiteY5680" fmla="*/ 4616195 h 9250612"/>
                <a:gd name="connsiteX5681" fmla="*/ 6601996 w 6942639"/>
                <a:gd name="connsiteY5681" fmla="*/ 4625155 h 9250612"/>
                <a:gd name="connsiteX5682" fmla="*/ 6593035 w 6942639"/>
                <a:gd name="connsiteY5682" fmla="*/ 4634116 h 9250612"/>
                <a:gd name="connsiteX5683" fmla="*/ 6584075 w 6942639"/>
                <a:gd name="connsiteY5683" fmla="*/ 4625155 h 9250612"/>
                <a:gd name="connsiteX5684" fmla="*/ 6593035 w 6942639"/>
                <a:gd name="connsiteY5684" fmla="*/ 4616195 h 9250612"/>
                <a:gd name="connsiteX5685" fmla="*/ 6424294 w 6942639"/>
                <a:gd name="connsiteY5685" fmla="*/ 4616195 h 9250612"/>
                <a:gd name="connsiteX5686" fmla="*/ 6433255 w 6942639"/>
                <a:gd name="connsiteY5686" fmla="*/ 4625155 h 9250612"/>
                <a:gd name="connsiteX5687" fmla="*/ 6424294 w 6942639"/>
                <a:gd name="connsiteY5687" fmla="*/ 4634116 h 9250612"/>
                <a:gd name="connsiteX5688" fmla="*/ 6415334 w 6942639"/>
                <a:gd name="connsiteY5688" fmla="*/ 4625155 h 9250612"/>
                <a:gd name="connsiteX5689" fmla="*/ 6424294 w 6942639"/>
                <a:gd name="connsiteY5689" fmla="*/ 4616195 h 9250612"/>
                <a:gd name="connsiteX5690" fmla="*/ 6255553 w 6942639"/>
                <a:gd name="connsiteY5690" fmla="*/ 4616195 h 9250612"/>
                <a:gd name="connsiteX5691" fmla="*/ 6264514 w 6942639"/>
                <a:gd name="connsiteY5691" fmla="*/ 4625155 h 9250612"/>
                <a:gd name="connsiteX5692" fmla="*/ 6255553 w 6942639"/>
                <a:gd name="connsiteY5692" fmla="*/ 4634116 h 9250612"/>
                <a:gd name="connsiteX5693" fmla="*/ 6246593 w 6942639"/>
                <a:gd name="connsiteY5693" fmla="*/ 4625155 h 9250612"/>
                <a:gd name="connsiteX5694" fmla="*/ 6255553 w 6942639"/>
                <a:gd name="connsiteY5694" fmla="*/ 4616195 h 9250612"/>
                <a:gd name="connsiteX5695" fmla="*/ 6086811 w 6942639"/>
                <a:gd name="connsiteY5695" fmla="*/ 4616195 h 9250612"/>
                <a:gd name="connsiteX5696" fmla="*/ 6095772 w 6942639"/>
                <a:gd name="connsiteY5696" fmla="*/ 4625155 h 9250612"/>
                <a:gd name="connsiteX5697" fmla="*/ 6086811 w 6942639"/>
                <a:gd name="connsiteY5697" fmla="*/ 4634116 h 9250612"/>
                <a:gd name="connsiteX5698" fmla="*/ 6077851 w 6942639"/>
                <a:gd name="connsiteY5698" fmla="*/ 4625155 h 9250612"/>
                <a:gd name="connsiteX5699" fmla="*/ 6086811 w 6942639"/>
                <a:gd name="connsiteY5699" fmla="*/ 4616195 h 9250612"/>
                <a:gd name="connsiteX5700" fmla="*/ 5918069 w 6942639"/>
                <a:gd name="connsiteY5700" fmla="*/ 4616195 h 9250612"/>
                <a:gd name="connsiteX5701" fmla="*/ 5927030 w 6942639"/>
                <a:gd name="connsiteY5701" fmla="*/ 4625155 h 9250612"/>
                <a:gd name="connsiteX5702" fmla="*/ 5918069 w 6942639"/>
                <a:gd name="connsiteY5702" fmla="*/ 4634116 h 9250612"/>
                <a:gd name="connsiteX5703" fmla="*/ 5909109 w 6942639"/>
                <a:gd name="connsiteY5703" fmla="*/ 4625155 h 9250612"/>
                <a:gd name="connsiteX5704" fmla="*/ 5918069 w 6942639"/>
                <a:gd name="connsiteY5704" fmla="*/ 4616195 h 9250612"/>
                <a:gd name="connsiteX5705" fmla="*/ 5749328 w 6942639"/>
                <a:gd name="connsiteY5705" fmla="*/ 4616195 h 9250612"/>
                <a:gd name="connsiteX5706" fmla="*/ 5758289 w 6942639"/>
                <a:gd name="connsiteY5706" fmla="*/ 4625155 h 9250612"/>
                <a:gd name="connsiteX5707" fmla="*/ 5749328 w 6942639"/>
                <a:gd name="connsiteY5707" fmla="*/ 4634116 h 9250612"/>
                <a:gd name="connsiteX5708" fmla="*/ 5740368 w 6942639"/>
                <a:gd name="connsiteY5708" fmla="*/ 4625155 h 9250612"/>
                <a:gd name="connsiteX5709" fmla="*/ 5749328 w 6942639"/>
                <a:gd name="connsiteY5709" fmla="*/ 4616195 h 9250612"/>
                <a:gd name="connsiteX5710" fmla="*/ 5580586 w 6942639"/>
                <a:gd name="connsiteY5710" fmla="*/ 4616195 h 9250612"/>
                <a:gd name="connsiteX5711" fmla="*/ 5589547 w 6942639"/>
                <a:gd name="connsiteY5711" fmla="*/ 4625155 h 9250612"/>
                <a:gd name="connsiteX5712" fmla="*/ 5580586 w 6942639"/>
                <a:gd name="connsiteY5712" fmla="*/ 4634116 h 9250612"/>
                <a:gd name="connsiteX5713" fmla="*/ 5571626 w 6942639"/>
                <a:gd name="connsiteY5713" fmla="*/ 4625155 h 9250612"/>
                <a:gd name="connsiteX5714" fmla="*/ 5580586 w 6942639"/>
                <a:gd name="connsiteY5714" fmla="*/ 4616195 h 9250612"/>
                <a:gd name="connsiteX5715" fmla="*/ 5411845 w 6942639"/>
                <a:gd name="connsiteY5715" fmla="*/ 4616195 h 9250612"/>
                <a:gd name="connsiteX5716" fmla="*/ 5420806 w 6942639"/>
                <a:gd name="connsiteY5716" fmla="*/ 4625155 h 9250612"/>
                <a:gd name="connsiteX5717" fmla="*/ 5411845 w 6942639"/>
                <a:gd name="connsiteY5717" fmla="*/ 4634116 h 9250612"/>
                <a:gd name="connsiteX5718" fmla="*/ 5402885 w 6942639"/>
                <a:gd name="connsiteY5718" fmla="*/ 4625155 h 9250612"/>
                <a:gd name="connsiteX5719" fmla="*/ 5411845 w 6942639"/>
                <a:gd name="connsiteY5719" fmla="*/ 4616195 h 9250612"/>
                <a:gd name="connsiteX5720" fmla="*/ 5243103 w 6942639"/>
                <a:gd name="connsiteY5720" fmla="*/ 4616195 h 9250612"/>
                <a:gd name="connsiteX5721" fmla="*/ 5252064 w 6942639"/>
                <a:gd name="connsiteY5721" fmla="*/ 4625155 h 9250612"/>
                <a:gd name="connsiteX5722" fmla="*/ 5243103 w 6942639"/>
                <a:gd name="connsiteY5722" fmla="*/ 4634116 h 9250612"/>
                <a:gd name="connsiteX5723" fmla="*/ 5234143 w 6942639"/>
                <a:gd name="connsiteY5723" fmla="*/ 4625155 h 9250612"/>
                <a:gd name="connsiteX5724" fmla="*/ 5243103 w 6942639"/>
                <a:gd name="connsiteY5724" fmla="*/ 4616195 h 9250612"/>
                <a:gd name="connsiteX5725" fmla="*/ 5074362 w 6942639"/>
                <a:gd name="connsiteY5725" fmla="*/ 4616195 h 9250612"/>
                <a:gd name="connsiteX5726" fmla="*/ 5083323 w 6942639"/>
                <a:gd name="connsiteY5726" fmla="*/ 4625155 h 9250612"/>
                <a:gd name="connsiteX5727" fmla="*/ 5074362 w 6942639"/>
                <a:gd name="connsiteY5727" fmla="*/ 4634116 h 9250612"/>
                <a:gd name="connsiteX5728" fmla="*/ 5065402 w 6942639"/>
                <a:gd name="connsiteY5728" fmla="*/ 4625155 h 9250612"/>
                <a:gd name="connsiteX5729" fmla="*/ 5074362 w 6942639"/>
                <a:gd name="connsiteY5729" fmla="*/ 4616195 h 9250612"/>
                <a:gd name="connsiteX5730" fmla="*/ 4905620 w 6942639"/>
                <a:gd name="connsiteY5730" fmla="*/ 4616195 h 9250612"/>
                <a:gd name="connsiteX5731" fmla="*/ 4914581 w 6942639"/>
                <a:gd name="connsiteY5731" fmla="*/ 4625155 h 9250612"/>
                <a:gd name="connsiteX5732" fmla="*/ 4905620 w 6942639"/>
                <a:gd name="connsiteY5732" fmla="*/ 4634116 h 9250612"/>
                <a:gd name="connsiteX5733" fmla="*/ 4896660 w 6942639"/>
                <a:gd name="connsiteY5733" fmla="*/ 4625155 h 9250612"/>
                <a:gd name="connsiteX5734" fmla="*/ 4905620 w 6942639"/>
                <a:gd name="connsiteY5734" fmla="*/ 4616195 h 9250612"/>
                <a:gd name="connsiteX5735" fmla="*/ 4736878 w 6942639"/>
                <a:gd name="connsiteY5735" fmla="*/ 4616195 h 9250612"/>
                <a:gd name="connsiteX5736" fmla="*/ 4745839 w 6942639"/>
                <a:gd name="connsiteY5736" fmla="*/ 4625155 h 9250612"/>
                <a:gd name="connsiteX5737" fmla="*/ 4736878 w 6942639"/>
                <a:gd name="connsiteY5737" fmla="*/ 4634116 h 9250612"/>
                <a:gd name="connsiteX5738" fmla="*/ 4727918 w 6942639"/>
                <a:gd name="connsiteY5738" fmla="*/ 4625155 h 9250612"/>
                <a:gd name="connsiteX5739" fmla="*/ 4736878 w 6942639"/>
                <a:gd name="connsiteY5739" fmla="*/ 4616195 h 9250612"/>
                <a:gd name="connsiteX5740" fmla="*/ 4568137 w 6942639"/>
                <a:gd name="connsiteY5740" fmla="*/ 4616195 h 9250612"/>
                <a:gd name="connsiteX5741" fmla="*/ 4577098 w 6942639"/>
                <a:gd name="connsiteY5741" fmla="*/ 4625155 h 9250612"/>
                <a:gd name="connsiteX5742" fmla="*/ 4568137 w 6942639"/>
                <a:gd name="connsiteY5742" fmla="*/ 4634116 h 9250612"/>
                <a:gd name="connsiteX5743" fmla="*/ 4559177 w 6942639"/>
                <a:gd name="connsiteY5743" fmla="*/ 4625155 h 9250612"/>
                <a:gd name="connsiteX5744" fmla="*/ 4568137 w 6942639"/>
                <a:gd name="connsiteY5744" fmla="*/ 4616195 h 9250612"/>
                <a:gd name="connsiteX5745" fmla="*/ 4399396 w 6942639"/>
                <a:gd name="connsiteY5745" fmla="*/ 4616195 h 9250612"/>
                <a:gd name="connsiteX5746" fmla="*/ 4408357 w 6942639"/>
                <a:gd name="connsiteY5746" fmla="*/ 4625155 h 9250612"/>
                <a:gd name="connsiteX5747" fmla="*/ 4399396 w 6942639"/>
                <a:gd name="connsiteY5747" fmla="*/ 4634116 h 9250612"/>
                <a:gd name="connsiteX5748" fmla="*/ 4390436 w 6942639"/>
                <a:gd name="connsiteY5748" fmla="*/ 4625155 h 9250612"/>
                <a:gd name="connsiteX5749" fmla="*/ 4399396 w 6942639"/>
                <a:gd name="connsiteY5749" fmla="*/ 4616195 h 9250612"/>
                <a:gd name="connsiteX5750" fmla="*/ 4230654 w 6942639"/>
                <a:gd name="connsiteY5750" fmla="*/ 4616195 h 9250612"/>
                <a:gd name="connsiteX5751" fmla="*/ 4239615 w 6942639"/>
                <a:gd name="connsiteY5751" fmla="*/ 4625155 h 9250612"/>
                <a:gd name="connsiteX5752" fmla="*/ 4230654 w 6942639"/>
                <a:gd name="connsiteY5752" fmla="*/ 4634116 h 9250612"/>
                <a:gd name="connsiteX5753" fmla="*/ 4221694 w 6942639"/>
                <a:gd name="connsiteY5753" fmla="*/ 4625155 h 9250612"/>
                <a:gd name="connsiteX5754" fmla="*/ 4230654 w 6942639"/>
                <a:gd name="connsiteY5754" fmla="*/ 4616195 h 9250612"/>
                <a:gd name="connsiteX5755" fmla="*/ 4061912 w 6942639"/>
                <a:gd name="connsiteY5755" fmla="*/ 4616195 h 9250612"/>
                <a:gd name="connsiteX5756" fmla="*/ 4070873 w 6942639"/>
                <a:gd name="connsiteY5756" fmla="*/ 4625155 h 9250612"/>
                <a:gd name="connsiteX5757" fmla="*/ 4061912 w 6942639"/>
                <a:gd name="connsiteY5757" fmla="*/ 4634116 h 9250612"/>
                <a:gd name="connsiteX5758" fmla="*/ 4052952 w 6942639"/>
                <a:gd name="connsiteY5758" fmla="*/ 4625155 h 9250612"/>
                <a:gd name="connsiteX5759" fmla="*/ 4061912 w 6942639"/>
                <a:gd name="connsiteY5759" fmla="*/ 4616195 h 9250612"/>
                <a:gd name="connsiteX5760" fmla="*/ 3893170 w 6942639"/>
                <a:gd name="connsiteY5760" fmla="*/ 4616195 h 9250612"/>
                <a:gd name="connsiteX5761" fmla="*/ 3902131 w 6942639"/>
                <a:gd name="connsiteY5761" fmla="*/ 4625155 h 9250612"/>
                <a:gd name="connsiteX5762" fmla="*/ 3893170 w 6942639"/>
                <a:gd name="connsiteY5762" fmla="*/ 4634116 h 9250612"/>
                <a:gd name="connsiteX5763" fmla="*/ 3884210 w 6942639"/>
                <a:gd name="connsiteY5763" fmla="*/ 4625155 h 9250612"/>
                <a:gd name="connsiteX5764" fmla="*/ 3893170 w 6942639"/>
                <a:gd name="connsiteY5764" fmla="*/ 4616195 h 9250612"/>
                <a:gd name="connsiteX5765" fmla="*/ 3724429 w 6942639"/>
                <a:gd name="connsiteY5765" fmla="*/ 4616195 h 9250612"/>
                <a:gd name="connsiteX5766" fmla="*/ 3733390 w 6942639"/>
                <a:gd name="connsiteY5766" fmla="*/ 4625155 h 9250612"/>
                <a:gd name="connsiteX5767" fmla="*/ 3724429 w 6942639"/>
                <a:gd name="connsiteY5767" fmla="*/ 4634116 h 9250612"/>
                <a:gd name="connsiteX5768" fmla="*/ 3715469 w 6942639"/>
                <a:gd name="connsiteY5768" fmla="*/ 4625155 h 9250612"/>
                <a:gd name="connsiteX5769" fmla="*/ 3724429 w 6942639"/>
                <a:gd name="connsiteY5769" fmla="*/ 4616195 h 9250612"/>
                <a:gd name="connsiteX5770" fmla="*/ 3555688 w 6942639"/>
                <a:gd name="connsiteY5770" fmla="*/ 4616195 h 9250612"/>
                <a:gd name="connsiteX5771" fmla="*/ 3564649 w 6942639"/>
                <a:gd name="connsiteY5771" fmla="*/ 4625155 h 9250612"/>
                <a:gd name="connsiteX5772" fmla="*/ 3555688 w 6942639"/>
                <a:gd name="connsiteY5772" fmla="*/ 4634116 h 9250612"/>
                <a:gd name="connsiteX5773" fmla="*/ 3546728 w 6942639"/>
                <a:gd name="connsiteY5773" fmla="*/ 4625155 h 9250612"/>
                <a:gd name="connsiteX5774" fmla="*/ 3555688 w 6942639"/>
                <a:gd name="connsiteY5774" fmla="*/ 4616195 h 9250612"/>
                <a:gd name="connsiteX5775" fmla="*/ 3387029 w 6942639"/>
                <a:gd name="connsiteY5775" fmla="*/ 4616195 h 9250612"/>
                <a:gd name="connsiteX5776" fmla="*/ 3395989 w 6942639"/>
                <a:gd name="connsiteY5776" fmla="*/ 4625155 h 9250612"/>
                <a:gd name="connsiteX5777" fmla="*/ 3387029 w 6942639"/>
                <a:gd name="connsiteY5777" fmla="*/ 4634116 h 9250612"/>
                <a:gd name="connsiteX5778" fmla="*/ 3378027 w 6942639"/>
                <a:gd name="connsiteY5778" fmla="*/ 4625155 h 9250612"/>
                <a:gd name="connsiteX5779" fmla="*/ 3387029 w 6942639"/>
                <a:gd name="connsiteY5779" fmla="*/ 4616195 h 9250612"/>
                <a:gd name="connsiteX5780" fmla="*/ 3218270 w 6942639"/>
                <a:gd name="connsiteY5780" fmla="*/ 4616195 h 9250612"/>
                <a:gd name="connsiteX5781" fmla="*/ 3227240 w 6942639"/>
                <a:gd name="connsiteY5781" fmla="*/ 4625155 h 9250612"/>
                <a:gd name="connsiteX5782" fmla="*/ 3218270 w 6942639"/>
                <a:gd name="connsiteY5782" fmla="*/ 4634116 h 9250612"/>
                <a:gd name="connsiteX5783" fmla="*/ 3209311 w 6942639"/>
                <a:gd name="connsiteY5783" fmla="*/ 4625155 h 9250612"/>
                <a:gd name="connsiteX5784" fmla="*/ 3218270 w 6942639"/>
                <a:gd name="connsiteY5784" fmla="*/ 4616195 h 9250612"/>
                <a:gd name="connsiteX5785" fmla="*/ 3049561 w 6942639"/>
                <a:gd name="connsiteY5785" fmla="*/ 4616195 h 9250612"/>
                <a:gd name="connsiteX5786" fmla="*/ 3058508 w 6942639"/>
                <a:gd name="connsiteY5786" fmla="*/ 4625155 h 9250612"/>
                <a:gd name="connsiteX5787" fmla="*/ 3049561 w 6942639"/>
                <a:gd name="connsiteY5787" fmla="*/ 4634116 h 9250612"/>
                <a:gd name="connsiteX5788" fmla="*/ 3040591 w 6942639"/>
                <a:gd name="connsiteY5788" fmla="*/ 4625155 h 9250612"/>
                <a:gd name="connsiteX5789" fmla="*/ 3049561 w 6942639"/>
                <a:gd name="connsiteY5789" fmla="*/ 4616195 h 9250612"/>
                <a:gd name="connsiteX5790" fmla="*/ 2880828 w 6942639"/>
                <a:gd name="connsiteY5790" fmla="*/ 4616195 h 9250612"/>
                <a:gd name="connsiteX5791" fmla="*/ 2889785 w 6942639"/>
                <a:gd name="connsiteY5791" fmla="*/ 4625155 h 9250612"/>
                <a:gd name="connsiteX5792" fmla="*/ 2880828 w 6942639"/>
                <a:gd name="connsiteY5792" fmla="*/ 4634116 h 9250612"/>
                <a:gd name="connsiteX5793" fmla="*/ 2871867 w 6942639"/>
                <a:gd name="connsiteY5793" fmla="*/ 4625155 h 9250612"/>
                <a:gd name="connsiteX5794" fmla="*/ 2880828 w 6942639"/>
                <a:gd name="connsiteY5794" fmla="*/ 4616195 h 9250612"/>
                <a:gd name="connsiteX5795" fmla="*/ 2712067 w 6942639"/>
                <a:gd name="connsiteY5795" fmla="*/ 4616195 h 9250612"/>
                <a:gd name="connsiteX5796" fmla="*/ 2721050 w 6942639"/>
                <a:gd name="connsiteY5796" fmla="*/ 4625155 h 9250612"/>
                <a:gd name="connsiteX5797" fmla="*/ 2712067 w 6942639"/>
                <a:gd name="connsiteY5797" fmla="*/ 4634116 h 9250612"/>
                <a:gd name="connsiteX5798" fmla="*/ 2703111 w 6942639"/>
                <a:gd name="connsiteY5798" fmla="*/ 4625155 h 9250612"/>
                <a:gd name="connsiteX5799" fmla="*/ 2712067 w 6942639"/>
                <a:gd name="connsiteY5799" fmla="*/ 4616195 h 9250612"/>
                <a:gd name="connsiteX5800" fmla="*/ 2543369 w 6942639"/>
                <a:gd name="connsiteY5800" fmla="*/ 4616195 h 9250612"/>
                <a:gd name="connsiteX5801" fmla="*/ 2552329 w 6942639"/>
                <a:gd name="connsiteY5801" fmla="*/ 4625155 h 9250612"/>
                <a:gd name="connsiteX5802" fmla="*/ 2543369 w 6942639"/>
                <a:gd name="connsiteY5802" fmla="*/ 4634116 h 9250612"/>
                <a:gd name="connsiteX5803" fmla="*/ 2534397 w 6942639"/>
                <a:gd name="connsiteY5803" fmla="*/ 4625155 h 9250612"/>
                <a:gd name="connsiteX5804" fmla="*/ 2543369 w 6942639"/>
                <a:gd name="connsiteY5804" fmla="*/ 4616195 h 9250612"/>
                <a:gd name="connsiteX5805" fmla="*/ 2374586 w 6942639"/>
                <a:gd name="connsiteY5805" fmla="*/ 4616195 h 9250612"/>
                <a:gd name="connsiteX5806" fmla="*/ 2383579 w 6942639"/>
                <a:gd name="connsiteY5806" fmla="*/ 4625155 h 9250612"/>
                <a:gd name="connsiteX5807" fmla="*/ 2374586 w 6942639"/>
                <a:gd name="connsiteY5807" fmla="*/ 4634116 h 9250612"/>
                <a:gd name="connsiteX5808" fmla="*/ 2365620 w 6942639"/>
                <a:gd name="connsiteY5808" fmla="*/ 4625155 h 9250612"/>
                <a:gd name="connsiteX5809" fmla="*/ 2374586 w 6942639"/>
                <a:gd name="connsiteY5809" fmla="*/ 4616195 h 9250612"/>
                <a:gd name="connsiteX5810" fmla="*/ 2205875 w 6942639"/>
                <a:gd name="connsiteY5810" fmla="*/ 4616195 h 9250612"/>
                <a:gd name="connsiteX5811" fmla="*/ 2214830 w 6942639"/>
                <a:gd name="connsiteY5811" fmla="*/ 4625155 h 9250612"/>
                <a:gd name="connsiteX5812" fmla="*/ 2205875 w 6942639"/>
                <a:gd name="connsiteY5812" fmla="*/ 4634116 h 9250612"/>
                <a:gd name="connsiteX5813" fmla="*/ 2196889 w 6942639"/>
                <a:gd name="connsiteY5813" fmla="*/ 4625155 h 9250612"/>
                <a:gd name="connsiteX5814" fmla="*/ 2205875 w 6942639"/>
                <a:gd name="connsiteY5814" fmla="*/ 4616195 h 9250612"/>
                <a:gd name="connsiteX5815" fmla="*/ 2037130 w 6942639"/>
                <a:gd name="connsiteY5815" fmla="*/ 4616195 h 9250612"/>
                <a:gd name="connsiteX5816" fmla="*/ 2046076 w 6942639"/>
                <a:gd name="connsiteY5816" fmla="*/ 4625155 h 9250612"/>
                <a:gd name="connsiteX5817" fmla="*/ 2037130 w 6942639"/>
                <a:gd name="connsiteY5817" fmla="*/ 4634116 h 9250612"/>
                <a:gd name="connsiteX5818" fmla="*/ 2028184 w 6942639"/>
                <a:gd name="connsiteY5818" fmla="*/ 4625155 h 9250612"/>
                <a:gd name="connsiteX5819" fmla="*/ 2037130 w 6942639"/>
                <a:gd name="connsiteY5819" fmla="*/ 4616195 h 9250612"/>
                <a:gd name="connsiteX5820" fmla="*/ 1868413 w 6942639"/>
                <a:gd name="connsiteY5820" fmla="*/ 4616195 h 9250612"/>
                <a:gd name="connsiteX5821" fmla="*/ 1877366 w 6942639"/>
                <a:gd name="connsiteY5821" fmla="*/ 4625155 h 9250612"/>
                <a:gd name="connsiteX5822" fmla="*/ 1868413 w 6942639"/>
                <a:gd name="connsiteY5822" fmla="*/ 4634116 h 9250612"/>
                <a:gd name="connsiteX5823" fmla="*/ 1859439 w 6942639"/>
                <a:gd name="connsiteY5823" fmla="*/ 4625155 h 9250612"/>
                <a:gd name="connsiteX5824" fmla="*/ 1868413 w 6942639"/>
                <a:gd name="connsiteY5824" fmla="*/ 4616195 h 9250612"/>
                <a:gd name="connsiteX5825" fmla="*/ 1699661 w 6942639"/>
                <a:gd name="connsiteY5825" fmla="*/ 4616195 h 9250612"/>
                <a:gd name="connsiteX5826" fmla="*/ 1708630 w 6942639"/>
                <a:gd name="connsiteY5826" fmla="*/ 4625155 h 9250612"/>
                <a:gd name="connsiteX5827" fmla="*/ 1699661 w 6942639"/>
                <a:gd name="connsiteY5827" fmla="*/ 4634116 h 9250612"/>
                <a:gd name="connsiteX5828" fmla="*/ 1690698 w 6942639"/>
                <a:gd name="connsiteY5828" fmla="*/ 4625155 h 9250612"/>
                <a:gd name="connsiteX5829" fmla="*/ 1699661 w 6942639"/>
                <a:gd name="connsiteY5829" fmla="*/ 4616195 h 9250612"/>
                <a:gd name="connsiteX5830" fmla="*/ 1530921 w 6942639"/>
                <a:gd name="connsiteY5830" fmla="*/ 4616195 h 9250612"/>
                <a:gd name="connsiteX5831" fmla="*/ 1539883 w 6942639"/>
                <a:gd name="connsiteY5831" fmla="*/ 4625155 h 9250612"/>
                <a:gd name="connsiteX5832" fmla="*/ 1530921 w 6942639"/>
                <a:gd name="connsiteY5832" fmla="*/ 4634116 h 9250612"/>
                <a:gd name="connsiteX5833" fmla="*/ 1521960 w 6942639"/>
                <a:gd name="connsiteY5833" fmla="*/ 4625155 h 9250612"/>
                <a:gd name="connsiteX5834" fmla="*/ 1530921 w 6942639"/>
                <a:gd name="connsiteY5834" fmla="*/ 4616195 h 9250612"/>
                <a:gd name="connsiteX5835" fmla="*/ 1362172 w 6942639"/>
                <a:gd name="connsiteY5835" fmla="*/ 4616195 h 9250612"/>
                <a:gd name="connsiteX5836" fmla="*/ 1371134 w 6942639"/>
                <a:gd name="connsiteY5836" fmla="*/ 4625155 h 9250612"/>
                <a:gd name="connsiteX5837" fmla="*/ 1362172 w 6942639"/>
                <a:gd name="connsiteY5837" fmla="*/ 4634116 h 9250612"/>
                <a:gd name="connsiteX5838" fmla="*/ 1353211 w 6942639"/>
                <a:gd name="connsiteY5838" fmla="*/ 4625155 h 9250612"/>
                <a:gd name="connsiteX5839" fmla="*/ 1362172 w 6942639"/>
                <a:gd name="connsiteY5839" fmla="*/ 4616195 h 9250612"/>
                <a:gd name="connsiteX5840" fmla="*/ 1193431 w 6942639"/>
                <a:gd name="connsiteY5840" fmla="*/ 4616195 h 9250612"/>
                <a:gd name="connsiteX5841" fmla="*/ 1202391 w 6942639"/>
                <a:gd name="connsiteY5841" fmla="*/ 4625155 h 9250612"/>
                <a:gd name="connsiteX5842" fmla="*/ 1193431 w 6942639"/>
                <a:gd name="connsiteY5842" fmla="*/ 4634116 h 9250612"/>
                <a:gd name="connsiteX5843" fmla="*/ 1184472 w 6942639"/>
                <a:gd name="connsiteY5843" fmla="*/ 4625155 h 9250612"/>
                <a:gd name="connsiteX5844" fmla="*/ 1193431 w 6942639"/>
                <a:gd name="connsiteY5844" fmla="*/ 4616195 h 9250612"/>
                <a:gd name="connsiteX5845" fmla="*/ 1024680 w 6942639"/>
                <a:gd name="connsiteY5845" fmla="*/ 4616195 h 9250612"/>
                <a:gd name="connsiteX5846" fmla="*/ 1033646 w 6942639"/>
                <a:gd name="connsiteY5846" fmla="*/ 4625155 h 9250612"/>
                <a:gd name="connsiteX5847" fmla="*/ 1024680 w 6942639"/>
                <a:gd name="connsiteY5847" fmla="*/ 4634116 h 9250612"/>
                <a:gd name="connsiteX5848" fmla="*/ 1015720 w 6942639"/>
                <a:gd name="connsiteY5848" fmla="*/ 4625155 h 9250612"/>
                <a:gd name="connsiteX5849" fmla="*/ 1024680 w 6942639"/>
                <a:gd name="connsiteY5849" fmla="*/ 4616195 h 9250612"/>
                <a:gd name="connsiteX5850" fmla="*/ 855950 w 6942639"/>
                <a:gd name="connsiteY5850" fmla="*/ 4616195 h 9250612"/>
                <a:gd name="connsiteX5851" fmla="*/ 864910 w 6942639"/>
                <a:gd name="connsiteY5851" fmla="*/ 4625155 h 9250612"/>
                <a:gd name="connsiteX5852" fmla="*/ 855950 w 6942639"/>
                <a:gd name="connsiteY5852" fmla="*/ 4634116 h 9250612"/>
                <a:gd name="connsiteX5853" fmla="*/ 846989 w 6942639"/>
                <a:gd name="connsiteY5853" fmla="*/ 4625155 h 9250612"/>
                <a:gd name="connsiteX5854" fmla="*/ 855950 w 6942639"/>
                <a:gd name="connsiteY5854" fmla="*/ 4616195 h 9250612"/>
                <a:gd name="connsiteX5855" fmla="*/ 687210 w 6942639"/>
                <a:gd name="connsiteY5855" fmla="*/ 4616195 h 9250612"/>
                <a:gd name="connsiteX5856" fmla="*/ 696171 w 6942639"/>
                <a:gd name="connsiteY5856" fmla="*/ 4625155 h 9250612"/>
                <a:gd name="connsiteX5857" fmla="*/ 687210 w 6942639"/>
                <a:gd name="connsiteY5857" fmla="*/ 4634116 h 9250612"/>
                <a:gd name="connsiteX5858" fmla="*/ 678251 w 6942639"/>
                <a:gd name="connsiteY5858" fmla="*/ 4625155 h 9250612"/>
                <a:gd name="connsiteX5859" fmla="*/ 687210 w 6942639"/>
                <a:gd name="connsiteY5859" fmla="*/ 4616195 h 9250612"/>
                <a:gd name="connsiteX5860" fmla="*/ 518446 w 6942639"/>
                <a:gd name="connsiteY5860" fmla="*/ 4616195 h 9250612"/>
                <a:gd name="connsiteX5861" fmla="*/ 527407 w 6942639"/>
                <a:gd name="connsiteY5861" fmla="*/ 4625155 h 9250612"/>
                <a:gd name="connsiteX5862" fmla="*/ 518446 w 6942639"/>
                <a:gd name="connsiteY5862" fmla="*/ 4634116 h 9250612"/>
                <a:gd name="connsiteX5863" fmla="*/ 509486 w 6942639"/>
                <a:gd name="connsiteY5863" fmla="*/ 4625155 h 9250612"/>
                <a:gd name="connsiteX5864" fmla="*/ 518446 w 6942639"/>
                <a:gd name="connsiteY5864" fmla="*/ 4616195 h 9250612"/>
                <a:gd name="connsiteX5865" fmla="*/ 349708 w 6942639"/>
                <a:gd name="connsiteY5865" fmla="*/ 4616195 h 9250612"/>
                <a:gd name="connsiteX5866" fmla="*/ 358668 w 6942639"/>
                <a:gd name="connsiteY5866" fmla="*/ 4625155 h 9250612"/>
                <a:gd name="connsiteX5867" fmla="*/ 349708 w 6942639"/>
                <a:gd name="connsiteY5867" fmla="*/ 4634116 h 9250612"/>
                <a:gd name="connsiteX5868" fmla="*/ 340748 w 6942639"/>
                <a:gd name="connsiteY5868" fmla="*/ 4625155 h 9250612"/>
                <a:gd name="connsiteX5869" fmla="*/ 349708 w 6942639"/>
                <a:gd name="connsiteY5869" fmla="*/ 4616195 h 9250612"/>
                <a:gd name="connsiteX5870" fmla="*/ 179389 w 6942639"/>
                <a:gd name="connsiteY5870" fmla="*/ 4616195 h 9250612"/>
                <a:gd name="connsiteX5871" fmla="*/ 188350 w 6942639"/>
                <a:gd name="connsiteY5871" fmla="*/ 4625155 h 9250612"/>
                <a:gd name="connsiteX5872" fmla="*/ 179389 w 6942639"/>
                <a:gd name="connsiteY5872" fmla="*/ 4634116 h 9250612"/>
                <a:gd name="connsiteX5873" fmla="*/ 170429 w 6942639"/>
                <a:gd name="connsiteY5873" fmla="*/ 4625155 h 9250612"/>
                <a:gd name="connsiteX5874" fmla="*/ 179389 w 6942639"/>
                <a:gd name="connsiteY5874" fmla="*/ 4616195 h 9250612"/>
                <a:gd name="connsiteX5875" fmla="*/ 9072 w 6942639"/>
                <a:gd name="connsiteY5875" fmla="*/ 4616195 h 9250612"/>
                <a:gd name="connsiteX5876" fmla="*/ 18031 w 6942639"/>
                <a:gd name="connsiteY5876" fmla="*/ 4625155 h 9250612"/>
                <a:gd name="connsiteX5877" fmla="*/ 9072 w 6942639"/>
                <a:gd name="connsiteY5877" fmla="*/ 4634116 h 9250612"/>
                <a:gd name="connsiteX5878" fmla="*/ 112 w 6942639"/>
                <a:gd name="connsiteY5878" fmla="*/ 4625155 h 9250612"/>
                <a:gd name="connsiteX5879" fmla="*/ 9072 w 6942639"/>
                <a:gd name="connsiteY5879" fmla="*/ 4616195 h 9250612"/>
                <a:gd name="connsiteX5880" fmla="*/ 6933679 w 6942639"/>
                <a:gd name="connsiteY5880" fmla="*/ 4445214 h 9250612"/>
                <a:gd name="connsiteX5881" fmla="*/ 6942639 w 6942639"/>
                <a:gd name="connsiteY5881" fmla="*/ 4454174 h 9250612"/>
                <a:gd name="connsiteX5882" fmla="*/ 6933679 w 6942639"/>
                <a:gd name="connsiteY5882" fmla="*/ 4463135 h 9250612"/>
                <a:gd name="connsiteX5883" fmla="*/ 6924718 w 6942639"/>
                <a:gd name="connsiteY5883" fmla="*/ 4454174 h 9250612"/>
                <a:gd name="connsiteX5884" fmla="*/ 6933679 w 6942639"/>
                <a:gd name="connsiteY5884" fmla="*/ 4445214 h 9250612"/>
                <a:gd name="connsiteX5885" fmla="*/ 6763357 w 6942639"/>
                <a:gd name="connsiteY5885" fmla="*/ 4445214 h 9250612"/>
                <a:gd name="connsiteX5886" fmla="*/ 6772318 w 6942639"/>
                <a:gd name="connsiteY5886" fmla="*/ 4454174 h 9250612"/>
                <a:gd name="connsiteX5887" fmla="*/ 6763357 w 6942639"/>
                <a:gd name="connsiteY5887" fmla="*/ 4463135 h 9250612"/>
                <a:gd name="connsiteX5888" fmla="*/ 6754397 w 6942639"/>
                <a:gd name="connsiteY5888" fmla="*/ 4454174 h 9250612"/>
                <a:gd name="connsiteX5889" fmla="*/ 6763357 w 6942639"/>
                <a:gd name="connsiteY5889" fmla="*/ 4445214 h 9250612"/>
                <a:gd name="connsiteX5890" fmla="*/ 6593035 w 6942639"/>
                <a:gd name="connsiteY5890" fmla="*/ 4445214 h 9250612"/>
                <a:gd name="connsiteX5891" fmla="*/ 6601996 w 6942639"/>
                <a:gd name="connsiteY5891" fmla="*/ 4454174 h 9250612"/>
                <a:gd name="connsiteX5892" fmla="*/ 6593035 w 6942639"/>
                <a:gd name="connsiteY5892" fmla="*/ 4463135 h 9250612"/>
                <a:gd name="connsiteX5893" fmla="*/ 6584075 w 6942639"/>
                <a:gd name="connsiteY5893" fmla="*/ 4454174 h 9250612"/>
                <a:gd name="connsiteX5894" fmla="*/ 6593035 w 6942639"/>
                <a:gd name="connsiteY5894" fmla="*/ 4445214 h 9250612"/>
                <a:gd name="connsiteX5895" fmla="*/ 6424294 w 6942639"/>
                <a:gd name="connsiteY5895" fmla="*/ 4445214 h 9250612"/>
                <a:gd name="connsiteX5896" fmla="*/ 6433255 w 6942639"/>
                <a:gd name="connsiteY5896" fmla="*/ 4454174 h 9250612"/>
                <a:gd name="connsiteX5897" fmla="*/ 6424294 w 6942639"/>
                <a:gd name="connsiteY5897" fmla="*/ 4463135 h 9250612"/>
                <a:gd name="connsiteX5898" fmla="*/ 6415334 w 6942639"/>
                <a:gd name="connsiteY5898" fmla="*/ 4454174 h 9250612"/>
                <a:gd name="connsiteX5899" fmla="*/ 6424294 w 6942639"/>
                <a:gd name="connsiteY5899" fmla="*/ 4445214 h 9250612"/>
                <a:gd name="connsiteX5900" fmla="*/ 6255553 w 6942639"/>
                <a:gd name="connsiteY5900" fmla="*/ 4445214 h 9250612"/>
                <a:gd name="connsiteX5901" fmla="*/ 6264514 w 6942639"/>
                <a:gd name="connsiteY5901" fmla="*/ 4454174 h 9250612"/>
                <a:gd name="connsiteX5902" fmla="*/ 6255553 w 6942639"/>
                <a:gd name="connsiteY5902" fmla="*/ 4463135 h 9250612"/>
                <a:gd name="connsiteX5903" fmla="*/ 6246593 w 6942639"/>
                <a:gd name="connsiteY5903" fmla="*/ 4454174 h 9250612"/>
                <a:gd name="connsiteX5904" fmla="*/ 6255553 w 6942639"/>
                <a:gd name="connsiteY5904" fmla="*/ 4445214 h 9250612"/>
                <a:gd name="connsiteX5905" fmla="*/ 6086811 w 6942639"/>
                <a:gd name="connsiteY5905" fmla="*/ 4445214 h 9250612"/>
                <a:gd name="connsiteX5906" fmla="*/ 6095772 w 6942639"/>
                <a:gd name="connsiteY5906" fmla="*/ 4454174 h 9250612"/>
                <a:gd name="connsiteX5907" fmla="*/ 6086811 w 6942639"/>
                <a:gd name="connsiteY5907" fmla="*/ 4463135 h 9250612"/>
                <a:gd name="connsiteX5908" fmla="*/ 6077851 w 6942639"/>
                <a:gd name="connsiteY5908" fmla="*/ 4454174 h 9250612"/>
                <a:gd name="connsiteX5909" fmla="*/ 6086811 w 6942639"/>
                <a:gd name="connsiteY5909" fmla="*/ 4445214 h 9250612"/>
                <a:gd name="connsiteX5910" fmla="*/ 5918069 w 6942639"/>
                <a:gd name="connsiteY5910" fmla="*/ 4445214 h 9250612"/>
                <a:gd name="connsiteX5911" fmla="*/ 5927030 w 6942639"/>
                <a:gd name="connsiteY5911" fmla="*/ 4454174 h 9250612"/>
                <a:gd name="connsiteX5912" fmla="*/ 5918069 w 6942639"/>
                <a:gd name="connsiteY5912" fmla="*/ 4463135 h 9250612"/>
                <a:gd name="connsiteX5913" fmla="*/ 5909109 w 6942639"/>
                <a:gd name="connsiteY5913" fmla="*/ 4454174 h 9250612"/>
                <a:gd name="connsiteX5914" fmla="*/ 5918069 w 6942639"/>
                <a:gd name="connsiteY5914" fmla="*/ 4445214 h 9250612"/>
                <a:gd name="connsiteX5915" fmla="*/ 5749328 w 6942639"/>
                <a:gd name="connsiteY5915" fmla="*/ 4445214 h 9250612"/>
                <a:gd name="connsiteX5916" fmla="*/ 5758289 w 6942639"/>
                <a:gd name="connsiteY5916" fmla="*/ 4454174 h 9250612"/>
                <a:gd name="connsiteX5917" fmla="*/ 5749328 w 6942639"/>
                <a:gd name="connsiteY5917" fmla="*/ 4463135 h 9250612"/>
                <a:gd name="connsiteX5918" fmla="*/ 5740368 w 6942639"/>
                <a:gd name="connsiteY5918" fmla="*/ 4454174 h 9250612"/>
                <a:gd name="connsiteX5919" fmla="*/ 5749328 w 6942639"/>
                <a:gd name="connsiteY5919" fmla="*/ 4445214 h 9250612"/>
                <a:gd name="connsiteX5920" fmla="*/ 5580586 w 6942639"/>
                <a:gd name="connsiteY5920" fmla="*/ 4445214 h 9250612"/>
                <a:gd name="connsiteX5921" fmla="*/ 5589547 w 6942639"/>
                <a:gd name="connsiteY5921" fmla="*/ 4454174 h 9250612"/>
                <a:gd name="connsiteX5922" fmla="*/ 5580586 w 6942639"/>
                <a:gd name="connsiteY5922" fmla="*/ 4463135 h 9250612"/>
                <a:gd name="connsiteX5923" fmla="*/ 5571626 w 6942639"/>
                <a:gd name="connsiteY5923" fmla="*/ 4454174 h 9250612"/>
                <a:gd name="connsiteX5924" fmla="*/ 5580586 w 6942639"/>
                <a:gd name="connsiteY5924" fmla="*/ 4445214 h 9250612"/>
                <a:gd name="connsiteX5925" fmla="*/ 5411845 w 6942639"/>
                <a:gd name="connsiteY5925" fmla="*/ 4445214 h 9250612"/>
                <a:gd name="connsiteX5926" fmla="*/ 5420806 w 6942639"/>
                <a:gd name="connsiteY5926" fmla="*/ 4454174 h 9250612"/>
                <a:gd name="connsiteX5927" fmla="*/ 5411845 w 6942639"/>
                <a:gd name="connsiteY5927" fmla="*/ 4463135 h 9250612"/>
                <a:gd name="connsiteX5928" fmla="*/ 5402885 w 6942639"/>
                <a:gd name="connsiteY5928" fmla="*/ 4454174 h 9250612"/>
                <a:gd name="connsiteX5929" fmla="*/ 5411845 w 6942639"/>
                <a:gd name="connsiteY5929" fmla="*/ 4445214 h 9250612"/>
                <a:gd name="connsiteX5930" fmla="*/ 5243103 w 6942639"/>
                <a:gd name="connsiteY5930" fmla="*/ 4445214 h 9250612"/>
                <a:gd name="connsiteX5931" fmla="*/ 5252064 w 6942639"/>
                <a:gd name="connsiteY5931" fmla="*/ 4454174 h 9250612"/>
                <a:gd name="connsiteX5932" fmla="*/ 5243103 w 6942639"/>
                <a:gd name="connsiteY5932" fmla="*/ 4463135 h 9250612"/>
                <a:gd name="connsiteX5933" fmla="*/ 5234143 w 6942639"/>
                <a:gd name="connsiteY5933" fmla="*/ 4454174 h 9250612"/>
                <a:gd name="connsiteX5934" fmla="*/ 5243103 w 6942639"/>
                <a:gd name="connsiteY5934" fmla="*/ 4445214 h 9250612"/>
                <a:gd name="connsiteX5935" fmla="*/ 5074362 w 6942639"/>
                <a:gd name="connsiteY5935" fmla="*/ 4445214 h 9250612"/>
                <a:gd name="connsiteX5936" fmla="*/ 5083323 w 6942639"/>
                <a:gd name="connsiteY5936" fmla="*/ 4454174 h 9250612"/>
                <a:gd name="connsiteX5937" fmla="*/ 5074362 w 6942639"/>
                <a:gd name="connsiteY5937" fmla="*/ 4463135 h 9250612"/>
                <a:gd name="connsiteX5938" fmla="*/ 5065402 w 6942639"/>
                <a:gd name="connsiteY5938" fmla="*/ 4454174 h 9250612"/>
                <a:gd name="connsiteX5939" fmla="*/ 5074362 w 6942639"/>
                <a:gd name="connsiteY5939" fmla="*/ 4445214 h 9250612"/>
                <a:gd name="connsiteX5940" fmla="*/ 4905620 w 6942639"/>
                <a:gd name="connsiteY5940" fmla="*/ 4445214 h 9250612"/>
                <a:gd name="connsiteX5941" fmla="*/ 4914581 w 6942639"/>
                <a:gd name="connsiteY5941" fmla="*/ 4454174 h 9250612"/>
                <a:gd name="connsiteX5942" fmla="*/ 4905620 w 6942639"/>
                <a:gd name="connsiteY5942" fmla="*/ 4463135 h 9250612"/>
                <a:gd name="connsiteX5943" fmla="*/ 4896660 w 6942639"/>
                <a:gd name="connsiteY5943" fmla="*/ 4454174 h 9250612"/>
                <a:gd name="connsiteX5944" fmla="*/ 4905620 w 6942639"/>
                <a:gd name="connsiteY5944" fmla="*/ 4445214 h 9250612"/>
                <a:gd name="connsiteX5945" fmla="*/ 4736878 w 6942639"/>
                <a:gd name="connsiteY5945" fmla="*/ 4445214 h 9250612"/>
                <a:gd name="connsiteX5946" fmla="*/ 4745839 w 6942639"/>
                <a:gd name="connsiteY5946" fmla="*/ 4454174 h 9250612"/>
                <a:gd name="connsiteX5947" fmla="*/ 4736878 w 6942639"/>
                <a:gd name="connsiteY5947" fmla="*/ 4463135 h 9250612"/>
                <a:gd name="connsiteX5948" fmla="*/ 4727918 w 6942639"/>
                <a:gd name="connsiteY5948" fmla="*/ 4454174 h 9250612"/>
                <a:gd name="connsiteX5949" fmla="*/ 4736878 w 6942639"/>
                <a:gd name="connsiteY5949" fmla="*/ 4445214 h 9250612"/>
                <a:gd name="connsiteX5950" fmla="*/ 4568137 w 6942639"/>
                <a:gd name="connsiteY5950" fmla="*/ 4445214 h 9250612"/>
                <a:gd name="connsiteX5951" fmla="*/ 4577098 w 6942639"/>
                <a:gd name="connsiteY5951" fmla="*/ 4454174 h 9250612"/>
                <a:gd name="connsiteX5952" fmla="*/ 4568137 w 6942639"/>
                <a:gd name="connsiteY5952" fmla="*/ 4463135 h 9250612"/>
                <a:gd name="connsiteX5953" fmla="*/ 4559177 w 6942639"/>
                <a:gd name="connsiteY5953" fmla="*/ 4454174 h 9250612"/>
                <a:gd name="connsiteX5954" fmla="*/ 4568137 w 6942639"/>
                <a:gd name="connsiteY5954" fmla="*/ 4445214 h 9250612"/>
                <a:gd name="connsiteX5955" fmla="*/ 4399396 w 6942639"/>
                <a:gd name="connsiteY5955" fmla="*/ 4445214 h 9250612"/>
                <a:gd name="connsiteX5956" fmla="*/ 4408357 w 6942639"/>
                <a:gd name="connsiteY5956" fmla="*/ 4454174 h 9250612"/>
                <a:gd name="connsiteX5957" fmla="*/ 4399396 w 6942639"/>
                <a:gd name="connsiteY5957" fmla="*/ 4463135 h 9250612"/>
                <a:gd name="connsiteX5958" fmla="*/ 4390436 w 6942639"/>
                <a:gd name="connsiteY5958" fmla="*/ 4454174 h 9250612"/>
                <a:gd name="connsiteX5959" fmla="*/ 4399396 w 6942639"/>
                <a:gd name="connsiteY5959" fmla="*/ 4445214 h 9250612"/>
                <a:gd name="connsiteX5960" fmla="*/ 4230654 w 6942639"/>
                <a:gd name="connsiteY5960" fmla="*/ 4445214 h 9250612"/>
                <a:gd name="connsiteX5961" fmla="*/ 4239615 w 6942639"/>
                <a:gd name="connsiteY5961" fmla="*/ 4454174 h 9250612"/>
                <a:gd name="connsiteX5962" fmla="*/ 4230654 w 6942639"/>
                <a:gd name="connsiteY5962" fmla="*/ 4463135 h 9250612"/>
                <a:gd name="connsiteX5963" fmla="*/ 4221694 w 6942639"/>
                <a:gd name="connsiteY5963" fmla="*/ 4454174 h 9250612"/>
                <a:gd name="connsiteX5964" fmla="*/ 4230654 w 6942639"/>
                <a:gd name="connsiteY5964" fmla="*/ 4445214 h 9250612"/>
                <a:gd name="connsiteX5965" fmla="*/ 4061912 w 6942639"/>
                <a:gd name="connsiteY5965" fmla="*/ 4445214 h 9250612"/>
                <a:gd name="connsiteX5966" fmla="*/ 4070873 w 6942639"/>
                <a:gd name="connsiteY5966" fmla="*/ 4454174 h 9250612"/>
                <a:gd name="connsiteX5967" fmla="*/ 4061912 w 6942639"/>
                <a:gd name="connsiteY5967" fmla="*/ 4463135 h 9250612"/>
                <a:gd name="connsiteX5968" fmla="*/ 4052952 w 6942639"/>
                <a:gd name="connsiteY5968" fmla="*/ 4454174 h 9250612"/>
                <a:gd name="connsiteX5969" fmla="*/ 4061912 w 6942639"/>
                <a:gd name="connsiteY5969" fmla="*/ 4445214 h 9250612"/>
                <a:gd name="connsiteX5970" fmla="*/ 3893170 w 6942639"/>
                <a:gd name="connsiteY5970" fmla="*/ 4445214 h 9250612"/>
                <a:gd name="connsiteX5971" fmla="*/ 3902131 w 6942639"/>
                <a:gd name="connsiteY5971" fmla="*/ 4454174 h 9250612"/>
                <a:gd name="connsiteX5972" fmla="*/ 3893170 w 6942639"/>
                <a:gd name="connsiteY5972" fmla="*/ 4463135 h 9250612"/>
                <a:gd name="connsiteX5973" fmla="*/ 3884210 w 6942639"/>
                <a:gd name="connsiteY5973" fmla="*/ 4454174 h 9250612"/>
                <a:gd name="connsiteX5974" fmla="*/ 3893170 w 6942639"/>
                <a:gd name="connsiteY5974" fmla="*/ 4445214 h 9250612"/>
                <a:gd name="connsiteX5975" fmla="*/ 3724429 w 6942639"/>
                <a:gd name="connsiteY5975" fmla="*/ 4445214 h 9250612"/>
                <a:gd name="connsiteX5976" fmla="*/ 3733390 w 6942639"/>
                <a:gd name="connsiteY5976" fmla="*/ 4454174 h 9250612"/>
                <a:gd name="connsiteX5977" fmla="*/ 3724429 w 6942639"/>
                <a:gd name="connsiteY5977" fmla="*/ 4463135 h 9250612"/>
                <a:gd name="connsiteX5978" fmla="*/ 3715469 w 6942639"/>
                <a:gd name="connsiteY5978" fmla="*/ 4454174 h 9250612"/>
                <a:gd name="connsiteX5979" fmla="*/ 3724429 w 6942639"/>
                <a:gd name="connsiteY5979" fmla="*/ 4445214 h 9250612"/>
                <a:gd name="connsiteX5980" fmla="*/ 3555688 w 6942639"/>
                <a:gd name="connsiteY5980" fmla="*/ 4445214 h 9250612"/>
                <a:gd name="connsiteX5981" fmla="*/ 3564649 w 6942639"/>
                <a:gd name="connsiteY5981" fmla="*/ 4454174 h 9250612"/>
                <a:gd name="connsiteX5982" fmla="*/ 3555688 w 6942639"/>
                <a:gd name="connsiteY5982" fmla="*/ 4463135 h 9250612"/>
                <a:gd name="connsiteX5983" fmla="*/ 3546728 w 6942639"/>
                <a:gd name="connsiteY5983" fmla="*/ 4454174 h 9250612"/>
                <a:gd name="connsiteX5984" fmla="*/ 3555688 w 6942639"/>
                <a:gd name="connsiteY5984" fmla="*/ 4445214 h 9250612"/>
                <a:gd name="connsiteX5985" fmla="*/ 3387032 w 6942639"/>
                <a:gd name="connsiteY5985" fmla="*/ 4445214 h 9250612"/>
                <a:gd name="connsiteX5986" fmla="*/ 3395992 w 6942639"/>
                <a:gd name="connsiteY5986" fmla="*/ 4454174 h 9250612"/>
                <a:gd name="connsiteX5987" fmla="*/ 3387032 w 6942639"/>
                <a:gd name="connsiteY5987" fmla="*/ 4463135 h 9250612"/>
                <a:gd name="connsiteX5988" fmla="*/ 3378029 w 6942639"/>
                <a:gd name="connsiteY5988" fmla="*/ 4454174 h 9250612"/>
                <a:gd name="connsiteX5989" fmla="*/ 3387032 w 6942639"/>
                <a:gd name="connsiteY5989" fmla="*/ 4445214 h 9250612"/>
                <a:gd name="connsiteX5990" fmla="*/ 3218273 w 6942639"/>
                <a:gd name="connsiteY5990" fmla="*/ 4445214 h 9250612"/>
                <a:gd name="connsiteX5991" fmla="*/ 3227243 w 6942639"/>
                <a:gd name="connsiteY5991" fmla="*/ 4454174 h 9250612"/>
                <a:gd name="connsiteX5992" fmla="*/ 3218273 w 6942639"/>
                <a:gd name="connsiteY5992" fmla="*/ 4463135 h 9250612"/>
                <a:gd name="connsiteX5993" fmla="*/ 3209312 w 6942639"/>
                <a:gd name="connsiteY5993" fmla="*/ 4454174 h 9250612"/>
                <a:gd name="connsiteX5994" fmla="*/ 3218273 w 6942639"/>
                <a:gd name="connsiteY5994" fmla="*/ 4445214 h 9250612"/>
                <a:gd name="connsiteX5995" fmla="*/ 3049564 w 6942639"/>
                <a:gd name="connsiteY5995" fmla="*/ 4445214 h 9250612"/>
                <a:gd name="connsiteX5996" fmla="*/ 3058511 w 6942639"/>
                <a:gd name="connsiteY5996" fmla="*/ 4454174 h 9250612"/>
                <a:gd name="connsiteX5997" fmla="*/ 3049564 w 6942639"/>
                <a:gd name="connsiteY5997" fmla="*/ 4463135 h 9250612"/>
                <a:gd name="connsiteX5998" fmla="*/ 3040594 w 6942639"/>
                <a:gd name="connsiteY5998" fmla="*/ 4454174 h 9250612"/>
                <a:gd name="connsiteX5999" fmla="*/ 3049564 w 6942639"/>
                <a:gd name="connsiteY5999" fmla="*/ 4445214 h 9250612"/>
                <a:gd name="connsiteX6000" fmla="*/ 2880832 w 6942639"/>
                <a:gd name="connsiteY6000" fmla="*/ 4445214 h 9250612"/>
                <a:gd name="connsiteX6001" fmla="*/ 2889789 w 6942639"/>
                <a:gd name="connsiteY6001" fmla="*/ 4454174 h 9250612"/>
                <a:gd name="connsiteX6002" fmla="*/ 2880832 w 6942639"/>
                <a:gd name="connsiteY6002" fmla="*/ 4463135 h 9250612"/>
                <a:gd name="connsiteX6003" fmla="*/ 2871871 w 6942639"/>
                <a:gd name="connsiteY6003" fmla="*/ 4454174 h 9250612"/>
                <a:gd name="connsiteX6004" fmla="*/ 2880832 w 6942639"/>
                <a:gd name="connsiteY6004" fmla="*/ 4445214 h 9250612"/>
                <a:gd name="connsiteX6005" fmla="*/ 2712070 w 6942639"/>
                <a:gd name="connsiteY6005" fmla="*/ 4445214 h 9250612"/>
                <a:gd name="connsiteX6006" fmla="*/ 2721053 w 6942639"/>
                <a:gd name="connsiteY6006" fmla="*/ 4454174 h 9250612"/>
                <a:gd name="connsiteX6007" fmla="*/ 2712070 w 6942639"/>
                <a:gd name="connsiteY6007" fmla="*/ 4463135 h 9250612"/>
                <a:gd name="connsiteX6008" fmla="*/ 2703114 w 6942639"/>
                <a:gd name="connsiteY6008" fmla="*/ 4454174 h 9250612"/>
                <a:gd name="connsiteX6009" fmla="*/ 2712070 w 6942639"/>
                <a:gd name="connsiteY6009" fmla="*/ 4445214 h 9250612"/>
                <a:gd name="connsiteX6010" fmla="*/ 2543373 w 6942639"/>
                <a:gd name="connsiteY6010" fmla="*/ 4445214 h 9250612"/>
                <a:gd name="connsiteX6011" fmla="*/ 2552333 w 6942639"/>
                <a:gd name="connsiteY6011" fmla="*/ 4454174 h 9250612"/>
                <a:gd name="connsiteX6012" fmla="*/ 2543373 w 6942639"/>
                <a:gd name="connsiteY6012" fmla="*/ 4463135 h 9250612"/>
                <a:gd name="connsiteX6013" fmla="*/ 2534401 w 6942639"/>
                <a:gd name="connsiteY6013" fmla="*/ 4454174 h 9250612"/>
                <a:gd name="connsiteX6014" fmla="*/ 2543373 w 6942639"/>
                <a:gd name="connsiteY6014" fmla="*/ 4445214 h 9250612"/>
                <a:gd name="connsiteX6015" fmla="*/ 2374589 w 6942639"/>
                <a:gd name="connsiteY6015" fmla="*/ 4445214 h 9250612"/>
                <a:gd name="connsiteX6016" fmla="*/ 2383584 w 6942639"/>
                <a:gd name="connsiteY6016" fmla="*/ 4454174 h 9250612"/>
                <a:gd name="connsiteX6017" fmla="*/ 2374589 w 6942639"/>
                <a:gd name="connsiteY6017" fmla="*/ 4463135 h 9250612"/>
                <a:gd name="connsiteX6018" fmla="*/ 2365623 w 6942639"/>
                <a:gd name="connsiteY6018" fmla="*/ 4454174 h 9250612"/>
                <a:gd name="connsiteX6019" fmla="*/ 2374589 w 6942639"/>
                <a:gd name="connsiteY6019" fmla="*/ 4445214 h 9250612"/>
                <a:gd name="connsiteX6020" fmla="*/ 2205879 w 6942639"/>
                <a:gd name="connsiteY6020" fmla="*/ 4445214 h 9250612"/>
                <a:gd name="connsiteX6021" fmla="*/ 2214834 w 6942639"/>
                <a:gd name="connsiteY6021" fmla="*/ 4454174 h 9250612"/>
                <a:gd name="connsiteX6022" fmla="*/ 2205879 w 6942639"/>
                <a:gd name="connsiteY6022" fmla="*/ 4463135 h 9250612"/>
                <a:gd name="connsiteX6023" fmla="*/ 2196892 w 6942639"/>
                <a:gd name="connsiteY6023" fmla="*/ 4454174 h 9250612"/>
                <a:gd name="connsiteX6024" fmla="*/ 2205879 w 6942639"/>
                <a:gd name="connsiteY6024" fmla="*/ 4445214 h 9250612"/>
                <a:gd name="connsiteX6025" fmla="*/ 2037134 w 6942639"/>
                <a:gd name="connsiteY6025" fmla="*/ 4445214 h 9250612"/>
                <a:gd name="connsiteX6026" fmla="*/ 2046080 w 6942639"/>
                <a:gd name="connsiteY6026" fmla="*/ 4454174 h 9250612"/>
                <a:gd name="connsiteX6027" fmla="*/ 2037134 w 6942639"/>
                <a:gd name="connsiteY6027" fmla="*/ 4463135 h 9250612"/>
                <a:gd name="connsiteX6028" fmla="*/ 2028188 w 6942639"/>
                <a:gd name="connsiteY6028" fmla="*/ 4454174 h 9250612"/>
                <a:gd name="connsiteX6029" fmla="*/ 2037134 w 6942639"/>
                <a:gd name="connsiteY6029" fmla="*/ 4445214 h 9250612"/>
                <a:gd name="connsiteX6030" fmla="*/ 1868418 w 6942639"/>
                <a:gd name="connsiteY6030" fmla="*/ 4445214 h 9250612"/>
                <a:gd name="connsiteX6031" fmla="*/ 1877370 w 6942639"/>
                <a:gd name="connsiteY6031" fmla="*/ 4454174 h 9250612"/>
                <a:gd name="connsiteX6032" fmla="*/ 1868418 w 6942639"/>
                <a:gd name="connsiteY6032" fmla="*/ 4463135 h 9250612"/>
                <a:gd name="connsiteX6033" fmla="*/ 1859444 w 6942639"/>
                <a:gd name="connsiteY6033" fmla="*/ 4454174 h 9250612"/>
                <a:gd name="connsiteX6034" fmla="*/ 1868418 w 6942639"/>
                <a:gd name="connsiteY6034" fmla="*/ 4445214 h 9250612"/>
                <a:gd name="connsiteX6035" fmla="*/ 1699667 w 6942639"/>
                <a:gd name="connsiteY6035" fmla="*/ 4445214 h 9250612"/>
                <a:gd name="connsiteX6036" fmla="*/ 1708635 w 6942639"/>
                <a:gd name="connsiteY6036" fmla="*/ 4454174 h 9250612"/>
                <a:gd name="connsiteX6037" fmla="*/ 1699667 w 6942639"/>
                <a:gd name="connsiteY6037" fmla="*/ 4463135 h 9250612"/>
                <a:gd name="connsiteX6038" fmla="*/ 1690703 w 6942639"/>
                <a:gd name="connsiteY6038" fmla="*/ 4454174 h 9250612"/>
                <a:gd name="connsiteX6039" fmla="*/ 1699667 w 6942639"/>
                <a:gd name="connsiteY6039" fmla="*/ 4445214 h 9250612"/>
                <a:gd name="connsiteX6040" fmla="*/ 1530926 w 6942639"/>
                <a:gd name="connsiteY6040" fmla="*/ 4445214 h 9250612"/>
                <a:gd name="connsiteX6041" fmla="*/ 1539888 w 6942639"/>
                <a:gd name="connsiteY6041" fmla="*/ 4454174 h 9250612"/>
                <a:gd name="connsiteX6042" fmla="*/ 1530926 w 6942639"/>
                <a:gd name="connsiteY6042" fmla="*/ 4463135 h 9250612"/>
                <a:gd name="connsiteX6043" fmla="*/ 1521965 w 6942639"/>
                <a:gd name="connsiteY6043" fmla="*/ 4454174 h 9250612"/>
                <a:gd name="connsiteX6044" fmla="*/ 1530926 w 6942639"/>
                <a:gd name="connsiteY6044" fmla="*/ 4445214 h 9250612"/>
                <a:gd name="connsiteX6045" fmla="*/ 1362177 w 6942639"/>
                <a:gd name="connsiteY6045" fmla="*/ 4445214 h 9250612"/>
                <a:gd name="connsiteX6046" fmla="*/ 1371138 w 6942639"/>
                <a:gd name="connsiteY6046" fmla="*/ 4454174 h 9250612"/>
                <a:gd name="connsiteX6047" fmla="*/ 1362177 w 6942639"/>
                <a:gd name="connsiteY6047" fmla="*/ 4463135 h 9250612"/>
                <a:gd name="connsiteX6048" fmla="*/ 1353216 w 6942639"/>
                <a:gd name="connsiteY6048" fmla="*/ 4454174 h 9250612"/>
                <a:gd name="connsiteX6049" fmla="*/ 1362177 w 6942639"/>
                <a:gd name="connsiteY6049" fmla="*/ 4445214 h 9250612"/>
                <a:gd name="connsiteX6050" fmla="*/ 1193435 w 6942639"/>
                <a:gd name="connsiteY6050" fmla="*/ 4445214 h 9250612"/>
                <a:gd name="connsiteX6051" fmla="*/ 1202396 w 6942639"/>
                <a:gd name="connsiteY6051" fmla="*/ 4454174 h 9250612"/>
                <a:gd name="connsiteX6052" fmla="*/ 1193435 w 6942639"/>
                <a:gd name="connsiteY6052" fmla="*/ 4463135 h 9250612"/>
                <a:gd name="connsiteX6053" fmla="*/ 1184477 w 6942639"/>
                <a:gd name="connsiteY6053" fmla="*/ 4454174 h 9250612"/>
                <a:gd name="connsiteX6054" fmla="*/ 1193435 w 6942639"/>
                <a:gd name="connsiteY6054" fmla="*/ 4445214 h 9250612"/>
                <a:gd name="connsiteX6055" fmla="*/ 1024683 w 6942639"/>
                <a:gd name="connsiteY6055" fmla="*/ 4445214 h 9250612"/>
                <a:gd name="connsiteX6056" fmla="*/ 1033650 w 6942639"/>
                <a:gd name="connsiteY6056" fmla="*/ 4454174 h 9250612"/>
                <a:gd name="connsiteX6057" fmla="*/ 1024683 w 6942639"/>
                <a:gd name="connsiteY6057" fmla="*/ 4463135 h 9250612"/>
                <a:gd name="connsiteX6058" fmla="*/ 1015724 w 6942639"/>
                <a:gd name="connsiteY6058" fmla="*/ 4454174 h 9250612"/>
                <a:gd name="connsiteX6059" fmla="*/ 1024683 w 6942639"/>
                <a:gd name="connsiteY6059" fmla="*/ 4445214 h 9250612"/>
                <a:gd name="connsiteX6060" fmla="*/ 855955 w 6942639"/>
                <a:gd name="connsiteY6060" fmla="*/ 4445214 h 9250612"/>
                <a:gd name="connsiteX6061" fmla="*/ 864915 w 6942639"/>
                <a:gd name="connsiteY6061" fmla="*/ 4454174 h 9250612"/>
                <a:gd name="connsiteX6062" fmla="*/ 855955 w 6942639"/>
                <a:gd name="connsiteY6062" fmla="*/ 4463135 h 9250612"/>
                <a:gd name="connsiteX6063" fmla="*/ 846994 w 6942639"/>
                <a:gd name="connsiteY6063" fmla="*/ 4454174 h 9250612"/>
                <a:gd name="connsiteX6064" fmla="*/ 855955 w 6942639"/>
                <a:gd name="connsiteY6064" fmla="*/ 4445214 h 9250612"/>
                <a:gd name="connsiteX6065" fmla="*/ 687215 w 6942639"/>
                <a:gd name="connsiteY6065" fmla="*/ 4445214 h 9250612"/>
                <a:gd name="connsiteX6066" fmla="*/ 696175 w 6942639"/>
                <a:gd name="connsiteY6066" fmla="*/ 4454174 h 9250612"/>
                <a:gd name="connsiteX6067" fmla="*/ 687215 w 6942639"/>
                <a:gd name="connsiteY6067" fmla="*/ 4463135 h 9250612"/>
                <a:gd name="connsiteX6068" fmla="*/ 678256 w 6942639"/>
                <a:gd name="connsiteY6068" fmla="*/ 4454174 h 9250612"/>
                <a:gd name="connsiteX6069" fmla="*/ 687215 w 6942639"/>
                <a:gd name="connsiteY6069" fmla="*/ 4445214 h 9250612"/>
                <a:gd name="connsiteX6070" fmla="*/ 518450 w 6942639"/>
                <a:gd name="connsiteY6070" fmla="*/ 4445214 h 9250612"/>
                <a:gd name="connsiteX6071" fmla="*/ 527410 w 6942639"/>
                <a:gd name="connsiteY6071" fmla="*/ 4454174 h 9250612"/>
                <a:gd name="connsiteX6072" fmla="*/ 518450 w 6942639"/>
                <a:gd name="connsiteY6072" fmla="*/ 4463135 h 9250612"/>
                <a:gd name="connsiteX6073" fmla="*/ 509490 w 6942639"/>
                <a:gd name="connsiteY6073" fmla="*/ 4454174 h 9250612"/>
                <a:gd name="connsiteX6074" fmla="*/ 518450 w 6942639"/>
                <a:gd name="connsiteY6074" fmla="*/ 4445214 h 9250612"/>
                <a:gd name="connsiteX6075" fmla="*/ 349712 w 6942639"/>
                <a:gd name="connsiteY6075" fmla="*/ 4445214 h 9250612"/>
                <a:gd name="connsiteX6076" fmla="*/ 358672 w 6942639"/>
                <a:gd name="connsiteY6076" fmla="*/ 4454174 h 9250612"/>
                <a:gd name="connsiteX6077" fmla="*/ 349712 w 6942639"/>
                <a:gd name="connsiteY6077" fmla="*/ 4463135 h 9250612"/>
                <a:gd name="connsiteX6078" fmla="*/ 340752 w 6942639"/>
                <a:gd name="connsiteY6078" fmla="*/ 4454174 h 9250612"/>
                <a:gd name="connsiteX6079" fmla="*/ 349712 w 6942639"/>
                <a:gd name="connsiteY6079" fmla="*/ 4445214 h 9250612"/>
                <a:gd name="connsiteX6080" fmla="*/ 179393 w 6942639"/>
                <a:gd name="connsiteY6080" fmla="*/ 4445214 h 9250612"/>
                <a:gd name="connsiteX6081" fmla="*/ 188354 w 6942639"/>
                <a:gd name="connsiteY6081" fmla="*/ 4454174 h 9250612"/>
                <a:gd name="connsiteX6082" fmla="*/ 179393 w 6942639"/>
                <a:gd name="connsiteY6082" fmla="*/ 4463135 h 9250612"/>
                <a:gd name="connsiteX6083" fmla="*/ 170433 w 6942639"/>
                <a:gd name="connsiteY6083" fmla="*/ 4454174 h 9250612"/>
                <a:gd name="connsiteX6084" fmla="*/ 179393 w 6942639"/>
                <a:gd name="connsiteY6084" fmla="*/ 4445214 h 9250612"/>
                <a:gd name="connsiteX6085" fmla="*/ 9076 w 6942639"/>
                <a:gd name="connsiteY6085" fmla="*/ 4445214 h 9250612"/>
                <a:gd name="connsiteX6086" fmla="*/ 18035 w 6942639"/>
                <a:gd name="connsiteY6086" fmla="*/ 4454174 h 9250612"/>
                <a:gd name="connsiteX6087" fmla="*/ 9076 w 6942639"/>
                <a:gd name="connsiteY6087" fmla="*/ 4463135 h 9250612"/>
                <a:gd name="connsiteX6088" fmla="*/ 116 w 6942639"/>
                <a:gd name="connsiteY6088" fmla="*/ 4454174 h 9250612"/>
                <a:gd name="connsiteX6089" fmla="*/ 9076 w 6942639"/>
                <a:gd name="connsiteY6089" fmla="*/ 4445214 h 9250612"/>
                <a:gd name="connsiteX6090" fmla="*/ 6933679 w 6942639"/>
                <a:gd name="connsiteY6090" fmla="*/ 4274233 h 9250612"/>
                <a:gd name="connsiteX6091" fmla="*/ 6942639 w 6942639"/>
                <a:gd name="connsiteY6091" fmla="*/ 4283193 h 9250612"/>
                <a:gd name="connsiteX6092" fmla="*/ 6933679 w 6942639"/>
                <a:gd name="connsiteY6092" fmla="*/ 4292154 h 9250612"/>
                <a:gd name="connsiteX6093" fmla="*/ 6924718 w 6942639"/>
                <a:gd name="connsiteY6093" fmla="*/ 4283193 h 9250612"/>
                <a:gd name="connsiteX6094" fmla="*/ 6933679 w 6942639"/>
                <a:gd name="connsiteY6094" fmla="*/ 4274233 h 9250612"/>
                <a:gd name="connsiteX6095" fmla="*/ 6763357 w 6942639"/>
                <a:gd name="connsiteY6095" fmla="*/ 4274233 h 9250612"/>
                <a:gd name="connsiteX6096" fmla="*/ 6772318 w 6942639"/>
                <a:gd name="connsiteY6096" fmla="*/ 4283193 h 9250612"/>
                <a:gd name="connsiteX6097" fmla="*/ 6763357 w 6942639"/>
                <a:gd name="connsiteY6097" fmla="*/ 4292154 h 9250612"/>
                <a:gd name="connsiteX6098" fmla="*/ 6754397 w 6942639"/>
                <a:gd name="connsiteY6098" fmla="*/ 4283193 h 9250612"/>
                <a:gd name="connsiteX6099" fmla="*/ 6763357 w 6942639"/>
                <a:gd name="connsiteY6099" fmla="*/ 4274233 h 9250612"/>
                <a:gd name="connsiteX6100" fmla="*/ 6593035 w 6942639"/>
                <a:gd name="connsiteY6100" fmla="*/ 4274233 h 9250612"/>
                <a:gd name="connsiteX6101" fmla="*/ 6601996 w 6942639"/>
                <a:gd name="connsiteY6101" fmla="*/ 4283193 h 9250612"/>
                <a:gd name="connsiteX6102" fmla="*/ 6593035 w 6942639"/>
                <a:gd name="connsiteY6102" fmla="*/ 4292154 h 9250612"/>
                <a:gd name="connsiteX6103" fmla="*/ 6584075 w 6942639"/>
                <a:gd name="connsiteY6103" fmla="*/ 4283193 h 9250612"/>
                <a:gd name="connsiteX6104" fmla="*/ 6593035 w 6942639"/>
                <a:gd name="connsiteY6104" fmla="*/ 4274233 h 9250612"/>
                <a:gd name="connsiteX6105" fmla="*/ 6424294 w 6942639"/>
                <a:gd name="connsiteY6105" fmla="*/ 4274233 h 9250612"/>
                <a:gd name="connsiteX6106" fmla="*/ 6433255 w 6942639"/>
                <a:gd name="connsiteY6106" fmla="*/ 4283193 h 9250612"/>
                <a:gd name="connsiteX6107" fmla="*/ 6424294 w 6942639"/>
                <a:gd name="connsiteY6107" fmla="*/ 4292154 h 9250612"/>
                <a:gd name="connsiteX6108" fmla="*/ 6415334 w 6942639"/>
                <a:gd name="connsiteY6108" fmla="*/ 4283193 h 9250612"/>
                <a:gd name="connsiteX6109" fmla="*/ 6424294 w 6942639"/>
                <a:gd name="connsiteY6109" fmla="*/ 4274233 h 9250612"/>
                <a:gd name="connsiteX6110" fmla="*/ 6255553 w 6942639"/>
                <a:gd name="connsiteY6110" fmla="*/ 4274233 h 9250612"/>
                <a:gd name="connsiteX6111" fmla="*/ 6264514 w 6942639"/>
                <a:gd name="connsiteY6111" fmla="*/ 4283193 h 9250612"/>
                <a:gd name="connsiteX6112" fmla="*/ 6255553 w 6942639"/>
                <a:gd name="connsiteY6112" fmla="*/ 4292154 h 9250612"/>
                <a:gd name="connsiteX6113" fmla="*/ 6246593 w 6942639"/>
                <a:gd name="connsiteY6113" fmla="*/ 4283193 h 9250612"/>
                <a:gd name="connsiteX6114" fmla="*/ 6255553 w 6942639"/>
                <a:gd name="connsiteY6114" fmla="*/ 4274233 h 9250612"/>
                <a:gd name="connsiteX6115" fmla="*/ 6086811 w 6942639"/>
                <a:gd name="connsiteY6115" fmla="*/ 4274233 h 9250612"/>
                <a:gd name="connsiteX6116" fmla="*/ 6095772 w 6942639"/>
                <a:gd name="connsiteY6116" fmla="*/ 4283193 h 9250612"/>
                <a:gd name="connsiteX6117" fmla="*/ 6086811 w 6942639"/>
                <a:gd name="connsiteY6117" fmla="*/ 4292154 h 9250612"/>
                <a:gd name="connsiteX6118" fmla="*/ 6077851 w 6942639"/>
                <a:gd name="connsiteY6118" fmla="*/ 4283193 h 9250612"/>
                <a:gd name="connsiteX6119" fmla="*/ 6086811 w 6942639"/>
                <a:gd name="connsiteY6119" fmla="*/ 4274233 h 9250612"/>
                <a:gd name="connsiteX6120" fmla="*/ 5918069 w 6942639"/>
                <a:gd name="connsiteY6120" fmla="*/ 4274233 h 9250612"/>
                <a:gd name="connsiteX6121" fmla="*/ 5927030 w 6942639"/>
                <a:gd name="connsiteY6121" fmla="*/ 4283193 h 9250612"/>
                <a:gd name="connsiteX6122" fmla="*/ 5918069 w 6942639"/>
                <a:gd name="connsiteY6122" fmla="*/ 4292154 h 9250612"/>
                <a:gd name="connsiteX6123" fmla="*/ 5909109 w 6942639"/>
                <a:gd name="connsiteY6123" fmla="*/ 4283193 h 9250612"/>
                <a:gd name="connsiteX6124" fmla="*/ 5918069 w 6942639"/>
                <a:gd name="connsiteY6124" fmla="*/ 4274233 h 9250612"/>
                <a:gd name="connsiteX6125" fmla="*/ 5749328 w 6942639"/>
                <a:gd name="connsiteY6125" fmla="*/ 4274233 h 9250612"/>
                <a:gd name="connsiteX6126" fmla="*/ 5758289 w 6942639"/>
                <a:gd name="connsiteY6126" fmla="*/ 4283193 h 9250612"/>
                <a:gd name="connsiteX6127" fmla="*/ 5749328 w 6942639"/>
                <a:gd name="connsiteY6127" fmla="*/ 4292154 h 9250612"/>
                <a:gd name="connsiteX6128" fmla="*/ 5740368 w 6942639"/>
                <a:gd name="connsiteY6128" fmla="*/ 4283193 h 9250612"/>
                <a:gd name="connsiteX6129" fmla="*/ 5749328 w 6942639"/>
                <a:gd name="connsiteY6129" fmla="*/ 4274233 h 9250612"/>
                <a:gd name="connsiteX6130" fmla="*/ 5580586 w 6942639"/>
                <a:gd name="connsiteY6130" fmla="*/ 4274233 h 9250612"/>
                <a:gd name="connsiteX6131" fmla="*/ 5589547 w 6942639"/>
                <a:gd name="connsiteY6131" fmla="*/ 4283193 h 9250612"/>
                <a:gd name="connsiteX6132" fmla="*/ 5580586 w 6942639"/>
                <a:gd name="connsiteY6132" fmla="*/ 4292154 h 9250612"/>
                <a:gd name="connsiteX6133" fmla="*/ 5571626 w 6942639"/>
                <a:gd name="connsiteY6133" fmla="*/ 4283193 h 9250612"/>
                <a:gd name="connsiteX6134" fmla="*/ 5580586 w 6942639"/>
                <a:gd name="connsiteY6134" fmla="*/ 4274233 h 9250612"/>
                <a:gd name="connsiteX6135" fmla="*/ 5411845 w 6942639"/>
                <a:gd name="connsiteY6135" fmla="*/ 4274233 h 9250612"/>
                <a:gd name="connsiteX6136" fmla="*/ 5420806 w 6942639"/>
                <a:gd name="connsiteY6136" fmla="*/ 4283193 h 9250612"/>
                <a:gd name="connsiteX6137" fmla="*/ 5411845 w 6942639"/>
                <a:gd name="connsiteY6137" fmla="*/ 4292154 h 9250612"/>
                <a:gd name="connsiteX6138" fmla="*/ 5402885 w 6942639"/>
                <a:gd name="connsiteY6138" fmla="*/ 4283193 h 9250612"/>
                <a:gd name="connsiteX6139" fmla="*/ 5411845 w 6942639"/>
                <a:gd name="connsiteY6139" fmla="*/ 4274233 h 9250612"/>
                <a:gd name="connsiteX6140" fmla="*/ 5243103 w 6942639"/>
                <a:gd name="connsiteY6140" fmla="*/ 4274233 h 9250612"/>
                <a:gd name="connsiteX6141" fmla="*/ 5252064 w 6942639"/>
                <a:gd name="connsiteY6141" fmla="*/ 4283193 h 9250612"/>
                <a:gd name="connsiteX6142" fmla="*/ 5243103 w 6942639"/>
                <a:gd name="connsiteY6142" fmla="*/ 4292154 h 9250612"/>
                <a:gd name="connsiteX6143" fmla="*/ 5234143 w 6942639"/>
                <a:gd name="connsiteY6143" fmla="*/ 4283193 h 9250612"/>
                <a:gd name="connsiteX6144" fmla="*/ 5243103 w 6942639"/>
                <a:gd name="connsiteY6144" fmla="*/ 4274233 h 9250612"/>
                <a:gd name="connsiteX6145" fmla="*/ 5074362 w 6942639"/>
                <a:gd name="connsiteY6145" fmla="*/ 4274233 h 9250612"/>
                <a:gd name="connsiteX6146" fmla="*/ 5083323 w 6942639"/>
                <a:gd name="connsiteY6146" fmla="*/ 4283193 h 9250612"/>
                <a:gd name="connsiteX6147" fmla="*/ 5074362 w 6942639"/>
                <a:gd name="connsiteY6147" fmla="*/ 4292154 h 9250612"/>
                <a:gd name="connsiteX6148" fmla="*/ 5065402 w 6942639"/>
                <a:gd name="connsiteY6148" fmla="*/ 4283193 h 9250612"/>
                <a:gd name="connsiteX6149" fmla="*/ 5074362 w 6942639"/>
                <a:gd name="connsiteY6149" fmla="*/ 4274233 h 9250612"/>
                <a:gd name="connsiteX6150" fmla="*/ 4905620 w 6942639"/>
                <a:gd name="connsiteY6150" fmla="*/ 4274233 h 9250612"/>
                <a:gd name="connsiteX6151" fmla="*/ 4914581 w 6942639"/>
                <a:gd name="connsiteY6151" fmla="*/ 4283193 h 9250612"/>
                <a:gd name="connsiteX6152" fmla="*/ 4905620 w 6942639"/>
                <a:gd name="connsiteY6152" fmla="*/ 4292154 h 9250612"/>
                <a:gd name="connsiteX6153" fmla="*/ 4896660 w 6942639"/>
                <a:gd name="connsiteY6153" fmla="*/ 4283193 h 9250612"/>
                <a:gd name="connsiteX6154" fmla="*/ 4905620 w 6942639"/>
                <a:gd name="connsiteY6154" fmla="*/ 4274233 h 9250612"/>
                <a:gd name="connsiteX6155" fmla="*/ 4736878 w 6942639"/>
                <a:gd name="connsiteY6155" fmla="*/ 4274233 h 9250612"/>
                <a:gd name="connsiteX6156" fmla="*/ 4745839 w 6942639"/>
                <a:gd name="connsiteY6156" fmla="*/ 4283193 h 9250612"/>
                <a:gd name="connsiteX6157" fmla="*/ 4736878 w 6942639"/>
                <a:gd name="connsiteY6157" fmla="*/ 4292154 h 9250612"/>
                <a:gd name="connsiteX6158" fmla="*/ 4727918 w 6942639"/>
                <a:gd name="connsiteY6158" fmla="*/ 4283193 h 9250612"/>
                <a:gd name="connsiteX6159" fmla="*/ 4736878 w 6942639"/>
                <a:gd name="connsiteY6159" fmla="*/ 4274233 h 9250612"/>
                <a:gd name="connsiteX6160" fmla="*/ 4568137 w 6942639"/>
                <a:gd name="connsiteY6160" fmla="*/ 4274233 h 9250612"/>
                <a:gd name="connsiteX6161" fmla="*/ 4577098 w 6942639"/>
                <a:gd name="connsiteY6161" fmla="*/ 4283193 h 9250612"/>
                <a:gd name="connsiteX6162" fmla="*/ 4568137 w 6942639"/>
                <a:gd name="connsiteY6162" fmla="*/ 4292154 h 9250612"/>
                <a:gd name="connsiteX6163" fmla="*/ 4559177 w 6942639"/>
                <a:gd name="connsiteY6163" fmla="*/ 4283193 h 9250612"/>
                <a:gd name="connsiteX6164" fmla="*/ 4568137 w 6942639"/>
                <a:gd name="connsiteY6164" fmla="*/ 4274233 h 9250612"/>
                <a:gd name="connsiteX6165" fmla="*/ 4399396 w 6942639"/>
                <a:gd name="connsiteY6165" fmla="*/ 4274233 h 9250612"/>
                <a:gd name="connsiteX6166" fmla="*/ 4408357 w 6942639"/>
                <a:gd name="connsiteY6166" fmla="*/ 4283193 h 9250612"/>
                <a:gd name="connsiteX6167" fmla="*/ 4399396 w 6942639"/>
                <a:gd name="connsiteY6167" fmla="*/ 4292154 h 9250612"/>
                <a:gd name="connsiteX6168" fmla="*/ 4390436 w 6942639"/>
                <a:gd name="connsiteY6168" fmla="*/ 4283193 h 9250612"/>
                <a:gd name="connsiteX6169" fmla="*/ 4399396 w 6942639"/>
                <a:gd name="connsiteY6169" fmla="*/ 4274233 h 9250612"/>
                <a:gd name="connsiteX6170" fmla="*/ 4230654 w 6942639"/>
                <a:gd name="connsiteY6170" fmla="*/ 4274233 h 9250612"/>
                <a:gd name="connsiteX6171" fmla="*/ 4239615 w 6942639"/>
                <a:gd name="connsiteY6171" fmla="*/ 4283193 h 9250612"/>
                <a:gd name="connsiteX6172" fmla="*/ 4230654 w 6942639"/>
                <a:gd name="connsiteY6172" fmla="*/ 4292154 h 9250612"/>
                <a:gd name="connsiteX6173" fmla="*/ 4221694 w 6942639"/>
                <a:gd name="connsiteY6173" fmla="*/ 4283193 h 9250612"/>
                <a:gd name="connsiteX6174" fmla="*/ 4230654 w 6942639"/>
                <a:gd name="connsiteY6174" fmla="*/ 4274233 h 9250612"/>
                <a:gd name="connsiteX6175" fmla="*/ 4061912 w 6942639"/>
                <a:gd name="connsiteY6175" fmla="*/ 4274233 h 9250612"/>
                <a:gd name="connsiteX6176" fmla="*/ 4070873 w 6942639"/>
                <a:gd name="connsiteY6176" fmla="*/ 4283193 h 9250612"/>
                <a:gd name="connsiteX6177" fmla="*/ 4061912 w 6942639"/>
                <a:gd name="connsiteY6177" fmla="*/ 4292154 h 9250612"/>
                <a:gd name="connsiteX6178" fmla="*/ 4052952 w 6942639"/>
                <a:gd name="connsiteY6178" fmla="*/ 4283193 h 9250612"/>
                <a:gd name="connsiteX6179" fmla="*/ 4061912 w 6942639"/>
                <a:gd name="connsiteY6179" fmla="*/ 4274233 h 9250612"/>
                <a:gd name="connsiteX6180" fmla="*/ 3893170 w 6942639"/>
                <a:gd name="connsiteY6180" fmla="*/ 4274233 h 9250612"/>
                <a:gd name="connsiteX6181" fmla="*/ 3902131 w 6942639"/>
                <a:gd name="connsiteY6181" fmla="*/ 4283193 h 9250612"/>
                <a:gd name="connsiteX6182" fmla="*/ 3893170 w 6942639"/>
                <a:gd name="connsiteY6182" fmla="*/ 4292154 h 9250612"/>
                <a:gd name="connsiteX6183" fmla="*/ 3884210 w 6942639"/>
                <a:gd name="connsiteY6183" fmla="*/ 4283193 h 9250612"/>
                <a:gd name="connsiteX6184" fmla="*/ 3893170 w 6942639"/>
                <a:gd name="connsiteY6184" fmla="*/ 4274233 h 9250612"/>
                <a:gd name="connsiteX6185" fmla="*/ 3724429 w 6942639"/>
                <a:gd name="connsiteY6185" fmla="*/ 4274233 h 9250612"/>
                <a:gd name="connsiteX6186" fmla="*/ 3733390 w 6942639"/>
                <a:gd name="connsiteY6186" fmla="*/ 4283193 h 9250612"/>
                <a:gd name="connsiteX6187" fmla="*/ 3724429 w 6942639"/>
                <a:gd name="connsiteY6187" fmla="*/ 4292154 h 9250612"/>
                <a:gd name="connsiteX6188" fmla="*/ 3715469 w 6942639"/>
                <a:gd name="connsiteY6188" fmla="*/ 4283193 h 9250612"/>
                <a:gd name="connsiteX6189" fmla="*/ 3724429 w 6942639"/>
                <a:gd name="connsiteY6189" fmla="*/ 4274233 h 9250612"/>
                <a:gd name="connsiteX6190" fmla="*/ 3555688 w 6942639"/>
                <a:gd name="connsiteY6190" fmla="*/ 4274233 h 9250612"/>
                <a:gd name="connsiteX6191" fmla="*/ 3564649 w 6942639"/>
                <a:gd name="connsiteY6191" fmla="*/ 4283193 h 9250612"/>
                <a:gd name="connsiteX6192" fmla="*/ 3555688 w 6942639"/>
                <a:gd name="connsiteY6192" fmla="*/ 4292154 h 9250612"/>
                <a:gd name="connsiteX6193" fmla="*/ 3546728 w 6942639"/>
                <a:gd name="connsiteY6193" fmla="*/ 4283193 h 9250612"/>
                <a:gd name="connsiteX6194" fmla="*/ 3555688 w 6942639"/>
                <a:gd name="connsiteY6194" fmla="*/ 4274233 h 9250612"/>
                <a:gd name="connsiteX6195" fmla="*/ 3387035 w 6942639"/>
                <a:gd name="connsiteY6195" fmla="*/ 4274233 h 9250612"/>
                <a:gd name="connsiteX6196" fmla="*/ 3395995 w 6942639"/>
                <a:gd name="connsiteY6196" fmla="*/ 4283193 h 9250612"/>
                <a:gd name="connsiteX6197" fmla="*/ 3387035 w 6942639"/>
                <a:gd name="connsiteY6197" fmla="*/ 4292154 h 9250612"/>
                <a:gd name="connsiteX6198" fmla="*/ 3378030 w 6942639"/>
                <a:gd name="connsiteY6198" fmla="*/ 4283193 h 9250612"/>
                <a:gd name="connsiteX6199" fmla="*/ 3387035 w 6942639"/>
                <a:gd name="connsiteY6199" fmla="*/ 4274233 h 9250612"/>
                <a:gd name="connsiteX6200" fmla="*/ 3218276 w 6942639"/>
                <a:gd name="connsiteY6200" fmla="*/ 4274233 h 9250612"/>
                <a:gd name="connsiteX6201" fmla="*/ 3227246 w 6942639"/>
                <a:gd name="connsiteY6201" fmla="*/ 4283193 h 9250612"/>
                <a:gd name="connsiteX6202" fmla="*/ 3218276 w 6942639"/>
                <a:gd name="connsiteY6202" fmla="*/ 4292154 h 9250612"/>
                <a:gd name="connsiteX6203" fmla="*/ 3209314 w 6942639"/>
                <a:gd name="connsiteY6203" fmla="*/ 4283193 h 9250612"/>
                <a:gd name="connsiteX6204" fmla="*/ 3218276 w 6942639"/>
                <a:gd name="connsiteY6204" fmla="*/ 4274233 h 9250612"/>
                <a:gd name="connsiteX6205" fmla="*/ 3049567 w 6942639"/>
                <a:gd name="connsiteY6205" fmla="*/ 4274233 h 9250612"/>
                <a:gd name="connsiteX6206" fmla="*/ 3058514 w 6942639"/>
                <a:gd name="connsiteY6206" fmla="*/ 4283193 h 9250612"/>
                <a:gd name="connsiteX6207" fmla="*/ 3049567 w 6942639"/>
                <a:gd name="connsiteY6207" fmla="*/ 4292154 h 9250612"/>
                <a:gd name="connsiteX6208" fmla="*/ 3040597 w 6942639"/>
                <a:gd name="connsiteY6208" fmla="*/ 4283193 h 9250612"/>
                <a:gd name="connsiteX6209" fmla="*/ 3049567 w 6942639"/>
                <a:gd name="connsiteY6209" fmla="*/ 4274233 h 9250612"/>
                <a:gd name="connsiteX6210" fmla="*/ 2880835 w 6942639"/>
                <a:gd name="connsiteY6210" fmla="*/ 4274233 h 9250612"/>
                <a:gd name="connsiteX6211" fmla="*/ 2889793 w 6942639"/>
                <a:gd name="connsiteY6211" fmla="*/ 4283193 h 9250612"/>
                <a:gd name="connsiteX6212" fmla="*/ 2880835 w 6942639"/>
                <a:gd name="connsiteY6212" fmla="*/ 4292154 h 9250612"/>
                <a:gd name="connsiteX6213" fmla="*/ 2871875 w 6942639"/>
                <a:gd name="connsiteY6213" fmla="*/ 4283193 h 9250612"/>
                <a:gd name="connsiteX6214" fmla="*/ 2880835 w 6942639"/>
                <a:gd name="connsiteY6214" fmla="*/ 4274233 h 9250612"/>
                <a:gd name="connsiteX6215" fmla="*/ 2712073 w 6942639"/>
                <a:gd name="connsiteY6215" fmla="*/ 4274233 h 9250612"/>
                <a:gd name="connsiteX6216" fmla="*/ 2721056 w 6942639"/>
                <a:gd name="connsiteY6216" fmla="*/ 4283193 h 9250612"/>
                <a:gd name="connsiteX6217" fmla="*/ 2712073 w 6942639"/>
                <a:gd name="connsiteY6217" fmla="*/ 4292154 h 9250612"/>
                <a:gd name="connsiteX6218" fmla="*/ 2703117 w 6942639"/>
                <a:gd name="connsiteY6218" fmla="*/ 4283193 h 9250612"/>
                <a:gd name="connsiteX6219" fmla="*/ 2712073 w 6942639"/>
                <a:gd name="connsiteY6219" fmla="*/ 4274233 h 9250612"/>
                <a:gd name="connsiteX6220" fmla="*/ 2543378 w 6942639"/>
                <a:gd name="connsiteY6220" fmla="*/ 4274233 h 9250612"/>
                <a:gd name="connsiteX6221" fmla="*/ 2552338 w 6942639"/>
                <a:gd name="connsiteY6221" fmla="*/ 4283193 h 9250612"/>
                <a:gd name="connsiteX6222" fmla="*/ 2543378 w 6942639"/>
                <a:gd name="connsiteY6222" fmla="*/ 4292154 h 9250612"/>
                <a:gd name="connsiteX6223" fmla="*/ 2534406 w 6942639"/>
                <a:gd name="connsiteY6223" fmla="*/ 4283193 h 9250612"/>
                <a:gd name="connsiteX6224" fmla="*/ 2543378 w 6942639"/>
                <a:gd name="connsiteY6224" fmla="*/ 4274233 h 9250612"/>
                <a:gd name="connsiteX6225" fmla="*/ 2374592 w 6942639"/>
                <a:gd name="connsiteY6225" fmla="*/ 4274233 h 9250612"/>
                <a:gd name="connsiteX6226" fmla="*/ 2383588 w 6942639"/>
                <a:gd name="connsiteY6226" fmla="*/ 4283193 h 9250612"/>
                <a:gd name="connsiteX6227" fmla="*/ 2374592 w 6942639"/>
                <a:gd name="connsiteY6227" fmla="*/ 4292154 h 9250612"/>
                <a:gd name="connsiteX6228" fmla="*/ 2365628 w 6942639"/>
                <a:gd name="connsiteY6228" fmla="*/ 4283193 h 9250612"/>
                <a:gd name="connsiteX6229" fmla="*/ 2374592 w 6942639"/>
                <a:gd name="connsiteY6229" fmla="*/ 4274233 h 9250612"/>
                <a:gd name="connsiteX6230" fmla="*/ 2205883 w 6942639"/>
                <a:gd name="connsiteY6230" fmla="*/ 4274233 h 9250612"/>
                <a:gd name="connsiteX6231" fmla="*/ 2214838 w 6942639"/>
                <a:gd name="connsiteY6231" fmla="*/ 4283193 h 9250612"/>
                <a:gd name="connsiteX6232" fmla="*/ 2205883 w 6942639"/>
                <a:gd name="connsiteY6232" fmla="*/ 4292154 h 9250612"/>
                <a:gd name="connsiteX6233" fmla="*/ 2196895 w 6942639"/>
                <a:gd name="connsiteY6233" fmla="*/ 4283193 h 9250612"/>
                <a:gd name="connsiteX6234" fmla="*/ 2205883 w 6942639"/>
                <a:gd name="connsiteY6234" fmla="*/ 4274233 h 9250612"/>
                <a:gd name="connsiteX6235" fmla="*/ 2037139 w 6942639"/>
                <a:gd name="connsiteY6235" fmla="*/ 4274233 h 9250612"/>
                <a:gd name="connsiteX6236" fmla="*/ 2046083 w 6942639"/>
                <a:gd name="connsiteY6236" fmla="*/ 4283193 h 9250612"/>
                <a:gd name="connsiteX6237" fmla="*/ 2037139 w 6942639"/>
                <a:gd name="connsiteY6237" fmla="*/ 4292154 h 9250612"/>
                <a:gd name="connsiteX6238" fmla="*/ 2028193 w 6942639"/>
                <a:gd name="connsiteY6238" fmla="*/ 4283193 h 9250612"/>
                <a:gd name="connsiteX6239" fmla="*/ 2037139 w 6942639"/>
                <a:gd name="connsiteY6239" fmla="*/ 4274233 h 9250612"/>
                <a:gd name="connsiteX6240" fmla="*/ 1868424 w 6942639"/>
                <a:gd name="connsiteY6240" fmla="*/ 4274233 h 9250612"/>
                <a:gd name="connsiteX6241" fmla="*/ 1877375 w 6942639"/>
                <a:gd name="connsiteY6241" fmla="*/ 4283193 h 9250612"/>
                <a:gd name="connsiteX6242" fmla="*/ 1868424 w 6942639"/>
                <a:gd name="connsiteY6242" fmla="*/ 4292154 h 9250612"/>
                <a:gd name="connsiteX6243" fmla="*/ 1859448 w 6942639"/>
                <a:gd name="connsiteY6243" fmla="*/ 4283193 h 9250612"/>
                <a:gd name="connsiteX6244" fmla="*/ 1868424 w 6942639"/>
                <a:gd name="connsiteY6244" fmla="*/ 4274233 h 9250612"/>
                <a:gd name="connsiteX6245" fmla="*/ 1699672 w 6942639"/>
                <a:gd name="connsiteY6245" fmla="*/ 4274233 h 9250612"/>
                <a:gd name="connsiteX6246" fmla="*/ 1708639 w 6942639"/>
                <a:gd name="connsiteY6246" fmla="*/ 4283193 h 9250612"/>
                <a:gd name="connsiteX6247" fmla="*/ 1699672 w 6942639"/>
                <a:gd name="connsiteY6247" fmla="*/ 4292154 h 9250612"/>
                <a:gd name="connsiteX6248" fmla="*/ 1690707 w 6942639"/>
                <a:gd name="connsiteY6248" fmla="*/ 4283193 h 9250612"/>
                <a:gd name="connsiteX6249" fmla="*/ 1699672 w 6942639"/>
                <a:gd name="connsiteY6249" fmla="*/ 4274233 h 9250612"/>
                <a:gd name="connsiteX6250" fmla="*/ 1530931 w 6942639"/>
                <a:gd name="connsiteY6250" fmla="*/ 4274233 h 9250612"/>
                <a:gd name="connsiteX6251" fmla="*/ 1539893 w 6942639"/>
                <a:gd name="connsiteY6251" fmla="*/ 4283193 h 9250612"/>
                <a:gd name="connsiteX6252" fmla="*/ 1530931 w 6942639"/>
                <a:gd name="connsiteY6252" fmla="*/ 4292154 h 9250612"/>
                <a:gd name="connsiteX6253" fmla="*/ 1521969 w 6942639"/>
                <a:gd name="connsiteY6253" fmla="*/ 4283193 h 9250612"/>
                <a:gd name="connsiteX6254" fmla="*/ 1530931 w 6942639"/>
                <a:gd name="connsiteY6254" fmla="*/ 4274233 h 9250612"/>
                <a:gd name="connsiteX6255" fmla="*/ 1362181 w 6942639"/>
                <a:gd name="connsiteY6255" fmla="*/ 4274233 h 9250612"/>
                <a:gd name="connsiteX6256" fmla="*/ 1371143 w 6942639"/>
                <a:gd name="connsiteY6256" fmla="*/ 4283193 h 9250612"/>
                <a:gd name="connsiteX6257" fmla="*/ 1362181 w 6942639"/>
                <a:gd name="connsiteY6257" fmla="*/ 4292154 h 9250612"/>
                <a:gd name="connsiteX6258" fmla="*/ 1353220 w 6942639"/>
                <a:gd name="connsiteY6258" fmla="*/ 4283193 h 9250612"/>
                <a:gd name="connsiteX6259" fmla="*/ 1362181 w 6942639"/>
                <a:gd name="connsiteY6259" fmla="*/ 4274233 h 9250612"/>
                <a:gd name="connsiteX6260" fmla="*/ 1193440 w 6942639"/>
                <a:gd name="connsiteY6260" fmla="*/ 4274233 h 9250612"/>
                <a:gd name="connsiteX6261" fmla="*/ 1202400 w 6942639"/>
                <a:gd name="connsiteY6261" fmla="*/ 4283193 h 9250612"/>
                <a:gd name="connsiteX6262" fmla="*/ 1193440 w 6942639"/>
                <a:gd name="connsiteY6262" fmla="*/ 4292154 h 9250612"/>
                <a:gd name="connsiteX6263" fmla="*/ 1184481 w 6942639"/>
                <a:gd name="connsiteY6263" fmla="*/ 4283193 h 9250612"/>
                <a:gd name="connsiteX6264" fmla="*/ 1193440 w 6942639"/>
                <a:gd name="connsiteY6264" fmla="*/ 4274233 h 9250612"/>
                <a:gd name="connsiteX6265" fmla="*/ 1024688 w 6942639"/>
                <a:gd name="connsiteY6265" fmla="*/ 4274233 h 9250612"/>
                <a:gd name="connsiteX6266" fmla="*/ 1033654 w 6942639"/>
                <a:gd name="connsiteY6266" fmla="*/ 4283193 h 9250612"/>
                <a:gd name="connsiteX6267" fmla="*/ 1024688 w 6942639"/>
                <a:gd name="connsiteY6267" fmla="*/ 4292154 h 9250612"/>
                <a:gd name="connsiteX6268" fmla="*/ 1015729 w 6942639"/>
                <a:gd name="connsiteY6268" fmla="*/ 4283193 h 9250612"/>
                <a:gd name="connsiteX6269" fmla="*/ 1024688 w 6942639"/>
                <a:gd name="connsiteY6269" fmla="*/ 4274233 h 9250612"/>
                <a:gd name="connsiteX6270" fmla="*/ 855959 w 6942639"/>
                <a:gd name="connsiteY6270" fmla="*/ 4274233 h 9250612"/>
                <a:gd name="connsiteX6271" fmla="*/ 864919 w 6942639"/>
                <a:gd name="connsiteY6271" fmla="*/ 4283193 h 9250612"/>
                <a:gd name="connsiteX6272" fmla="*/ 855959 w 6942639"/>
                <a:gd name="connsiteY6272" fmla="*/ 4292154 h 9250612"/>
                <a:gd name="connsiteX6273" fmla="*/ 846998 w 6942639"/>
                <a:gd name="connsiteY6273" fmla="*/ 4283193 h 9250612"/>
                <a:gd name="connsiteX6274" fmla="*/ 855959 w 6942639"/>
                <a:gd name="connsiteY6274" fmla="*/ 4274233 h 9250612"/>
                <a:gd name="connsiteX6275" fmla="*/ 687219 w 6942639"/>
                <a:gd name="connsiteY6275" fmla="*/ 4274233 h 9250612"/>
                <a:gd name="connsiteX6276" fmla="*/ 696180 w 6942639"/>
                <a:gd name="connsiteY6276" fmla="*/ 4283193 h 9250612"/>
                <a:gd name="connsiteX6277" fmla="*/ 687219 w 6942639"/>
                <a:gd name="connsiteY6277" fmla="*/ 4292154 h 9250612"/>
                <a:gd name="connsiteX6278" fmla="*/ 678260 w 6942639"/>
                <a:gd name="connsiteY6278" fmla="*/ 4283193 h 9250612"/>
                <a:gd name="connsiteX6279" fmla="*/ 687219 w 6942639"/>
                <a:gd name="connsiteY6279" fmla="*/ 4274233 h 9250612"/>
                <a:gd name="connsiteX6280" fmla="*/ 518454 w 6942639"/>
                <a:gd name="connsiteY6280" fmla="*/ 4274233 h 9250612"/>
                <a:gd name="connsiteX6281" fmla="*/ 527414 w 6942639"/>
                <a:gd name="connsiteY6281" fmla="*/ 4283193 h 9250612"/>
                <a:gd name="connsiteX6282" fmla="*/ 518454 w 6942639"/>
                <a:gd name="connsiteY6282" fmla="*/ 4292154 h 9250612"/>
                <a:gd name="connsiteX6283" fmla="*/ 509493 w 6942639"/>
                <a:gd name="connsiteY6283" fmla="*/ 4283193 h 9250612"/>
                <a:gd name="connsiteX6284" fmla="*/ 518454 w 6942639"/>
                <a:gd name="connsiteY6284" fmla="*/ 4274233 h 9250612"/>
                <a:gd name="connsiteX6285" fmla="*/ 349715 w 6942639"/>
                <a:gd name="connsiteY6285" fmla="*/ 4274233 h 9250612"/>
                <a:gd name="connsiteX6286" fmla="*/ 358676 w 6942639"/>
                <a:gd name="connsiteY6286" fmla="*/ 4283193 h 9250612"/>
                <a:gd name="connsiteX6287" fmla="*/ 349715 w 6942639"/>
                <a:gd name="connsiteY6287" fmla="*/ 4292154 h 9250612"/>
                <a:gd name="connsiteX6288" fmla="*/ 340756 w 6942639"/>
                <a:gd name="connsiteY6288" fmla="*/ 4283193 h 9250612"/>
                <a:gd name="connsiteX6289" fmla="*/ 349715 w 6942639"/>
                <a:gd name="connsiteY6289" fmla="*/ 4274233 h 9250612"/>
                <a:gd name="connsiteX6290" fmla="*/ 179397 w 6942639"/>
                <a:gd name="connsiteY6290" fmla="*/ 4274233 h 9250612"/>
                <a:gd name="connsiteX6291" fmla="*/ 188358 w 6942639"/>
                <a:gd name="connsiteY6291" fmla="*/ 4283193 h 9250612"/>
                <a:gd name="connsiteX6292" fmla="*/ 179397 w 6942639"/>
                <a:gd name="connsiteY6292" fmla="*/ 4292154 h 9250612"/>
                <a:gd name="connsiteX6293" fmla="*/ 170437 w 6942639"/>
                <a:gd name="connsiteY6293" fmla="*/ 4283193 h 9250612"/>
                <a:gd name="connsiteX6294" fmla="*/ 179397 w 6942639"/>
                <a:gd name="connsiteY6294" fmla="*/ 4274233 h 9250612"/>
                <a:gd name="connsiteX6295" fmla="*/ 9080 w 6942639"/>
                <a:gd name="connsiteY6295" fmla="*/ 4274233 h 9250612"/>
                <a:gd name="connsiteX6296" fmla="*/ 18040 w 6942639"/>
                <a:gd name="connsiteY6296" fmla="*/ 4283193 h 9250612"/>
                <a:gd name="connsiteX6297" fmla="*/ 9080 w 6942639"/>
                <a:gd name="connsiteY6297" fmla="*/ 4292154 h 9250612"/>
                <a:gd name="connsiteX6298" fmla="*/ 120 w 6942639"/>
                <a:gd name="connsiteY6298" fmla="*/ 4283193 h 9250612"/>
                <a:gd name="connsiteX6299" fmla="*/ 9080 w 6942639"/>
                <a:gd name="connsiteY6299" fmla="*/ 4274233 h 9250612"/>
                <a:gd name="connsiteX6300" fmla="*/ 6933679 w 6942639"/>
                <a:gd name="connsiteY6300" fmla="*/ 4103252 h 9250612"/>
                <a:gd name="connsiteX6301" fmla="*/ 6942639 w 6942639"/>
                <a:gd name="connsiteY6301" fmla="*/ 4112212 h 9250612"/>
                <a:gd name="connsiteX6302" fmla="*/ 6933679 w 6942639"/>
                <a:gd name="connsiteY6302" fmla="*/ 4121173 h 9250612"/>
                <a:gd name="connsiteX6303" fmla="*/ 6924718 w 6942639"/>
                <a:gd name="connsiteY6303" fmla="*/ 4112212 h 9250612"/>
                <a:gd name="connsiteX6304" fmla="*/ 6933679 w 6942639"/>
                <a:gd name="connsiteY6304" fmla="*/ 4103252 h 9250612"/>
                <a:gd name="connsiteX6305" fmla="*/ 6763357 w 6942639"/>
                <a:gd name="connsiteY6305" fmla="*/ 4103252 h 9250612"/>
                <a:gd name="connsiteX6306" fmla="*/ 6772318 w 6942639"/>
                <a:gd name="connsiteY6306" fmla="*/ 4112212 h 9250612"/>
                <a:gd name="connsiteX6307" fmla="*/ 6763357 w 6942639"/>
                <a:gd name="connsiteY6307" fmla="*/ 4121173 h 9250612"/>
                <a:gd name="connsiteX6308" fmla="*/ 6754397 w 6942639"/>
                <a:gd name="connsiteY6308" fmla="*/ 4112212 h 9250612"/>
                <a:gd name="connsiteX6309" fmla="*/ 6763357 w 6942639"/>
                <a:gd name="connsiteY6309" fmla="*/ 4103252 h 9250612"/>
                <a:gd name="connsiteX6310" fmla="*/ 6593035 w 6942639"/>
                <a:gd name="connsiteY6310" fmla="*/ 4103252 h 9250612"/>
                <a:gd name="connsiteX6311" fmla="*/ 6601996 w 6942639"/>
                <a:gd name="connsiteY6311" fmla="*/ 4112212 h 9250612"/>
                <a:gd name="connsiteX6312" fmla="*/ 6593035 w 6942639"/>
                <a:gd name="connsiteY6312" fmla="*/ 4121173 h 9250612"/>
                <a:gd name="connsiteX6313" fmla="*/ 6584075 w 6942639"/>
                <a:gd name="connsiteY6313" fmla="*/ 4112212 h 9250612"/>
                <a:gd name="connsiteX6314" fmla="*/ 6593035 w 6942639"/>
                <a:gd name="connsiteY6314" fmla="*/ 4103252 h 9250612"/>
                <a:gd name="connsiteX6315" fmla="*/ 6424294 w 6942639"/>
                <a:gd name="connsiteY6315" fmla="*/ 4103252 h 9250612"/>
                <a:gd name="connsiteX6316" fmla="*/ 6433255 w 6942639"/>
                <a:gd name="connsiteY6316" fmla="*/ 4112212 h 9250612"/>
                <a:gd name="connsiteX6317" fmla="*/ 6424294 w 6942639"/>
                <a:gd name="connsiteY6317" fmla="*/ 4121173 h 9250612"/>
                <a:gd name="connsiteX6318" fmla="*/ 6415334 w 6942639"/>
                <a:gd name="connsiteY6318" fmla="*/ 4112212 h 9250612"/>
                <a:gd name="connsiteX6319" fmla="*/ 6424294 w 6942639"/>
                <a:gd name="connsiteY6319" fmla="*/ 4103252 h 9250612"/>
                <a:gd name="connsiteX6320" fmla="*/ 6255553 w 6942639"/>
                <a:gd name="connsiteY6320" fmla="*/ 4103252 h 9250612"/>
                <a:gd name="connsiteX6321" fmla="*/ 6264514 w 6942639"/>
                <a:gd name="connsiteY6321" fmla="*/ 4112212 h 9250612"/>
                <a:gd name="connsiteX6322" fmla="*/ 6255553 w 6942639"/>
                <a:gd name="connsiteY6322" fmla="*/ 4121173 h 9250612"/>
                <a:gd name="connsiteX6323" fmla="*/ 6246593 w 6942639"/>
                <a:gd name="connsiteY6323" fmla="*/ 4112212 h 9250612"/>
                <a:gd name="connsiteX6324" fmla="*/ 6255553 w 6942639"/>
                <a:gd name="connsiteY6324" fmla="*/ 4103252 h 9250612"/>
                <a:gd name="connsiteX6325" fmla="*/ 6086811 w 6942639"/>
                <a:gd name="connsiteY6325" fmla="*/ 4103252 h 9250612"/>
                <a:gd name="connsiteX6326" fmla="*/ 6095772 w 6942639"/>
                <a:gd name="connsiteY6326" fmla="*/ 4112212 h 9250612"/>
                <a:gd name="connsiteX6327" fmla="*/ 6086811 w 6942639"/>
                <a:gd name="connsiteY6327" fmla="*/ 4121173 h 9250612"/>
                <a:gd name="connsiteX6328" fmla="*/ 6077851 w 6942639"/>
                <a:gd name="connsiteY6328" fmla="*/ 4112212 h 9250612"/>
                <a:gd name="connsiteX6329" fmla="*/ 6086811 w 6942639"/>
                <a:gd name="connsiteY6329" fmla="*/ 4103252 h 9250612"/>
                <a:gd name="connsiteX6330" fmla="*/ 5918069 w 6942639"/>
                <a:gd name="connsiteY6330" fmla="*/ 4103252 h 9250612"/>
                <a:gd name="connsiteX6331" fmla="*/ 5927030 w 6942639"/>
                <a:gd name="connsiteY6331" fmla="*/ 4112212 h 9250612"/>
                <a:gd name="connsiteX6332" fmla="*/ 5918069 w 6942639"/>
                <a:gd name="connsiteY6332" fmla="*/ 4121173 h 9250612"/>
                <a:gd name="connsiteX6333" fmla="*/ 5909109 w 6942639"/>
                <a:gd name="connsiteY6333" fmla="*/ 4112212 h 9250612"/>
                <a:gd name="connsiteX6334" fmla="*/ 5918069 w 6942639"/>
                <a:gd name="connsiteY6334" fmla="*/ 4103252 h 9250612"/>
                <a:gd name="connsiteX6335" fmla="*/ 5749328 w 6942639"/>
                <a:gd name="connsiteY6335" fmla="*/ 4103252 h 9250612"/>
                <a:gd name="connsiteX6336" fmla="*/ 5758289 w 6942639"/>
                <a:gd name="connsiteY6336" fmla="*/ 4112212 h 9250612"/>
                <a:gd name="connsiteX6337" fmla="*/ 5749328 w 6942639"/>
                <a:gd name="connsiteY6337" fmla="*/ 4121173 h 9250612"/>
                <a:gd name="connsiteX6338" fmla="*/ 5740368 w 6942639"/>
                <a:gd name="connsiteY6338" fmla="*/ 4112212 h 9250612"/>
                <a:gd name="connsiteX6339" fmla="*/ 5749328 w 6942639"/>
                <a:gd name="connsiteY6339" fmla="*/ 4103252 h 9250612"/>
                <a:gd name="connsiteX6340" fmla="*/ 5580586 w 6942639"/>
                <a:gd name="connsiteY6340" fmla="*/ 4103252 h 9250612"/>
                <a:gd name="connsiteX6341" fmla="*/ 5589547 w 6942639"/>
                <a:gd name="connsiteY6341" fmla="*/ 4112212 h 9250612"/>
                <a:gd name="connsiteX6342" fmla="*/ 5580586 w 6942639"/>
                <a:gd name="connsiteY6342" fmla="*/ 4121173 h 9250612"/>
                <a:gd name="connsiteX6343" fmla="*/ 5571626 w 6942639"/>
                <a:gd name="connsiteY6343" fmla="*/ 4112212 h 9250612"/>
                <a:gd name="connsiteX6344" fmla="*/ 5580586 w 6942639"/>
                <a:gd name="connsiteY6344" fmla="*/ 4103252 h 9250612"/>
                <a:gd name="connsiteX6345" fmla="*/ 5411845 w 6942639"/>
                <a:gd name="connsiteY6345" fmla="*/ 4103252 h 9250612"/>
                <a:gd name="connsiteX6346" fmla="*/ 5420806 w 6942639"/>
                <a:gd name="connsiteY6346" fmla="*/ 4112212 h 9250612"/>
                <a:gd name="connsiteX6347" fmla="*/ 5411845 w 6942639"/>
                <a:gd name="connsiteY6347" fmla="*/ 4121173 h 9250612"/>
                <a:gd name="connsiteX6348" fmla="*/ 5402885 w 6942639"/>
                <a:gd name="connsiteY6348" fmla="*/ 4112212 h 9250612"/>
                <a:gd name="connsiteX6349" fmla="*/ 5411845 w 6942639"/>
                <a:gd name="connsiteY6349" fmla="*/ 4103252 h 9250612"/>
                <a:gd name="connsiteX6350" fmla="*/ 5243103 w 6942639"/>
                <a:gd name="connsiteY6350" fmla="*/ 4103252 h 9250612"/>
                <a:gd name="connsiteX6351" fmla="*/ 5252064 w 6942639"/>
                <a:gd name="connsiteY6351" fmla="*/ 4112212 h 9250612"/>
                <a:gd name="connsiteX6352" fmla="*/ 5243103 w 6942639"/>
                <a:gd name="connsiteY6352" fmla="*/ 4121173 h 9250612"/>
                <a:gd name="connsiteX6353" fmla="*/ 5234143 w 6942639"/>
                <a:gd name="connsiteY6353" fmla="*/ 4112212 h 9250612"/>
                <a:gd name="connsiteX6354" fmla="*/ 5243103 w 6942639"/>
                <a:gd name="connsiteY6354" fmla="*/ 4103252 h 9250612"/>
                <a:gd name="connsiteX6355" fmla="*/ 5074362 w 6942639"/>
                <a:gd name="connsiteY6355" fmla="*/ 4103252 h 9250612"/>
                <a:gd name="connsiteX6356" fmla="*/ 5083323 w 6942639"/>
                <a:gd name="connsiteY6356" fmla="*/ 4112212 h 9250612"/>
                <a:gd name="connsiteX6357" fmla="*/ 5074362 w 6942639"/>
                <a:gd name="connsiteY6357" fmla="*/ 4121173 h 9250612"/>
                <a:gd name="connsiteX6358" fmla="*/ 5065402 w 6942639"/>
                <a:gd name="connsiteY6358" fmla="*/ 4112212 h 9250612"/>
                <a:gd name="connsiteX6359" fmla="*/ 5074362 w 6942639"/>
                <a:gd name="connsiteY6359" fmla="*/ 4103252 h 9250612"/>
                <a:gd name="connsiteX6360" fmla="*/ 4905620 w 6942639"/>
                <a:gd name="connsiteY6360" fmla="*/ 4103252 h 9250612"/>
                <a:gd name="connsiteX6361" fmla="*/ 4914581 w 6942639"/>
                <a:gd name="connsiteY6361" fmla="*/ 4112212 h 9250612"/>
                <a:gd name="connsiteX6362" fmla="*/ 4905620 w 6942639"/>
                <a:gd name="connsiteY6362" fmla="*/ 4121173 h 9250612"/>
                <a:gd name="connsiteX6363" fmla="*/ 4896660 w 6942639"/>
                <a:gd name="connsiteY6363" fmla="*/ 4112212 h 9250612"/>
                <a:gd name="connsiteX6364" fmla="*/ 4905620 w 6942639"/>
                <a:gd name="connsiteY6364" fmla="*/ 4103252 h 9250612"/>
                <a:gd name="connsiteX6365" fmla="*/ 4736878 w 6942639"/>
                <a:gd name="connsiteY6365" fmla="*/ 4103252 h 9250612"/>
                <a:gd name="connsiteX6366" fmla="*/ 4745839 w 6942639"/>
                <a:gd name="connsiteY6366" fmla="*/ 4112212 h 9250612"/>
                <a:gd name="connsiteX6367" fmla="*/ 4736878 w 6942639"/>
                <a:gd name="connsiteY6367" fmla="*/ 4121173 h 9250612"/>
                <a:gd name="connsiteX6368" fmla="*/ 4727918 w 6942639"/>
                <a:gd name="connsiteY6368" fmla="*/ 4112212 h 9250612"/>
                <a:gd name="connsiteX6369" fmla="*/ 4736878 w 6942639"/>
                <a:gd name="connsiteY6369" fmla="*/ 4103252 h 9250612"/>
                <a:gd name="connsiteX6370" fmla="*/ 4568137 w 6942639"/>
                <a:gd name="connsiteY6370" fmla="*/ 4103252 h 9250612"/>
                <a:gd name="connsiteX6371" fmla="*/ 4577098 w 6942639"/>
                <a:gd name="connsiteY6371" fmla="*/ 4112212 h 9250612"/>
                <a:gd name="connsiteX6372" fmla="*/ 4568137 w 6942639"/>
                <a:gd name="connsiteY6372" fmla="*/ 4121173 h 9250612"/>
                <a:gd name="connsiteX6373" fmla="*/ 4559177 w 6942639"/>
                <a:gd name="connsiteY6373" fmla="*/ 4112212 h 9250612"/>
                <a:gd name="connsiteX6374" fmla="*/ 4568137 w 6942639"/>
                <a:gd name="connsiteY6374" fmla="*/ 4103252 h 9250612"/>
                <a:gd name="connsiteX6375" fmla="*/ 4399396 w 6942639"/>
                <a:gd name="connsiteY6375" fmla="*/ 4103252 h 9250612"/>
                <a:gd name="connsiteX6376" fmla="*/ 4408357 w 6942639"/>
                <a:gd name="connsiteY6376" fmla="*/ 4112212 h 9250612"/>
                <a:gd name="connsiteX6377" fmla="*/ 4399396 w 6942639"/>
                <a:gd name="connsiteY6377" fmla="*/ 4121173 h 9250612"/>
                <a:gd name="connsiteX6378" fmla="*/ 4390436 w 6942639"/>
                <a:gd name="connsiteY6378" fmla="*/ 4112212 h 9250612"/>
                <a:gd name="connsiteX6379" fmla="*/ 4399396 w 6942639"/>
                <a:gd name="connsiteY6379" fmla="*/ 4103252 h 9250612"/>
                <a:gd name="connsiteX6380" fmla="*/ 4230654 w 6942639"/>
                <a:gd name="connsiteY6380" fmla="*/ 4103252 h 9250612"/>
                <a:gd name="connsiteX6381" fmla="*/ 4239615 w 6942639"/>
                <a:gd name="connsiteY6381" fmla="*/ 4112212 h 9250612"/>
                <a:gd name="connsiteX6382" fmla="*/ 4230654 w 6942639"/>
                <a:gd name="connsiteY6382" fmla="*/ 4121173 h 9250612"/>
                <a:gd name="connsiteX6383" fmla="*/ 4221694 w 6942639"/>
                <a:gd name="connsiteY6383" fmla="*/ 4112212 h 9250612"/>
                <a:gd name="connsiteX6384" fmla="*/ 4230654 w 6942639"/>
                <a:gd name="connsiteY6384" fmla="*/ 4103252 h 9250612"/>
                <a:gd name="connsiteX6385" fmla="*/ 4061912 w 6942639"/>
                <a:gd name="connsiteY6385" fmla="*/ 4103252 h 9250612"/>
                <a:gd name="connsiteX6386" fmla="*/ 4070873 w 6942639"/>
                <a:gd name="connsiteY6386" fmla="*/ 4112212 h 9250612"/>
                <a:gd name="connsiteX6387" fmla="*/ 4061912 w 6942639"/>
                <a:gd name="connsiteY6387" fmla="*/ 4121173 h 9250612"/>
                <a:gd name="connsiteX6388" fmla="*/ 4052952 w 6942639"/>
                <a:gd name="connsiteY6388" fmla="*/ 4112212 h 9250612"/>
                <a:gd name="connsiteX6389" fmla="*/ 4061912 w 6942639"/>
                <a:gd name="connsiteY6389" fmla="*/ 4103252 h 9250612"/>
                <a:gd name="connsiteX6390" fmla="*/ 3893170 w 6942639"/>
                <a:gd name="connsiteY6390" fmla="*/ 4103252 h 9250612"/>
                <a:gd name="connsiteX6391" fmla="*/ 3902131 w 6942639"/>
                <a:gd name="connsiteY6391" fmla="*/ 4112212 h 9250612"/>
                <a:gd name="connsiteX6392" fmla="*/ 3893170 w 6942639"/>
                <a:gd name="connsiteY6392" fmla="*/ 4121173 h 9250612"/>
                <a:gd name="connsiteX6393" fmla="*/ 3884210 w 6942639"/>
                <a:gd name="connsiteY6393" fmla="*/ 4112212 h 9250612"/>
                <a:gd name="connsiteX6394" fmla="*/ 3893170 w 6942639"/>
                <a:gd name="connsiteY6394" fmla="*/ 4103252 h 9250612"/>
                <a:gd name="connsiteX6395" fmla="*/ 3724429 w 6942639"/>
                <a:gd name="connsiteY6395" fmla="*/ 4103252 h 9250612"/>
                <a:gd name="connsiteX6396" fmla="*/ 3733390 w 6942639"/>
                <a:gd name="connsiteY6396" fmla="*/ 4112212 h 9250612"/>
                <a:gd name="connsiteX6397" fmla="*/ 3724429 w 6942639"/>
                <a:gd name="connsiteY6397" fmla="*/ 4121173 h 9250612"/>
                <a:gd name="connsiteX6398" fmla="*/ 3715469 w 6942639"/>
                <a:gd name="connsiteY6398" fmla="*/ 4112212 h 9250612"/>
                <a:gd name="connsiteX6399" fmla="*/ 3724429 w 6942639"/>
                <a:gd name="connsiteY6399" fmla="*/ 4103252 h 9250612"/>
                <a:gd name="connsiteX6400" fmla="*/ 3555688 w 6942639"/>
                <a:gd name="connsiteY6400" fmla="*/ 4103252 h 9250612"/>
                <a:gd name="connsiteX6401" fmla="*/ 3564649 w 6942639"/>
                <a:gd name="connsiteY6401" fmla="*/ 4112212 h 9250612"/>
                <a:gd name="connsiteX6402" fmla="*/ 3555688 w 6942639"/>
                <a:gd name="connsiteY6402" fmla="*/ 4121173 h 9250612"/>
                <a:gd name="connsiteX6403" fmla="*/ 3546728 w 6942639"/>
                <a:gd name="connsiteY6403" fmla="*/ 4112212 h 9250612"/>
                <a:gd name="connsiteX6404" fmla="*/ 3555688 w 6942639"/>
                <a:gd name="connsiteY6404" fmla="*/ 4103252 h 9250612"/>
                <a:gd name="connsiteX6405" fmla="*/ 3387038 w 6942639"/>
                <a:gd name="connsiteY6405" fmla="*/ 4103252 h 9250612"/>
                <a:gd name="connsiteX6406" fmla="*/ 3395998 w 6942639"/>
                <a:gd name="connsiteY6406" fmla="*/ 4112212 h 9250612"/>
                <a:gd name="connsiteX6407" fmla="*/ 3387038 w 6942639"/>
                <a:gd name="connsiteY6407" fmla="*/ 4121173 h 9250612"/>
                <a:gd name="connsiteX6408" fmla="*/ 3378032 w 6942639"/>
                <a:gd name="connsiteY6408" fmla="*/ 4112212 h 9250612"/>
                <a:gd name="connsiteX6409" fmla="*/ 3387038 w 6942639"/>
                <a:gd name="connsiteY6409" fmla="*/ 4103252 h 9250612"/>
                <a:gd name="connsiteX6410" fmla="*/ 3218279 w 6942639"/>
                <a:gd name="connsiteY6410" fmla="*/ 4103252 h 9250612"/>
                <a:gd name="connsiteX6411" fmla="*/ 3227249 w 6942639"/>
                <a:gd name="connsiteY6411" fmla="*/ 4112212 h 9250612"/>
                <a:gd name="connsiteX6412" fmla="*/ 3218279 w 6942639"/>
                <a:gd name="connsiteY6412" fmla="*/ 4121173 h 9250612"/>
                <a:gd name="connsiteX6413" fmla="*/ 3209315 w 6942639"/>
                <a:gd name="connsiteY6413" fmla="*/ 4112212 h 9250612"/>
                <a:gd name="connsiteX6414" fmla="*/ 3218279 w 6942639"/>
                <a:gd name="connsiteY6414" fmla="*/ 4103252 h 9250612"/>
                <a:gd name="connsiteX6415" fmla="*/ 3049570 w 6942639"/>
                <a:gd name="connsiteY6415" fmla="*/ 4103252 h 9250612"/>
                <a:gd name="connsiteX6416" fmla="*/ 3058517 w 6942639"/>
                <a:gd name="connsiteY6416" fmla="*/ 4112212 h 9250612"/>
                <a:gd name="connsiteX6417" fmla="*/ 3049570 w 6942639"/>
                <a:gd name="connsiteY6417" fmla="*/ 4121173 h 9250612"/>
                <a:gd name="connsiteX6418" fmla="*/ 3040600 w 6942639"/>
                <a:gd name="connsiteY6418" fmla="*/ 4112212 h 9250612"/>
                <a:gd name="connsiteX6419" fmla="*/ 3049570 w 6942639"/>
                <a:gd name="connsiteY6419" fmla="*/ 4103252 h 9250612"/>
                <a:gd name="connsiteX6420" fmla="*/ 2880839 w 6942639"/>
                <a:gd name="connsiteY6420" fmla="*/ 4103252 h 9250612"/>
                <a:gd name="connsiteX6421" fmla="*/ 2889797 w 6942639"/>
                <a:gd name="connsiteY6421" fmla="*/ 4112212 h 9250612"/>
                <a:gd name="connsiteX6422" fmla="*/ 2880839 w 6942639"/>
                <a:gd name="connsiteY6422" fmla="*/ 4121173 h 9250612"/>
                <a:gd name="connsiteX6423" fmla="*/ 2871879 w 6942639"/>
                <a:gd name="connsiteY6423" fmla="*/ 4112212 h 9250612"/>
                <a:gd name="connsiteX6424" fmla="*/ 2880839 w 6942639"/>
                <a:gd name="connsiteY6424" fmla="*/ 4103252 h 9250612"/>
                <a:gd name="connsiteX6425" fmla="*/ 2712076 w 6942639"/>
                <a:gd name="connsiteY6425" fmla="*/ 4103252 h 9250612"/>
                <a:gd name="connsiteX6426" fmla="*/ 2721059 w 6942639"/>
                <a:gd name="connsiteY6426" fmla="*/ 4112212 h 9250612"/>
                <a:gd name="connsiteX6427" fmla="*/ 2712076 w 6942639"/>
                <a:gd name="connsiteY6427" fmla="*/ 4121173 h 9250612"/>
                <a:gd name="connsiteX6428" fmla="*/ 2703120 w 6942639"/>
                <a:gd name="connsiteY6428" fmla="*/ 4112212 h 9250612"/>
                <a:gd name="connsiteX6429" fmla="*/ 2712076 w 6942639"/>
                <a:gd name="connsiteY6429" fmla="*/ 4103252 h 9250612"/>
                <a:gd name="connsiteX6430" fmla="*/ 2543382 w 6942639"/>
                <a:gd name="connsiteY6430" fmla="*/ 4103252 h 9250612"/>
                <a:gd name="connsiteX6431" fmla="*/ 2552342 w 6942639"/>
                <a:gd name="connsiteY6431" fmla="*/ 4112212 h 9250612"/>
                <a:gd name="connsiteX6432" fmla="*/ 2543382 w 6942639"/>
                <a:gd name="connsiteY6432" fmla="*/ 4121173 h 9250612"/>
                <a:gd name="connsiteX6433" fmla="*/ 2534411 w 6942639"/>
                <a:gd name="connsiteY6433" fmla="*/ 4112212 h 9250612"/>
                <a:gd name="connsiteX6434" fmla="*/ 2543382 w 6942639"/>
                <a:gd name="connsiteY6434" fmla="*/ 4103252 h 9250612"/>
                <a:gd name="connsiteX6435" fmla="*/ 2374595 w 6942639"/>
                <a:gd name="connsiteY6435" fmla="*/ 4103252 h 9250612"/>
                <a:gd name="connsiteX6436" fmla="*/ 2383593 w 6942639"/>
                <a:gd name="connsiteY6436" fmla="*/ 4112212 h 9250612"/>
                <a:gd name="connsiteX6437" fmla="*/ 2374595 w 6942639"/>
                <a:gd name="connsiteY6437" fmla="*/ 4121173 h 9250612"/>
                <a:gd name="connsiteX6438" fmla="*/ 2365631 w 6942639"/>
                <a:gd name="connsiteY6438" fmla="*/ 4112212 h 9250612"/>
                <a:gd name="connsiteX6439" fmla="*/ 2374595 w 6942639"/>
                <a:gd name="connsiteY6439" fmla="*/ 4103252 h 9250612"/>
                <a:gd name="connsiteX6440" fmla="*/ 2205887 w 6942639"/>
                <a:gd name="connsiteY6440" fmla="*/ 4103252 h 9250612"/>
                <a:gd name="connsiteX6441" fmla="*/ 2214842 w 6942639"/>
                <a:gd name="connsiteY6441" fmla="*/ 4112212 h 9250612"/>
                <a:gd name="connsiteX6442" fmla="*/ 2205887 w 6942639"/>
                <a:gd name="connsiteY6442" fmla="*/ 4121173 h 9250612"/>
                <a:gd name="connsiteX6443" fmla="*/ 2196898 w 6942639"/>
                <a:gd name="connsiteY6443" fmla="*/ 4112212 h 9250612"/>
                <a:gd name="connsiteX6444" fmla="*/ 2205887 w 6942639"/>
                <a:gd name="connsiteY6444" fmla="*/ 4103252 h 9250612"/>
                <a:gd name="connsiteX6445" fmla="*/ 2037142 w 6942639"/>
                <a:gd name="connsiteY6445" fmla="*/ 4103252 h 9250612"/>
                <a:gd name="connsiteX6446" fmla="*/ 2046086 w 6942639"/>
                <a:gd name="connsiteY6446" fmla="*/ 4112212 h 9250612"/>
                <a:gd name="connsiteX6447" fmla="*/ 2037142 w 6942639"/>
                <a:gd name="connsiteY6447" fmla="*/ 4121173 h 9250612"/>
                <a:gd name="connsiteX6448" fmla="*/ 2028197 w 6942639"/>
                <a:gd name="connsiteY6448" fmla="*/ 4112212 h 9250612"/>
                <a:gd name="connsiteX6449" fmla="*/ 2037142 w 6942639"/>
                <a:gd name="connsiteY6449" fmla="*/ 4103252 h 9250612"/>
                <a:gd name="connsiteX6450" fmla="*/ 1868428 w 6942639"/>
                <a:gd name="connsiteY6450" fmla="*/ 4103252 h 9250612"/>
                <a:gd name="connsiteX6451" fmla="*/ 1877380 w 6942639"/>
                <a:gd name="connsiteY6451" fmla="*/ 4112212 h 9250612"/>
                <a:gd name="connsiteX6452" fmla="*/ 1868428 w 6942639"/>
                <a:gd name="connsiteY6452" fmla="*/ 4121173 h 9250612"/>
                <a:gd name="connsiteX6453" fmla="*/ 1859453 w 6942639"/>
                <a:gd name="connsiteY6453" fmla="*/ 4112212 h 9250612"/>
                <a:gd name="connsiteX6454" fmla="*/ 1868428 w 6942639"/>
                <a:gd name="connsiteY6454" fmla="*/ 4103252 h 9250612"/>
                <a:gd name="connsiteX6455" fmla="*/ 1699676 w 6942639"/>
                <a:gd name="connsiteY6455" fmla="*/ 4103252 h 9250612"/>
                <a:gd name="connsiteX6456" fmla="*/ 1708645 w 6942639"/>
                <a:gd name="connsiteY6456" fmla="*/ 4112212 h 9250612"/>
                <a:gd name="connsiteX6457" fmla="*/ 1699676 w 6942639"/>
                <a:gd name="connsiteY6457" fmla="*/ 4121173 h 9250612"/>
                <a:gd name="connsiteX6458" fmla="*/ 1690712 w 6942639"/>
                <a:gd name="connsiteY6458" fmla="*/ 4112212 h 9250612"/>
                <a:gd name="connsiteX6459" fmla="*/ 1699676 w 6942639"/>
                <a:gd name="connsiteY6459" fmla="*/ 4103252 h 9250612"/>
                <a:gd name="connsiteX6460" fmla="*/ 1530936 w 6942639"/>
                <a:gd name="connsiteY6460" fmla="*/ 4103252 h 9250612"/>
                <a:gd name="connsiteX6461" fmla="*/ 1539898 w 6942639"/>
                <a:gd name="connsiteY6461" fmla="*/ 4112212 h 9250612"/>
                <a:gd name="connsiteX6462" fmla="*/ 1530936 w 6942639"/>
                <a:gd name="connsiteY6462" fmla="*/ 4121173 h 9250612"/>
                <a:gd name="connsiteX6463" fmla="*/ 1521974 w 6942639"/>
                <a:gd name="connsiteY6463" fmla="*/ 4112212 h 9250612"/>
                <a:gd name="connsiteX6464" fmla="*/ 1530936 w 6942639"/>
                <a:gd name="connsiteY6464" fmla="*/ 4103252 h 9250612"/>
                <a:gd name="connsiteX6465" fmla="*/ 1362186 w 6942639"/>
                <a:gd name="connsiteY6465" fmla="*/ 4103252 h 9250612"/>
                <a:gd name="connsiteX6466" fmla="*/ 1371147 w 6942639"/>
                <a:gd name="connsiteY6466" fmla="*/ 4112212 h 9250612"/>
                <a:gd name="connsiteX6467" fmla="*/ 1362186 w 6942639"/>
                <a:gd name="connsiteY6467" fmla="*/ 4121173 h 9250612"/>
                <a:gd name="connsiteX6468" fmla="*/ 1353225 w 6942639"/>
                <a:gd name="connsiteY6468" fmla="*/ 4112212 h 9250612"/>
                <a:gd name="connsiteX6469" fmla="*/ 1362186 w 6942639"/>
                <a:gd name="connsiteY6469" fmla="*/ 4103252 h 9250612"/>
                <a:gd name="connsiteX6470" fmla="*/ 1193444 w 6942639"/>
                <a:gd name="connsiteY6470" fmla="*/ 4103252 h 9250612"/>
                <a:gd name="connsiteX6471" fmla="*/ 1202405 w 6942639"/>
                <a:gd name="connsiteY6471" fmla="*/ 4112212 h 9250612"/>
                <a:gd name="connsiteX6472" fmla="*/ 1193444 w 6942639"/>
                <a:gd name="connsiteY6472" fmla="*/ 4121173 h 9250612"/>
                <a:gd name="connsiteX6473" fmla="*/ 1184486 w 6942639"/>
                <a:gd name="connsiteY6473" fmla="*/ 4112212 h 9250612"/>
                <a:gd name="connsiteX6474" fmla="*/ 1193444 w 6942639"/>
                <a:gd name="connsiteY6474" fmla="*/ 4103252 h 9250612"/>
                <a:gd name="connsiteX6475" fmla="*/ 1024692 w 6942639"/>
                <a:gd name="connsiteY6475" fmla="*/ 4103252 h 9250612"/>
                <a:gd name="connsiteX6476" fmla="*/ 1033658 w 6942639"/>
                <a:gd name="connsiteY6476" fmla="*/ 4112212 h 9250612"/>
                <a:gd name="connsiteX6477" fmla="*/ 1024692 w 6942639"/>
                <a:gd name="connsiteY6477" fmla="*/ 4121173 h 9250612"/>
                <a:gd name="connsiteX6478" fmla="*/ 1015732 w 6942639"/>
                <a:gd name="connsiteY6478" fmla="*/ 4112212 h 9250612"/>
                <a:gd name="connsiteX6479" fmla="*/ 1024692 w 6942639"/>
                <a:gd name="connsiteY6479" fmla="*/ 4103252 h 9250612"/>
                <a:gd name="connsiteX6480" fmla="*/ 855964 w 6942639"/>
                <a:gd name="connsiteY6480" fmla="*/ 4103252 h 9250612"/>
                <a:gd name="connsiteX6481" fmla="*/ 864924 w 6942639"/>
                <a:gd name="connsiteY6481" fmla="*/ 4112212 h 9250612"/>
                <a:gd name="connsiteX6482" fmla="*/ 855964 w 6942639"/>
                <a:gd name="connsiteY6482" fmla="*/ 4121173 h 9250612"/>
                <a:gd name="connsiteX6483" fmla="*/ 847003 w 6942639"/>
                <a:gd name="connsiteY6483" fmla="*/ 4112212 h 9250612"/>
                <a:gd name="connsiteX6484" fmla="*/ 855964 w 6942639"/>
                <a:gd name="connsiteY6484" fmla="*/ 4103252 h 9250612"/>
                <a:gd name="connsiteX6485" fmla="*/ 687224 w 6942639"/>
                <a:gd name="connsiteY6485" fmla="*/ 4103252 h 9250612"/>
                <a:gd name="connsiteX6486" fmla="*/ 696184 w 6942639"/>
                <a:gd name="connsiteY6486" fmla="*/ 4112212 h 9250612"/>
                <a:gd name="connsiteX6487" fmla="*/ 687224 w 6942639"/>
                <a:gd name="connsiteY6487" fmla="*/ 4121173 h 9250612"/>
                <a:gd name="connsiteX6488" fmla="*/ 678265 w 6942639"/>
                <a:gd name="connsiteY6488" fmla="*/ 4112212 h 9250612"/>
                <a:gd name="connsiteX6489" fmla="*/ 687224 w 6942639"/>
                <a:gd name="connsiteY6489" fmla="*/ 4103252 h 9250612"/>
                <a:gd name="connsiteX6490" fmla="*/ 518458 w 6942639"/>
                <a:gd name="connsiteY6490" fmla="*/ 4103252 h 9250612"/>
                <a:gd name="connsiteX6491" fmla="*/ 527418 w 6942639"/>
                <a:gd name="connsiteY6491" fmla="*/ 4112212 h 9250612"/>
                <a:gd name="connsiteX6492" fmla="*/ 518458 w 6942639"/>
                <a:gd name="connsiteY6492" fmla="*/ 4121173 h 9250612"/>
                <a:gd name="connsiteX6493" fmla="*/ 509497 w 6942639"/>
                <a:gd name="connsiteY6493" fmla="*/ 4112212 h 9250612"/>
                <a:gd name="connsiteX6494" fmla="*/ 518458 w 6942639"/>
                <a:gd name="connsiteY6494" fmla="*/ 4103252 h 9250612"/>
                <a:gd name="connsiteX6495" fmla="*/ 349719 w 6942639"/>
                <a:gd name="connsiteY6495" fmla="*/ 4103252 h 9250612"/>
                <a:gd name="connsiteX6496" fmla="*/ 358680 w 6942639"/>
                <a:gd name="connsiteY6496" fmla="*/ 4112212 h 9250612"/>
                <a:gd name="connsiteX6497" fmla="*/ 349719 w 6942639"/>
                <a:gd name="connsiteY6497" fmla="*/ 4121173 h 9250612"/>
                <a:gd name="connsiteX6498" fmla="*/ 340760 w 6942639"/>
                <a:gd name="connsiteY6498" fmla="*/ 4112212 h 9250612"/>
                <a:gd name="connsiteX6499" fmla="*/ 349719 w 6942639"/>
                <a:gd name="connsiteY6499" fmla="*/ 4103252 h 9250612"/>
                <a:gd name="connsiteX6500" fmla="*/ 179401 w 6942639"/>
                <a:gd name="connsiteY6500" fmla="*/ 4103252 h 9250612"/>
                <a:gd name="connsiteX6501" fmla="*/ 188362 w 6942639"/>
                <a:gd name="connsiteY6501" fmla="*/ 4112212 h 9250612"/>
                <a:gd name="connsiteX6502" fmla="*/ 179401 w 6942639"/>
                <a:gd name="connsiteY6502" fmla="*/ 4121173 h 9250612"/>
                <a:gd name="connsiteX6503" fmla="*/ 170441 w 6942639"/>
                <a:gd name="connsiteY6503" fmla="*/ 4112212 h 9250612"/>
                <a:gd name="connsiteX6504" fmla="*/ 179401 w 6942639"/>
                <a:gd name="connsiteY6504" fmla="*/ 4103252 h 9250612"/>
                <a:gd name="connsiteX6505" fmla="*/ 9084 w 6942639"/>
                <a:gd name="connsiteY6505" fmla="*/ 4103252 h 9250612"/>
                <a:gd name="connsiteX6506" fmla="*/ 18044 w 6942639"/>
                <a:gd name="connsiteY6506" fmla="*/ 4112212 h 9250612"/>
                <a:gd name="connsiteX6507" fmla="*/ 9084 w 6942639"/>
                <a:gd name="connsiteY6507" fmla="*/ 4121173 h 9250612"/>
                <a:gd name="connsiteX6508" fmla="*/ 124 w 6942639"/>
                <a:gd name="connsiteY6508" fmla="*/ 4112212 h 9250612"/>
                <a:gd name="connsiteX6509" fmla="*/ 9084 w 6942639"/>
                <a:gd name="connsiteY6509" fmla="*/ 4103252 h 9250612"/>
                <a:gd name="connsiteX6510" fmla="*/ 6933679 w 6942639"/>
                <a:gd name="connsiteY6510" fmla="*/ 3932270 h 9250612"/>
                <a:gd name="connsiteX6511" fmla="*/ 6942639 w 6942639"/>
                <a:gd name="connsiteY6511" fmla="*/ 3941230 h 9250612"/>
                <a:gd name="connsiteX6512" fmla="*/ 6933679 w 6942639"/>
                <a:gd name="connsiteY6512" fmla="*/ 3950191 h 9250612"/>
                <a:gd name="connsiteX6513" fmla="*/ 6924718 w 6942639"/>
                <a:gd name="connsiteY6513" fmla="*/ 3941230 h 9250612"/>
                <a:gd name="connsiteX6514" fmla="*/ 6933679 w 6942639"/>
                <a:gd name="connsiteY6514" fmla="*/ 3932270 h 9250612"/>
                <a:gd name="connsiteX6515" fmla="*/ 6763357 w 6942639"/>
                <a:gd name="connsiteY6515" fmla="*/ 3932270 h 9250612"/>
                <a:gd name="connsiteX6516" fmla="*/ 6772318 w 6942639"/>
                <a:gd name="connsiteY6516" fmla="*/ 3941230 h 9250612"/>
                <a:gd name="connsiteX6517" fmla="*/ 6763357 w 6942639"/>
                <a:gd name="connsiteY6517" fmla="*/ 3950191 h 9250612"/>
                <a:gd name="connsiteX6518" fmla="*/ 6754397 w 6942639"/>
                <a:gd name="connsiteY6518" fmla="*/ 3941230 h 9250612"/>
                <a:gd name="connsiteX6519" fmla="*/ 6763357 w 6942639"/>
                <a:gd name="connsiteY6519" fmla="*/ 3932270 h 9250612"/>
                <a:gd name="connsiteX6520" fmla="*/ 6593035 w 6942639"/>
                <a:gd name="connsiteY6520" fmla="*/ 3932270 h 9250612"/>
                <a:gd name="connsiteX6521" fmla="*/ 6601996 w 6942639"/>
                <a:gd name="connsiteY6521" fmla="*/ 3941230 h 9250612"/>
                <a:gd name="connsiteX6522" fmla="*/ 6593035 w 6942639"/>
                <a:gd name="connsiteY6522" fmla="*/ 3950191 h 9250612"/>
                <a:gd name="connsiteX6523" fmla="*/ 6584075 w 6942639"/>
                <a:gd name="connsiteY6523" fmla="*/ 3941230 h 9250612"/>
                <a:gd name="connsiteX6524" fmla="*/ 6593035 w 6942639"/>
                <a:gd name="connsiteY6524" fmla="*/ 3932270 h 9250612"/>
                <a:gd name="connsiteX6525" fmla="*/ 6424294 w 6942639"/>
                <a:gd name="connsiteY6525" fmla="*/ 3932270 h 9250612"/>
                <a:gd name="connsiteX6526" fmla="*/ 6433255 w 6942639"/>
                <a:gd name="connsiteY6526" fmla="*/ 3941230 h 9250612"/>
                <a:gd name="connsiteX6527" fmla="*/ 6424294 w 6942639"/>
                <a:gd name="connsiteY6527" fmla="*/ 3950191 h 9250612"/>
                <a:gd name="connsiteX6528" fmla="*/ 6415334 w 6942639"/>
                <a:gd name="connsiteY6528" fmla="*/ 3941230 h 9250612"/>
                <a:gd name="connsiteX6529" fmla="*/ 6424294 w 6942639"/>
                <a:gd name="connsiteY6529" fmla="*/ 3932270 h 9250612"/>
                <a:gd name="connsiteX6530" fmla="*/ 6255553 w 6942639"/>
                <a:gd name="connsiteY6530" fmla="*/ 3932270 h 9250612"/>
                <a:gd name="connsiteX6531" fmla="*/ 6264514 w 6942639"/>
                <a:gd name="connsiteY6531" fmla="*/ 3941230 h 9250612"/>
                <a:gd name="connsiteX6532" fmla="*/ 6255553 w 6942639"/>
                <a:gd name="connsiteY6532" fmla="*/ 3950191 h 9250612"/>
                <a:gd name="connsiteX6533" fmla="*/ 6246593 w 6942639"/>
                <a:gd name="connsiteY6533" fmla="*/ 3941230 h 9250612"/>
                <a:gd name="connsiteX6534" fmla="*/ 6255553 w 6942639"/>
                <a:gd name="connsiteY6534" fmla="*/ 3932270 h 9250612"/>
                <a:gd name="connsiteX6535" fmla="*/ 6086811 w 6942639"/>
                <a:gd name="connsiteY6535" fmla="*/ 3932270 h 9250612"/>
                <a:gd name="connsiteX6536" fmla="*/ 6095772 w 6942639"/>
                <a:gd name="connsiteY6536" fmla="*/ 3941230 h 9250612"/>
                <a:gd name="connsiteX6537" fmla="*/ 6086811 w 6942639"/>
                <a:gd name="connsiteY6537" fmla="*/ 3950191 h 9250612"/>
                <a:gd name="connsiteX6538" fmla="*/ 6077851 w 6942639"/>
                <a:gd name="connsiteY6538" fmla="*/ 3941230 h 9250612"/>
                <a:gd name="connsiteX6539" fmla="*/ 6086811 w 6942639"/>
                <a:gd name="connsiteY6539" fmla="*/ 3932270 h 9250612"/>
                <a:gd name="connsiteX6540" fmla="*/ 5918069 w 6942639"/>
                <a:gd name="connsiteY6540" fmla="*/ 3932270 h 9250612"/>
                <a:gd name="connsiteX6541" fmla="*/ 5927030 w 6942639"/>
                <a:gd name="connsiteY6541" fmla="*/ 3941230 h 9250612"/>
                <a:gd name="connsiteX6542" fmla="*/ 5918069 w 6942639"/>
                <a:gd name="connsiteY6542" fmla="*/ 3950191 h 9250612"/>
                <a:gd name="connsiteX6543" fmla="*/ 5909109 w 6942639"/>
                <a:gd name="connsiteY6543" fmla="*/ 3941230 h 9250612"/>
                <a:gd name="connsiteX6544" fmla="*/ 5918069 w 6942639"/>
                <a:gd name="connsiteY6544" fmla="*/ 3932270 h 9250612"/>
                <a:gd name="connsiteX6545" fmla="*/ 5749328 w 6942639"/>
                <a:gd name="connsiteY6545" fmla="*/ 3932270 h 9250612"/>
                <a:gd name="connsiteX6546" fmla="*/ 5758289 w 6942639"/>
                <a:gd name="connsiteY6546" fmla="*/ 3941230 h 9250612"/>
                <a:gd name="connsiteX6547" fmla="*/ 5749328 w 6942639"/>
                <a:gd name="connsiteY6547" fmla="*/ 3950191 h 9250612"/>
                <a:gd name="connsiteX6548" fmla="*/ 5740368 w 6942639"/>
                <a:gd name="connsiteY6548" fmla="*/ 3941230 h 9250612"/>
                <a:gd name="connsiteX6549" fmla="*/ 5749328 w 6942639"/>
                <a:gd name="connsiteY6549" fmla="*/ 3932270 h 9250612"/>
                <a:gd name="connsiteX6550" fmla="*/ 5580586 w 6942639"/>
                <a:gd name="connsiteY6550" fmla="*/ 3932270 h 9250612"/>
                <a:gd name="connsiteX6551" fmla="*/ 5589547 w 6942639"/>
                <a:gd name="connsiteY6551" fmla="*/ 3941230 h 9250612"/>
                <a:gd name="connsiteX6552" fmla="*/ 5580586 w 6942639"/>
                <a:gd name="connsiteY6552" fmla="*/ 3950191 h 9250612"/>
                <a:gd name="connsiteX6553" fmla="*/ 5571626 w 6942639"/>
                <a:gd name="connsiteY6553" fmla="*/ 3941230 h 9250612"/>
                <a:gd name="connsiteX6554" fmla="*/ 5580586 w 6942639"/>
                <a:gd name="connsiteY6554" fmla="*/ 3932270 h 9250612"/>
                <a:gd name="connsiteX6555" fmla="*/ 5411845 w 6942639"/>
                <a:gd name="connsiteY6555" fmla="*/ 3932270 h 9250612"/>
                <a:gd name="connsiteX6556" fmla="*/ 5420806 w 6942639"/>
                <a:gd name="connsiteY6556" fmla="*/ 3941230 h 9250612"/>
                <a:gd name="connsiteX6557" fmla="*/ 5411845 w 6942639"/>
                <a:gd name="connsiteY6557" fmla="*/ 3950191 h 9250612"/>
                <a:gd name="connsiteX6558" fmla="*/ 5402885 w 6942639"/>
                <a:gd name="connsiteY6558" fmla="*/ 3941230 h 9250612"/>
                <a:gd name="connsiteX6559" fmla="*/ 5411845 w 6942639"/>
                <a:gd name="connsiteY6559" fmla="*/ 3932270 h 9250612"/>
                <a:gd name="connsiteX6560" fmla="*/ 5243103 w 6942639"/>
                <a:gd name="connsiteY6560" fmla="*/ 3932270 h 9250612"/>
                <a:gd name="connsiteX6561" fmla="*/ 5252064 w 6942639"/>
                <a:gd name="connsiteY6561" fmla="*/ 3941230 h 9250612"/>
                <a:gd name="connsiteX6562" fmla="*/ 5243103 w 6942639"/>
                <a:gd name="connsiteY6562" fmla="*/ 3950191 h 9250612"/>
                <a:gd name="connsiteX6563" fmla="*/ 5234143 w 6942639"/>
                <a:gd name="connsiteY6563" fmla="*/ 3941230 h 9250612"/>
                <a:gd name="connsiteX6564" fmla="*/ 5243103 w 6942639"/>
                <a:gd name="connsiteY6564" fmla="*/ 3932270 h 9250612"/>
                <a:gd name="connsiteX6565" fmla="*/ 5074362 w 6942639"/>
                <a:gd name="connsiteY6565" fmla="*/ 3932270 h 9250612"/>
                <a:gd name="connsiteX6566" fmla="*/ 5083323 w 6942639"/>
                <a:gd name="connsiteY6566" fmla="*/ 3941230 h 9250612"/>
                <a:gd name="connsiteX6567" fmla="*/ 5074362 w 6942639"/>
                <a:gd name="connsiteY6567" fmla="*/ 3950191 h 9250612"/>
                <a:gd name="connsiteX6568" fmla="*/ 5065402 w 6942639"/>
                <a:gd name="connsiteY6568" fmla="*/ 3941230 h 9250612"/>
                <a:gd name="connsiteX6569" fmla="*/ 5074362 w 6942639"/>
                <a:gd name="connsiteY6569" fmla="*/ 3932270 h 9250612"/>
                <a:gd name="connsiteX6570" fmla="*/ 4905620 w 6942639"/>
                <a:gd name="connsiteY6570" fmla="*/ 3932270 h 9250612"/>
                <a:gd name="connsiteX6571" fmla="*/ 4914581 w 6942639"/>
                <a:gd name="connsiteY6571" fmla="*/ 3941230 h 9250612"/>
                <a:gd name="connsiteX6572" fmla="*/ 4905620 w 6942639"/>
                <a:gd name="connsiteY6572" fmla="*/ 3950191 h 9250612"/>
                <a:gd name="connsiteX6573" fmla="*/ 4896660 w 6942639"/>
                <a:gd name="connsiteY6573" fmla="*/ 3941230 h 9250612"/>
                <a:gd name="connsiteX6574" fmla="*/ 4905620 w 6942639"/>
                <a:gd name="connsiteY6574" fmla="*/ 3932270 h 9250612"/>
                <a:gd name="connsiteX6575" fmla="*/ 4736878 w 6942639"/>
                <a:gd name="connsiteY6575" fmla="*/ 3932270 h 9250612"/>
                <a:gd name="connsiteX6576" fmla="*/ 4745839 w 6942639"/>
                <a:gd name="connsiteY6576" fmla="*/ 3941230 h 9250612"/>
                <a:gd name="connsiteX6577" fmla="*/ 4736878 w 6942639"/>
                <a:gd name="connsiteY6577" fmla="*/ 3950191 h 9250612"/>
                <a:gd name="connsiteX6578" fmla="*/ 4727918 w 6942639"/>
                <a:gd name="connsiteY6578" fmla="*/ 3941230 h 9250612"/>
                <a:gd name="connsiteX6579" fmla="*/ 4736878 w 6942639"/>
                <a:gd name="connsiteY6579" fmla="*/ 3932270 h 9250612"/>
                <a:gd name="connsiteX6580" fmla="*/ 4568137 w 6942639"/>
                <a:gd name="connsiteY6580" fmla="*/ 3932270 h 9250612"/>
                <a:gd name="connsiteX6581" fmla="*/ 4577098 w 6942639"/>
                <a:gd name="connsiteY6581" fmla="*/ 3941230 h 9250612"/>
                <a:gd name="connsiteX6582" fmla="*/ 4568137 w 6942639"/>
                <a:gd name="connsiteY6582" fmla="*/ 3950191 h 9250612"/>
                <a:gd name="connsiteX6583" fmla="*/ 4559177 w 6942639"/>
                <a:gd name="connsiteY6583" fmla="*/ 3941230 h 9250612"/>
                <a:gd name="connsiteX6584" fmla="*/ 4568137 w 6942639"/>
                <a:gd name="connsiteY6584" fmla="*/ 3932270 h 9250612"/>
                <a:gd name="connsiteX6585" fmla="*/ 4399396 w 6942639"/>
                <a:gd name="connsiteY6585" fmla="*/ 3932270 h 9250612"/>
                <a:gd name="connsiteX6586" fmla="*/ 4408357 w 6942639"/>
                <a:gd name="connsiteY6586" fmla="*/ 3941230 h 9250612"/>
                <a:gd name="connsiteX6587" fmla="*/ 4399396 w 6942639"/>
                <a:gd name="connsiteY6587" fmla="*/ 3950191 h 9250612"/>
                <a:gd name="connsiteX6588" fmla="*/ 4390436 w 6942639"/>
                <a:gd name="connsiteY6588" fmla="*/ 3941230 h 9250612"/>
                <a:gd name="connsiteX6589" fmla="*/ 4399396 w 6942639"/>
                <a:gd name="connsiteY6589" fmla="*/ 3932270 h 9250612"/>
                <a:gd name="connsiteX6590" fmla="*/ 4230654 w 6942639"/>
                <a:gd name="connsiteY6590" fmla="*/ 3932270 h 9250612"/>
                <a:gd name="connsiteX6591" fmla="*/ 4239615 w 6942639"/>
                <a:gd name="connsiteY6591" fmla="*/ 3941230 h 9250612"/>
                <a:gd name="connsiteX6592" fmla="*/ 4230654 w 6942639"/>
                <a:gd name="connsiteY6592" fmla="*/ 3950191 h 9250612"/>
                <a:gd name="connsiteX6593" fmla="*/ 4221694 w 6942639"/>
                <a:gd name="connsiteY6593" fmla="*/ 3941230 h 9250612"/>
                <a:gd name="connsiteX6594" fmla="*/ 4230654 w 6942639"/>
                <a:gd name="connsiteY6594" fmla="*/ 3932270 h 9250612"/>
                <a:gd name="connsiteX6595" fmla="*/ 4061912 w 6942639"/>
                <a:gd name="connsiteY6595" fmla="*/ 3932270 h 9250612"/>
                <a:gd name="connsiteX6596" fmla="*/ 4070873 w 6942639"/>
                <a:gd name="connsiteY6596" fmla="*/ 3941230 h 9250612"/>
                <a:gd name="connsiteX6597" fmla="*/ 4061912 w 6942639"/>
                <a:gd name="connsiteY6597" fmla="*/ 3950191 h 9250612"/>
                <a:gd name="connsiteX6598" fmla="*/ 4052952 w 6942639"/>
                <a:gd name="connsiteY6598" fmla="*/ 3941230 h 9250612"/>
                <a:gd name="connsiteX6599" fmla="*/ 4061912 w 6942639"/>
                <a:gd name="connsiteY6599" fmla="*/ 3932270 h 9250612"/>
                <a:gd name="connsiteX6600" fmla="*/ 3893170 w 6942639"/>
                <a:gd name="connsiteY6600" fmla="*/ 3932270 h 9250612"/>
                <a:gd name="connsiteX6601" fmla="*/ 3902131 w 6942639"/>
                <a:gd name="connsiteY6601" fmla="*/ 3941230 h 9250612"/>
                <a:gd name="connsiteX6602" fmla="*/ 3893170 w 6942639"/>
                <a:gd name="connsiteY6602" fmla="*/ 3950191 h 9250612"/>
                <a:gd name="connsiteX6603" fmla="*/ 3884210 w 6942639"/>
                <a:gd name="connsiteY6603" fmla="*/ 3941230 h 9250612"/>
                <a:gd name="connsiteX6604" fmla="*/ 3893170 w 6942639"/>
                <a:gd name="connsiteY6604" fmla="*/ 3932270 h 9250612"/>
                <a:gd name="connsiteX6605" fmla="*/ 3724429 w 6942639"/>
                <a:gd name="connsiteY6605" fmla="*/ 3932270 h 9250612"/>
                <a:gd name="connsiteX6606" fmla="*/ 3733390 w 6942639"/>
                <a:gd name="connsiteY6606" fmla="*/ 3941230 h 9250612"/>
                <a:gd name="connsiteX6607" fmla="*/ 3724429 w 6942639"/>
                <a:gd name="connsiteY6607" fmla="*/ 3950191 h 9250612"/>
                <a:gd name="connsiteX6608" fmla="*/ 3715469 w 6942639"/>
                <a:gd name="connsiteY6608" fmla="*/ 3941230 h 9250612"/>
                <a:gd name="connsiteX6609" fmla="*/ 3724429 w 6942639"/>
                <a:gd name="connsiteY6609" fmla="*/ 3932270 h 9250612"/>
                <a:gd name="connsiteX6610" fmla="*/ 3555688 w 6942639"/>
                <a:gd name="connsiteY6610" fmla="*/ 3932270 h 9250612"/>
                <a:gd name="connsiteX6611" fmla="*/ 3564649 w 6942639"/>
                <a:gd name="connsiteY6611" fmla="*/ 3941230 h 9250612"/>
                <a:gd name="connsiteX6612" fmla="*/ 3555688 w 6942639"/>
                <a:gd name="connsiteY6612" fmla="*/ 3950191 h 9250612"/>
                <a:gd name="connsiteX6613" fmla="*/ 3546728 w 6942639"/>
                <a:gd name="connsiteY6613" fmla="*/ 3941230 h 9250612"/>
                <a:gd name="connsiteX6614" fmla="*/ 3555688 w 6942639"/>
                <a:gd name="connsiteY6614" fmla="*/ 3932270 h 9250612"/>
                <a:gd name="connsiteX6615" fmla="*/ 3387041 w 6942639"/>
                <a:gd name="connsiteY6615" fmla="*/ 3932270 h 9250612"/>
                <a:gd name="connsiteX6616" fmla="*/ 3396001 w 6942639"/>
                <a:gd name="connsiteY6616" fmla="*/ 3941230 h 9250612"/>
                <a:gd name="connsiteX6617" fmla="*/ 3387041 w 6942639"/>
                <a:gd name="connsiteY6617" fmla="*/ 3950191 h 9250612"/>
                <a:gd name="connsiteX6618" fmla="*/ 3378033 w 6942639"/>
                <a:gd name="connsiteY6618" fmla="*/ 3941230 h 9250612"/>
                <a:gd name="connsiteX6619" fmla="*/ 3387041 w 6942639"/>
                <a:gd name="connsiteY6619" fmla="*/ 3932270 h 9250612"/>
                <a:gd name="connsiteX6620" fmla="*/ 3218282 w 6942639"/>
                <a:gd name="connsiteY6620" fmla="*/ 3932270 h 9250612"/>
                <a:gd name="connsiteX6621" fmla="*/ 3227252 w 6942639"/>
                <a:gd name="connsiteY6621" fmla="*/ 3941230 h 9250612"/>
                <a:gd name="connsiteX6622" fmla="*/ 3218282 w 6942639"/>
                <a:gd name="connsiteY6622" fmla="*/ 3950191 h 9250612"/>
                <a:gd name="connsiteX6623" fmla="*/ 3209317 w 6942639"/>
                <a:gd name="connsiteY6623" fmla="*/ 3941230 h 9250612"/>
                <a:gd name="connsiteX6624" fmla="*/ 3218282 w 6942639"/>
                <a:gd name="connsiteY6624" fmla="*/ 3932270 h 9250612"/>
                <a:gd name="connsiteX6625" fmla="*/ 3049573 w 6942639"/>
                <a:gd name="connsiteY6625" fmla="*/ 3932270 h 9250612"/>
                <a:gd name="connsiteX6626" fmla="*/ 3058520 w 6942639"/>
                <a:gd name="connsiteY6626" fmla="*/ 3941230 h 9250612"/>
                <a:gd name="connsiteX6627" fmla="*/ 3049573 w 6942639"/>
                <a:gd name="connsiteY6627" fmla="*/ 3950191 h 9250612"/>
                <a:gd name="connsiteX6628" fmla="*/ 3040603 w 6942639"/>
                <a:gd name="connsiteY6628" fmla="*/ 3941230 h 9250612"/>
                <a:gd name="connsiteX6629" fmla="*/ 3049573 w 6942639"/>
                <a:gd name="connsiteY6629" fmla="*/ 3932270 h 9250612"/>
                <a:gd name="connsiteX6630" fmla="*/ 2880842 w 6942639"/>
                <a:gd name="connsiteY6630" fmla="*/ 3932270 h 9250612"/>
                <a:gd name="connsiteX6631" fmla="*/ 2889801 w 6942639"/>
                <a:gd name="connsiteY6631" fmla="*/ 3941230 h 9250612"/>
                <a:gd name="connsiteX6632" fmla="*/ 2880842 w 6942639"/>
                <a:gd name="connsiteY6632" fmla="*/ 3950191 h 9250612"/>
                <a:gd name="connsiteX6633" fmla="*/ 2871883 w 6942639"/>
                <a:gd name="connsiteY6633" fmla="*/ 3941230 h 9250612"/>
                <a:gd name="connsiteX6634" fmla="*/ 2880842 w 6942639"/>
                <a:gd name="connsiteY6634" fmla="*/ 3932270 h 9250612"/>
                <a:gd name="connsiteX6635" fmla="*/ 2712079 w 6942639"/>
                <a:gd name="connsiteY6635" fmla="*/ 3932270 h 9250612"/>
                <a:gd name="connsiteX6636" fmla="*/ 2721062 w 6942639"/>
                <a:gd name="connsiteY6636" fmla="*/ 3941230 h 9250612"/>
                <a:gd name="connsiteX6637" fmla="*/ 2712079 w 6942639"/>
                <a:gd name="connsiteY6637" fmla="*/ 3950191 h 9250612"/>
                <a:gd name="connsiteX6638" fmla="*/ 2703123 w 6942639"/>
                <a:gd name="connsiteY6638" fmla="*/ 3941230 h 9250612"/>
                <a:gd name="connsiteX6639" fmla="*/ 2712079 w 6942639"/>
                <a:gd name="connsiteY6639" fmla="*/ 3932270 h 9250612"/>
                <a:gd name="connsiteX6640" fmla="*/ 2543387 w 6942639"/>
                <a:gd name="connsiteY6640" fmla="*/ 3932270 h 9250612"/>
                <a:gd name="connsiteX6641" fmla="*/ 2552348 w 6942639"/>
                <a:gd name="connsiteY6641" fmla="*/ 3941230 h 9250612"/>
                <a:gd name="connsiteX6642" fmla="*/ 2543387 w 6942639"/>
                <a:gd name="connsiteY6642" fmla="*/ 3950191 h 9250612"/>
                <a:gd name="connsiteX6643" fmla="*/ 2534416 w 6942639"/>
                <a:gd name="connsiteY6643" fmla="*/ 3941230 h 9250612"/>
                <a:gd name="connsiteX6644" fmla="*/ 2543387 w 6942639"/>
                <a:gd name="connsiteY6644" fmla="*/ 3932270 h 9250612"/>
                <a:gd name="connsiteX6645" fmla="*/ 2374598 w 6942639"/>
                <a:gd name="connsiteY6645" fmla="*/ 3932270 h 9250612"/>
                <a:gd name="connsiteX6646" fmla="*/ 2383597 w 6942639"/>
                <a:gd name="connsiteY6646" fmla="*/ 3941230 h 9250612"/>
                <a:gd name="connsiteX6647" fmla="*/ 2374598 w 6942639"/>
                <a:gd name="connsiteY6647" fmla="*/ 3950191 h 9250612"/>
                <a:gd name="connsiteX6648" fmla="*/ 2365634 w 6942639"/>
                <a:gd name="connsiteY6648" fmla="*/ 3941230 h 9250612"/>
                <a:gd name="connsiteX6649" fmla="*/ 2374598 w 6942639"/>
                <a:gd name="connsiteY6649" fmla="*/ 3932270 h 9250612"/>
                <a:gd name="connsiteX6650" fmla="*/ 2205891 w 6942639"/>
                <a:gd name="connsiteY6650" fmla="*/ 3932270 h 9250612"/>
                <a:gd name="connsiteX6651" fmla="*/ 2214847 w 6942639"/>
                <a:gd name="connsiteY6651" fmla="*/ 3941230 h 9250612"/>
                <a:gd name="connsiteX6652" fmla="*/ 2205891 w 6942639"/>
                <a:gd name="connsiteY6652" fmla="*/ 3950191 h 9250612"/>
                <a:gd name="connsiteX6653" fmla="*/ 2196901 w 6942639"/>
                <a:gd name="connsiteY6653" fmla="*/ 3941230 h 9250612"/>
                <a:gd name="connsiteX6654" fmla="*/ 2205891 w 6942639"/>
                <a:gd name="connsiteY6654" fmla="*/ 3932270 h 9250612"/>
                <a:gd name="connsiteX6655" fmla="*/ 2037145 w 6942639"/>
                <a:gd name="connsiteY6655" fmla="*/ 3932270 h 9250612"/>
                <a:gd name="connsiteX6656" fmla="*/ 2046089 w 6942639"/>
                <a:gd name="connsiteY6656" fmla="*/ 3941230 h 9250612"/>
                <a:gd name="connsiteX6657" fmla="*/ 2037145 w 6942639"/>
                <a:gd name="connsiteY6657" fmla="*/ 3950191 h 9250612"/>
                <a:gd name="connsiteX6658" fmla="*/ 2028202 w 6942639"/>
                <a:gd name="connsiteY6658" fmla="*/ 3941230 h 9250612"/>
                <a:gd name="connsiteX6659" fmla="*/ 2037145 w 6942639"/>
                <a:gd name="connsiteY6659" fmla="*/ 3932270 h 9250612"/>
                <a:gd name="connsiteX6660" fmla="*/ 1868433 w 6942639"/>
                <a:gd name="connsiteY6660" fmla="*/ 3932270 h 9250612"/>
                <a:gd name="connsiteX6661" fmla="*/ 1877384 w 6942639"/>
                <a:gd name="connsiteY6661" fmla="*/ 3941230 h 9250612"/>
                <a:gd name="connsiteX6662" fmla="*/ 1868433 w 6942639"/>
                <a:gd name="connsiteY6662" fmla="*/ 3950191 h 9250612"/>
                <a:gd name="connsiteX6663" fmla="*/ 1859458 w 6942639"/>
                <a:gd name="connsiteY6663" fmla="*/ 3941230 h 9250612"/>
                <a:gd name="connsiteX6664" fmla="*/ 1868433 w 6942639"/>
                <a:gd name="connsiteY6664" fmla="*/ 3932270 h 9250612"/>
                <a:gd name="connsiteX6665" fmla="*/ 1699682 w 6942639"/>
                <a:gd name="connsiteY6665" fmla="*/ 3932270 h 9250612"/>
                <a:gd name="connsiteX6666" fmla="*/ 1708650 w 6942639"/>
                <a:gd name="connsiteY6666" fmla="*/ 3941230 h 9250612"/>
                <a:gd name="connsiteX6667" fmla="*/ 1699682 w 6942639"/>
                <a:gd name="connsiteY6667" fmla="*/ 3950191 h 9250612"/>
                <a:gd name="connsiteX6668" fmla="*/ 1690716 w 6942639"/>
                <a:gd name="connsiteY6668" fmla="*/ 3941230 h 9250612"/>
                <a:gd name="connsiteX6669" fmla="*/ 1699682 w 6942639"/>
                <a:gd name="connsiteY6669" fmla="*/ 3932270 h 9250612"/>
                <a:gd name="connsiteX6670" fmla="*/ 1530941 w 6942639"/>
                <a:gd name="connsiteY6670" fmla="*/ 3932270 h 9250612"/>
                <a:gd name="connsiteX6671" fmla="*/ 1539902 w 6942639"/>
                <a:gd name="connsiteY6671" fmla="*/ 3941230 h 9250612"/>
                <a:gd name="connsiteX6672" fmla="*/ 1530941 w 6942639"/>
                <a:gd name="connsiteY6672" fmla="*/ 3950191 h 9250612"/>
                <a:gd name="connsiteX6673" fmla="*/ 1521979 w 6942639"/>
                <a:gd name="connsiteY6673" fmla="*/ 3941230 h 9250612"/>
                <a:gd name="connsiteX6674" fmla="*/ 1530941 w 6942639"/>
                <a:gd name="connsiteY6674" fmla="*/ 3932270 h 9250612"/>
                <a:gd name="connsiteX6675" fmla="*/ 1362190 w 6942639"/>
                <a:gd name="connsiteY6675" fmla="*/ 3932270 h 9250612"/>
                <a:gd name="connsiteX6676" fmla="*/ 1371152 w 6942639"/>
                <a:gd name="connsiteY6676" fmla="*/ 3941230 h 9250612"/>
                <a:gd name="connsiteX6677" fmla="*/ 1362190 w 6942639"/>
                <a:gd name="connsiteY6677" fmla="*/ 3950191 h 9250612"/>
                <a:gd name="connsiteX6678" fmla="*/ 1353229 w 6942639"/>
                <a:gd name="connsiteY6678" fmla="*/ 3941230 h 9250612"/>
                <a:gd name="connsiteX6679" fmla="*/ 1362190 w 6942639"/>
                <a:gd name="connsiteY6679" fmla="*/ 3932270 h 9250612"/>
                <a:gd name="connsiteX6680" fmla="*/ 1193449 w 6942639"/>
                <a:gd name="connsiteY6680" fmla="*/ 3932270 h 9250612"/>
                <a:gd name="connsiteX6681" fmla="*/ 1202409 w 6942639"/>
                <a:gd name="connsiteY6681" fmla="*/ 3941230 h 9250612"/>
                <a:gd name="connsiteX6682" fmla="*/ 1193449 w 6942639"/>
                <a:gd name="connsiteY6682" fmla="*/ 3950191 h 9250612"/>
                <a:gd name="connsiteX6683" fmla="*/ 1184490 w 6942639"/>
                <a:gd name="connsiteY6683" fmla="*/ 3941230 h 9250612"/>
                <a:gd name="connsiteX6684" fmla="*/ 1193449 w 6942639"/>
                <a:gd name="connsiteY6684" fmla="*/ 3932270 h 9250612"/>
                <a:gd name="connsiteX6685" fmla="*/ 1024696 w 6942639"/>
                <a:gd name="connsiteY6685" fmla="*/ 3932270 h 9250612"/>
                <a:gd name="connsiteX6686" fmla="*/ 1033663 w 6942639"/>
                <a:gd name="connsiteY6686" fmla="*/ 3941230 h 9250612"/>
                <a:gd name="connsiteX6687" fmla="*/ 1024696 w 6942639"/>
                <a:gd name="connsiteY6687" fmla="*/ 3950191 h 9250612"/>
                <a:gd name="connsiteX6688" fmla="*/ 1015737 w 6942639"/>
                <a:gd name="connsiteY6688" fmla="*/ 3941230 h 9250612"/>
                <a:gd name="connsiteX6689" fmla="*/ 1024696 w 6942639"/>
                <a:gd name="connsiteY6689" fmla="*/ 3932270 h 9250612"/>
                <a:gd name="connsiteX6690" fmla="*/ 855968 w 6942639"/>
                <a:gd name="connsiteY6690" fmla="*/ 3932270 h 9250612"/>
                <a:gd name="connsiteX6691" fmla="*/ 864928 w 6942639"/>
                <a:gd name="connsiteY6691" fmla="*/ 3941230 h 9250612"/>
                <a:gd name="connsiteX6692" fmla="*/ 855968 w 6942639"/>
                <a:gd name="connsiteY6692" fmla="*/ 3950191 h 9250612"/>
                <a:gd name="connsiteX6693" fmla="*/ 847008 w 6942639"/>
                <a:gd name="connsiteY6693" fmla="*/ 3941230 h 9250612"/>
                <a:gd name="connsiteX6694" fmla="*/ 855968 w 6942639"/>
                <a:gd name="connsiteY6694" fmla="*/ 3932270 h 9250612"/>
                <a:gd name="connsiteX6695" fmla="*/ 687229 w 6942639"/>
                <a:gd name="connsiteY6695" fmla="*/ 3932270 h 9250612"/>
                <a:gd name="connsiteX6696" fmla="*/ 696189 w 6942639"/>
                <a:gd name="connsiteY6696" fmla="*/ 3941230 h 9250612"/>
                <a:gd name="connsiteX6697" fmla="*/ 687229 w 6942639"/>
                <a:gd name="connsiteY6697" fmla="*/ 3950191 h 9250612"/>
                <a:gd name="connsiteX6698" fmla="*/ 678270 w 6942639"/>
                <a:gd name="connsiteY6698" fmla="*/ 3941230 h 9250612"/>
                <a:gd name="connsiteX6699" fmla="*/ 687229 w 6942639"/>
                <a:gd name="connsiteY6699" fmla="*/ 3932270 h 9250612"/>
                <a:gd name="connsiteX6700" fmla="*/ 518462 w 6942639"/>
                <a:gd name="connsiteY6700" fmla="*/ 3932270 h 9250612"/>
                <a:gd name="connsiteX6701" fmla="*/ 527422 w 6942639"/>
                <a:gd name="connsiteY6701" fmla="*/ 3941230 h 9250612"/>
                <a:gd name="connsiteX6702" fmla="*/ 518462 w 6942639"/>
                <a:gd name="connsiteY6702" fmla="*/ 3950191 h 9250612"/>
                <a:gd name="connsiteX6703" fmla="*/ 509501 w 6942639"/>
                <a:gd name="connsiteY6703" fmla="*/ 3941230 h 9250612"/>
                <a:gd name="connsiteX6704" fmla="*/ 518462 w 6942639"/>
                <a:gd name="connsiteY6704" fmla="*/ 3932270 h 9250612"/>
                <a:gd name="connsiteX6705" fmla="*/ 349723 w 6942639"/>
                <a:gd name="connsiteY6705" fmla="*/ 3932270 h 9250612"/>
                <a:gd name="connsiteX6706" fmla="*/ 358684 w 6942639"/>
                <a:gd name="connsiteY6706" fmla="*/ 3941230 h 9250612"/>
                <a:gd name="connsiteX6707" fmla="*/ 349723 w 6942639"/>
                <a:gd name="connsiteY6707" fmla="*/ 3950191 h 9250612"/>
                <a:gd name="connsiteX6708" fmla="*/ 340764 w 6942639"/>
                <a:gd name="connsiteY6708" fmla="*/ 3941230 h 9250612"/>
                <a:gd name="connsiteX6709" fmla="*/ 349723 w 6942639"/>
                <a:gd name="connsiteY6709" fmla="*/ 3932270 h 9250612"/>
                <a:gd name="connsiteX6710" fmla="*/ 179405 w 6942639"/>
                <a:gd name="connsiteY6710" fmla="*/ 3932270 h 9250612"/>
                <a:gd name="connsiteX6711" fmla="*/ 188366 w 6942639"/>
                <a:gd name="connsiteY6711" fmla="*/ 3941230 h 9250612"/>
                <a:gd name="connsiteX6712" fmla="*/ 179405 w 6942639"/>
                <a:gd name="connsiteY6712" fmla="*/ 3950191 h 9250612"/>
                <a:gd name="connsiteX6713" fmla="*/ 170445 w 6942639"/>
                <a:gd name="connsiteY6713" fmla="*/ 3941230 h 9250612"/>
                <a:gd name="connsiteX6714" fmla="*/ 179405 w 6942639"/>
                <a:gd name="connsiteY6714" fmla="*/ 3932270 h 9250612"/>
                <a:gd name="connsiteX6715" fmla="*/ 9088 w 6942639"/>
                <a:gd name="connsiteY6715" fmla="*/ 3932270 h 9250612"/>
                <a:gd name="connsiteX6716" fmla="*/ 18048 w 6942639"/>
                <a:gd name="connsiteY6716" fmla="*/ 3941230 h 9250612"/>
                <a:gd name="connsiteX6717" fmla="*/ 9088 w 6942639"/>
                <a:gd name="connsiteY6717" fmla="*/ 3950191 h 9250612"/>
                <a:gd name="connsiteX6718" fmla="*/ 128 w 6942639"/>
                <a:gd name="connsiteY6718" fmla="*/ 3941230 h 9250612"/>
                <a:gd name="connsiteX6719" fmla="*/ 9088 w 6942639"/>
                <a:gd name="connsiteY6719" fmla="*/ 3932270 h 9250612"/>
                <a:gd name="connsiteX6720" fmla="*/ 349727 w 6942639"/>
                <a:gd name="connsiteY6720" fmla="*/ 3761531 h 9250612"/>
                <a:gd name="connsiteX6721" fmla="*/ 358688 w 6942639"/>
                <a:gd name="connsiteY6721" fmla="*/ 3770491 h 9250612"/>
                <a:gd name="connsiteX6722" fmla="*/ 349727 w 6942639"/>
                <a:gd name="connsiteY6722" fmla="*/ 3779451 h 9250612"/>
                <a:gd name="connsiteX6723" fmla="*/ 340768 w 6942639"/>
                <a:gd name="connsiteY6723" fmla="*/ 3770491 h 9250612"/>
                <a:gd name="connsiteX6724" fmla="*/ 349727 w 6942639"/>
                <a:gd name="connsiteY6724" fmla="*/ 3761531 h 9250612"/>
                <a:gd name="connsiteX6725" fmla="*/ 179409 w 6942639"/>
                <a:gd name="connsiteY6725" fmla="*/ 3761531 h 9250612"/>
                <a:gd name="connsiteX6726" fmla="*/ 188370 w 6942639"/>
                <a:gd name="connsiteY6726" fmla="*/ 3770491 h 9250612"/>
                <a:gd name="connsiteX6727" fmla="*/ 179409 w 6942639"/>
                <a:gd name="connsiteY6727" fmla="*/ 3779451 h 9250612"/>
                <a:gd name="connsiteX6728" fmla="*/ 170449 w 6942639"/>
                <a:gd name="connsiteY6728" fmla="*/ 3770491 h 9250612"/>
                <a:gd name="connsiteX6729" fmla="*/ 179409 w 6942639"/>
                <a:gd name="connsiteY6729" fmla="*/ 3761531 h 9250612"/>
                <a:gd name="connsiteX6730" fmla="*/ 9093 w 6942639"/>
                <a:gd name="connsiteY6730" fmla="*/ 3761530 h 9250612"/>
                <a:gd name="connsiteX6731" fmla="*/ 18052 w 6942639"/>
                <a:gd name="connsiteY6731" fmla="*/ 3770491 h 9250612"/>
                <a:gd name="connsiteX6732" fmla="*/ 9093 w 6942639"/>
                <a:gd name="connsiteY6732" fmla="*/ 3779451 h 9250612"/>
                <a:gd name="connsiteX6733" fmla="*/ 132 w 6942639"/>
                <a:gd name="connsiteY6733" fmla="*/ 3770491 h 9250612"/>
                <a:gd name="connsiteX6734" fmla="*/ 9093 w 6942639"/>
                <a:gd name="connsiteY6734" fmla="*/ 3761530 h 9250612"/>
                <a:gd name="connsiteX6735" fmla="*/ 687233 w 6942639"/>
                <a:gd name="connsiteY6735" fmla="*/ 3761530 h 9250612"/>
                <a:gd name="connsiteX6736" fmla="*/ 696194 w 6942639"/>
                <a:gd name="connsiteY6736" fmla="*/ 3770490 h 9250612"/>
                <a:gd name="connsiteX6737" fmla="*/ 687233 w 6942639"/>
                <a:gd name="connsiteY6737" fmla="*/ 3779450 h 9250612"/>
                <a:gd name="connsiteX6738" fmla="*/ 678274 w 6942639"/>
                <a:gd name="connsiteY6738" fmla="*/ 3770490 h 9250612"/>
                <a:gd name="connsiteX6739" fmla="*/ 687233 w 6942639"/>
                <a:gd name="connsiteY6739" fmla="*/ 3761530 h 9250612"/>
                <a:gd name="connsiteX6740" fmla="*/ 518465 w 6942639"/>
                <a:gd name="connsiteY6740" fmla="*/ 3761530 h 9250612"/>
                <a:gd name="connsiteX6741" fmla="*/ 527426 w 6942639"/>
                <a:gd name="connsiteY6741" fmla="*/ 3770490 h 9250612"/>
                <a:gd name="connsiteX6742" fmla="*/ 518465 w 6942639"/>
                <a:gd name="connsiteY6742" fmla="*/ 3779450 h 9250612"/>
                <a:gd name="connsiteX6743" fmla="*/ 509505 w 6942639"/>
                <a:gd name="connsiteY6743" fmla="*/ 3770490 h 9250612"/>
                <a:gd name="connsiteX6744" fmla="*/ 518465 w 6942639"/>
                <a:gd name="connsiteY6744" fmla="*/ 3761530 h 9250612"/>
                <a:gd name="connsiteX6745" fmla="*/ 1024700 w 6942639"/>
                <a:gd name="connsiteY6745" fmla="*/ 3761530 h 9250612"/>
                <a:gd name="connsiteX6746" fmla="*/ 1033667 w 6942639"/>
                <a:gd name="connsiteY6746" fmla="*/ 3770490 h 9250612"/>
                <a:gd name="connsiteX6747" fmla="*/ 1024700 w 6942639"/>
                <a:gd name="connsiteY6747" fmla="*/ 3779450 h 9250612"/>
                <a:gd name="connsiteX6748" fmla="*/ 1015741 w 6942639"/>
                <a:gd name="connsiteY6748" fmla="*/ 3770490 h 9250612"/>
                <a:gd name="connsiteX6749" fmla="*/ 1024700 w 6942639"/>
                <a:gd name="connsiteY6749" fmla="*/ 3761530 h 9250612"/>
                <a:gd name="connsiteX6750" fmla="*/ 855973 w 6942639"/>
                <a:gd name="connsiteY6750" fmla="*/ 3761530 h 9250612"/>
                <a:gd name="connsiteX6751" fmla="*/ 864933 w 6942639"/>
                <a:gd name="connsiteY6751" fmla="*/ 3770490 h 9250612"/>
                <a:gd name="connsiteX6752" fmla="*/ 855973 w 6942639"/>
                <a:gd name="connsiteY6752" fmla="*/ 3779450 h 9250612"/>
                <a:gd name="connsiteX6753" fmla="*/ 847013 w 6942639"/>
                <a:gd name="connsiteY6753" fmla="*/ 3770490 h 9250612"/>
                <a:gd name="connsiteX6754" fmla="*/ 855973 w 6942639"/>
                <a:gd name="connsiteY6754" fmla="*/ 3761530 h 9250612"/>
                <a:gd name="connsiteX6755" fmla="*/ 1193453 w 6942639"/>
                <a:gd name="connsiteY6755" fmla="*/ 3761530 h 9250612"/>
                <a:gd name="connsiteX6756" fmla="*/ 1202414 w 6942639"/>
                <a:gd name="connsiteY6756" fmla="*/ 3770490 h 9250612"/>
                <a:gd name="connsiteX6757" fmla="*/ 1193453 w 6942639"/>
                <a:gd name="connsiteY6757" fmla="*/ 3779450 h 9250612"/>
                <a:gd name="connsiteX6758" fmla="*/ 1184495 w 6942639"/>
                <a:gd name="connsiteY6758" fmla="*/ 3770490 h 9250612"/>
                <a:gd name="connsiteX6759" fmla="*/ 1193453 w 6942639"/>
                <a:gd name="connsiteY6759" fmla="*/ 3761530 h 9250612"/>
                <a:gd name="connsiteX6760" fmla="*/ 1530945 w 6942639"/>
                <a:gd name="connsiteY6760" fmla="*/ 3761529 h 9250612"/>
                <a:gd name="connsiteX6761" fmla="*/ 1539907 w 6942639"/>
                <a:gd name="connsiteY6761" fmla="*/ 3770489 h 9250612"/>
                <a:gd name="connsiteX6762" fmla="*/ 1530945 w 6942639"/>
                <a:gd name="connsiteY6762" fmla="*/ 3779450 h 9250612"/>
                <a:gd name="connsiteX6763" fmla="*/ 1521984 w 6942639"/>
                <a:gd name="connsiteY6763" fmla="*/ 3770489 h 9250612"/>
                <a:gd name="connsiteX6764" fmla="*/ 1530945 w 6942639"/>
                <a:gd name="connsiteY6764" fmla="*/ 3761529 h 9250612"/>
                <a:gd name="connsiteX6765" fmla="*/ 1362195 w 6942639"/>
                <a:gd name="connsiteY6765" fmla="*/ 3761529 h 9250612"/>
                <a:gd name="connsiteX6766" fmla="*/ 1371157 w 6942639"/>
                <a:gd name="connsiteY6766" fmla="*/ 3770489 h 9250612"/>
                <a:gd name="connsiteX6767" fmla="*/ 1362195 w 6942639"/>
                <a:gd name="connsiteY6767" fmla="*/ 3779450 h 9250612"/>
                <a:gd name="connsiteX6768" fmla="*/ 1353234 w 6942639"/>
                <a:gd name="connsiteY6768" fmla="*/ 3770489 h 9250612"/>
                <a:gd name="connsiteX6769" fmla="*/ 1362195 w 6942639"/>
                <a:gd name="connsiteY6769" fmla="*/ 3761529 h 9250612"/>
                <a:gd name="connsiteX6770" fmla="*/ 1868438 w 6942639"/>
                <a:gd name="connsiteY6770" fmla="*/ 3761529 h 9250612"/>
                <a:gd name="connsiteX6771" fmla="*/ 1877390 w 6942639"/>
                <a:gd name="connsiteY6771" fmla="*/ 3770489 h 9250612"/>
                <a:gd name="connsiteX6772" fmla="*/ 1868438 w 6942639"/>
                <a:gd name="connsiteY6772" fmla="*/ 3779449 h 9250612"/>
                <a:gd name="connsiteX6773" fmla="*/ 1859464 w 6942639"/>
                <a:gd name="connsiteY6773" fmla="*/ 3770489 h 9250612"/>
                <a:gd name="connsiteX6774" fmla="*/ 1868438 w 6942639"/>
                <a:gd name="connsiteY6774" fmla="*/ 3761529 h 9250612"/>
                <a:gd name="connsiteX6775" fmla="*/ 1699687 w 6942639"/>
                <a:gd name="connsiteY6775" fmla="*/ 3761529 h 9250612"/>
                <a:gd name="connsiteX6776" fmla="*/ 1708654 w 6942639"/>
                <a:gd name="connsiteY6776" fmla="*/ 3770489 h 9250612"/>
                <a:gd name="connsiteX6777" fmla="*/ 1699687 w 6942639"/>
                <a:gd name="connsiteY6777" fmla="*/ 3779449 h 9250612"/>
                <a:gd name="connsiteX6778" fmla="*/ 1690721 w 6942639"/>
                <a:gd name="connsiteY6778" fmla="*/ 3770489 h 9250612"/>
                <a:gd name="connsiteX6779" fmla="*/ 1699687 w 6942639"/>
                <a:gd name="connsiteY6779" fmla="*/ 3761529 h 9250612"/>
                <a:gd name="connsiteX6780" fmla="*/ 2205894 w 6942639"/>
                <a:gd name="connsiteY6780" fmla="*/ 3761529 h 9250612"/>
                <a:gd name="connsiteX6781" fmla="*/ 2214851 w 6942639"/>
                <a:gd name="connsiteY6781" fmla="*/ 3770489 h 9250612"/>
                <a:gd name="connsiteX6782" fmla="*/ 2205894 w 6942639"/>
                <a:gd name="connsiteY6782" fmla="*/ 3779449 h 9250612"/>
                <a:gd name="connsiteX6783" fmla="*/ 2196904 w 6942639"/>
                <a:gd name="connsiteY6783" fmla="*/ 3770489 h 9250612"/>
                <a:gd name="connsiteX6784" fmla="*/ 2205894 w 6942639"/>
                <a:gd name="connsiteY6784" fmla="*/ 3761529 h 9250612"/>
                <a:gd name="connsiteX6785" fmla="*/ 2037148 w 6942639"/>
                <a:gd name="connsiteY6785" fmla="*/ 3761529 h 9250612"/>
                <a:gd name="connsiteX6786" fmla="*/ 2046092 w 6942639"/>
                <a:gd name="connsiteY6786" fmla="*/ 3770489 h 9250612"/>
                <a:gd name="connsiteX6787" fmla="*/ 2037148 w 6942639"/>
                <a:gd name="connsiteY6787" fmla="*/ 3779449 h 9250612"/>
                <a:gd name="connsiteX6788" fmla="*/ 2028207 w 6942639"/>
                <a:gd name="connsiteY6788" fmla="*/ 3770489 h 9250612"/>
                <a:gd name="connsiteX6789" fmla="*/ 2037148 w 6942639"/>
                <a:gd name="connsiteY6789" fmla="*/ 3761529 h 9250612"/>
                <a:gd name="connsiteX6790" fmla="*/ 2543391 w 6942639"/>
                <a:gd name="connsiteY6790" fmla="*/ 3761528 h 9250612"/>
                <a:gd name="connsiteX6791" fmla="*/ 2552353 w 6942639"/>
                <a:gd name="connsiteY6791" fmla="*/ 3770488 h 9250612"/>
                <a:gd name="connsiteX6792" fmla="*/ 2543391 w 6942639"/>
                <a:gd name="connsiteY6792" fmla="*/ 3779448 h 9250612"/>
                <a:gd name="connsiteX6793" fmla="*/ 2534421 w 6942639"/>
                <a:gd name="connsiteY6793" fmla="*/ 3770488 h 9250612"/>
                <a:gd name="connsiteX6794" fmla="*/ 2543391 w 6942639"/>
                <a:gd name="connsiteY6794" fmla="*/ 3761528 h 9250612"/>
                <a:gd name="connsiteX6795" fmla="*/ 2374601 w 6942639"/>
                <a:gd name="connsiteY6795" fmla="*/ 3761528 h 9250612"/>
                <a:gd name="connsiteX6796" fmla="*/ 2383602 w 6942639"/>
                <a:gd name="connsiteY6796" fmla="*/ 3770488 h 9250612"/>
                <a:gd name="connsiteX6797" fmla="*/ 2374601 w 6942639"/>
                <a:gd name="connsiteY6797" fmla="*/ 3779449 h 9250612"/>
                <a:gd name="connsiteX6798" fmla="*/ 2365637 w 6942639"/>
                <a:gd name="connsiteY6798" fmla="*/ 3770488 h 9250612"/>
                <a:gd name="connsiteX6799" fmla="*/ 2374601 w 6942639"/>
                <a:gd name="connsiteY6799" fmla="*/ 3761528 h 9250612"/>
                <a:gd name="connsiteX6800" fmla="*/ 2712082 w 6942639"/>
                <a:gd name="connsiteY6800" fmla="*/ 3761528 h 9250612"/>
                <a:gd name="connsiteX6801" fmla="*/ 2721065 w 6942639"/>
                <a:gd name="connsiteY6801" fmla="*/ 3770488 h 9250612"/>
                <a:gd name="connsiteX6802" fmla="*/ 2712082 w 6942639"/>
                <a:gd name="connsiteY6802" fmla="*/ 3779448 h 9250612"/>
                <a:gd name="connsiteX6803" fmla="*/ 2703126 w 6942639"/>
                <a:gd name="connsiteY6803" fmla="*/ 3770488 h 9250612"/>
                <a:gd name="connsiteX6804" fmla="*/ 2712082 w 6942639"/>
                <a:gd name="connsiteY6804" fmla="*/ 3761528 h 9250612"/>
                <a:gd name="connsiteX6805" fmla="*/ 3049576 w 6942639"/>
                <a:gd name="connsiteY6805" fmla="*/ 3761528 h 9250612"/>
                <a:gd name="connsiteX6806" fmla="*/ 3058523 w 6942639"/>
                <a:gd name="connsiteY6806" fmla="*/ 3770488 h 9250612"/>
                <a:gd name="connsiteX6807" fmla="*/ 3049576 w 6942639"/>
                <a:gd name="connsiteY6807" fmla="*/ 3779448 h 9250612"/>
                <a:gd name="connsiteX6808" fmla="*/ 3040606 w 6942639"/>
                <a:gd name="connsiteY6808" fmla="*/ 3770488 h 9250612"/>
                <a:gd name="connsiteX6809" fmla="*/ 3049576 w 6942639"/>
                <a:gd name="connsiteY6809" fmla="*/ 3761528 h 9250612"/>
                <a:gd name="connsiteX6810" fmla="*/ 2880846 w 6942639"/>
                <a:gd name="connsiteY6810" fmla="*/ 3761528 h 9250612"/>
                <a:gd name="connsiteX6811" fmla="*/ 2889804 w 6942639"/>
                <a:gd name="connsiteY6811" fmla="*/ 3770488 h 9250612"/>
                <a:gd name="connsiteX6812" fmla="*/ 2880846 w 6942639"/>
                <a:gd name="connsiteY6812" fmla="*/ 3779448 h 9250612"/>
                <a:gd name="connsiteX6813" fmla="*/ 2871887 w 6942639"/>
                <a:gd name="connsiteY6813" fmla="*/ 3770488 h 9250612"/>
                <a:gd name="connsiteX6814" fmla="*/ 2880846 w 6942639"/>
                <a:gd name="connsiteY6814" fmla="*/ 3761528 h 9250612"/>
                <a:gd name="connsiteX6815" fmla="*/ 3387044 w 6942639"/>
                <a:gd name="connsiteY6815" fmla="*/ 3761527 h 9250612"/>
                <a:gd name="connsiteX6816" fmla="*/ 3396004 w 6942639"/>
                <a:gd name="connsiteY6816" fmla="*/ 3770488 h 9250612"/>
                <a:gd name="connsiteX6817" fmla="*/ 3387044 w 6942639"/>
                <a:gd name="connsiteY6817" fmla="*/ 3779448 h 9250612"/>
                <a:gd name="connsiteX6818" fmla="*/ 3378035 w 6942639"/>
                <a:gd name="connsiteY6818" fmla="*/ 3770488 h 9250612"/>
                <a:gd name="connsiteX6819" fmla="*/ 3387044 w 6942639"/>
                <a:gd name="connsiteY6819" fmla="*/ 3761527 h 9250612"/>
                <a:gd name="connsiteX6820" fmla="*/ 3218285 w 6942639"/>
                <a:gd name="connsiteY6820" fmla="*/ 3761527 h 9250612"/>
                <a:gd name="connsiteX6821" fmla="*/ 3227255 w 6942639"/>
                <a:gd name="connsiteY6821" fmla="*/ 3770488 h 9250612"/>
                <a:gd name="connsiteX6822" fmla="*/ 3218285 w 6942639"/>
                <a:gd name="connsiteY6822" fmla="*/ 3779448 h 9250612"/>
                <a:gd name="connsiteX6823" fmla="*/ 3209318 w 6942639"/>
                <a:gd name="connsiteY6823" fmla="*/ 3770488 h 9250612"/>
                <a:gd name="connsiteX6824" fmla="*/ 3218285 w 6942639"/>
                <a:gd name="connsiteY6824" fmla="*/ 3761527 h 9250612"/>
                <a:gd name="connsiteX6825" fmla="*/ 3724429 w 6942639"/>
                <a:gd name="connsiteY6825" fmla="*/ 3761527 h 9250612"/>
                <a:gd name="connsiteX6826" fmla="*/ 3733390 w 6942639"/>
                <a:gd name="connsiteY6826" fmla="*/ 3770487 h 9250612"/>
                <a:gd name="connsiteX6827" fmla="*/ 3724429 w 6942639"/>
                <a:gd name="connsiteY6827" fmla="*/ 3779447 h 9250612"/>
                <a:gd name="connsiteX6828" fmla="*/ 3715469 w 6942639"/>
                <a:gd name="connsiteY6828" fmla="*/ 3770487 h 9250612"/>
                <a:gd name="connsiteX6829" fmla="*/ 3724429 w 6942639"/>
                <a:gd name="connsiteY6829" fmla="*/ 3761527 h 9250612"/>
                <a:gd name="connsiteX6830" fmla="*/ 3555688 w 6942639"/>
                <a:gd name="connsiteY6830" fmla="*/ 3761527 h 9250612"/>
                <a:gd name="connsiteX6831" fmla="*/ 3564649 w 6942639"/>
                <a:gd name="connsiteY6831" fmla="*/ 3770487 h 9250612"/>
                <a:gd name="connsiteX6832" fmla="*/ 3555688 w 6942639"/>
                <a:gd name="connsiteY6832" fmla="*/ 3779447 h 9250612"/>
                <a:gd name="connsiteX6833" fmla="*/ 3546728 w 6942639"/>
                <a:gd name="connsiteY6833" fmla="*/ 3770487 h 9250612"/>
                <a:gd name="connsiteX6834" fmla="*/ 3555688 w 6942639"/>
                <a:gd name="connsiteY6834" fmla="*/ 3761527 h 9250612"/>
                <a:gd name="connsiteX6835" fmla="*/ 3893170 w 6942639"/>
                <a:gd name="connsiteY6835" fmla="*/ 3761527 h 9250612"/>
                <a:gd name="connsiteX6836" fmla="*/ 3902131 w 6942639"/>
                <a:gd name="connsiteY6836" fmla="*/ 3770487 h 9250612"/>
                <a:gd name="connsiteX6837" fmla="*/ 3893170 w 6942639"/>
                <a:gd name="connsiteY6837" fmla="*/ 3779447 h 9250612"/>
                <a:gd name="connsiteX6838" fmla="*/ 3884210 w 6942639"/>
                <a:gd name="connsiteY6838" fmla="*/ 3770487 h 9250612"/>
                <a:gd name="connsiteX6839" fmla="*/ 3893170 w 6942639"/>
                <a:gd name="connsiteY6839" fmla="*/ 3761527 h 9250612"/>
                <a:gd name="connsiteX6840" fmla="*/ 4230654 w 6942639"/>
                <a:gd name="connsiteY6840" fmla="*/ 3761526 h 9250612"/>
                <a:gd name="connsiteX6841" fmla="*/ 4239615 w 6942639"/>
                <a:gd name="connsiteY6841" fmla="*/ 3770487 h 9250612"/>
                <a:gd name="connsiteX6842" fmla="*/ 4230654 w 6942639"/>
                <a:gd name="connsiteY6842" fmla="*/ 3779447 h 9250612"/>
                <a:gd name="connsiteX6843" fmla="*/ 4221694 w 6942639"/>
                <a:gd name="connsiteY6843" fmla="*/ 3770487 h 9250612"/>
                <a:gd name="connsiteX6844" fmla="*/ 4230654 w 6942639"/>
                <a:gd name="connsiteY6844" fmla="*/ 3761526 h 9250612"/>
                <a:gd name="connsiteX6845" fmla="*/ 4061912 w 6942639"/>
                <a:gd name="connsiteY6845" fmla="*/ 3761526 h 9250612"/>
                <a:gd name="connsiteX6846" fmla="*/ 4070873 w 6942639"/>
                <a:gd name="connsiteY6846" fmla="*/ 3770487 h 9250612"/>
                <a:gd name="connsiteX6847" fmla="*/ 4061912 w 6942639"/>
                <a:gd name="connsiteY6847" fmla="*/ 3779447 h 9250612"/>
                <a:gd name="connsiteX6848" fmla="*/ 4052952 w 6942639"/>
                <a:gd name="connsiteY6848" fmla="*/ 3770487 h 9250612"/>
                <a:gd name="connsiteX6849" fmla="*/ 4061912 w 6942639"/>
                <a:gd name="connsiteY6849" fmla="*/ 3761526 h 9250612"/>
                <a:gd name="connsiteX6850" fmla="*/ 4568137 w 6942639"/>
                <a:gd name="connsiteY6850" fmla="*/ 3761526 h 9250612"/>
                <a:gd name="connsiteX6851" fmla="*/ 4577098 w 6942639"/>
                <a:gd name="connsiteY6851" fmla="*/ 3770486 h 9250612"/>
                <a:gd name="connsiteX6852" fmla="*/ 4568137 w 6942639"/>
                <a:gd name="connsiteY6852" fmla="*/ 3779446 h 9250612"/>
                <a:gd name="connsiteX6853" fmla="*/ 4559177 w 6942639"/>
                <a:gd name="connsiteY6853" fmla="*/ 3770486 h 9250612"/>
                <a:gd name="connsiteX6854" fmla="*/ 4568137 w 6942639"/>
                <a:gd name="connsiteY6854" fmla="*/ 3761526 h 9250612"/>
                <a:gd name="connsiteX6855" fmla="*/ 4399396 w 6942639"/>
                <a:gd name="connsiteY6855" fmla="*/ 3761526 h 9250612"/>
                <a:gd name="connsiteX6856" fmla="*/ 4408357 w 6942639"/>
                <a:gd name="connsiteY6856" fmla="*/ 3770486 h 9250612"/>
                <a:gd name="connsiteX6857" fmla="*/ 4399396 w 6942639"/>
                <a:gd name="connsiteY6857" fmla="*/ 3779446 h 9250612"/>
                <a:gd name="connsiteX6858" fmla="*/ 4390436 w 6942639"/>
                <a:gd name="connsiteY6858" fmla="*/ 3770486 h 9250612"/>
                <a:gd name="connsiteX6859" fmla="*/ 4399396 w 6942639"/>
                <a:gd name="connsiteY6859" fmla="*/ 3761526 h 9250612"/>
                <a:gd name="connsiteX6860" fmla="*/ 4905620 w 6942639"/>
                <a:gd name="connsiteY6860" fmla="*/ 3761526 h 9250612"/>
                <a:gd name="connsiteX6861" fmla="*/ 4914581 w 6942639"/>
                <a:gd name="connsiteY6861" fmla="*/ 3770486 h 9250612"/>
                <a:gd name="connsiteX6862" fmla="*/ 4905620 w 6942639"/>
                <a:gd name="connsiteY6862" fmla="*/ 3779446 h 9250612"/>
                <a:gd name="connsiteX6863" fmla="*/ 4896660 w 6942639"/>
                <a:gd name="connsiteY6863" fmla="*/ 3770486 h 9250612"/>
                <a:gd name="connsiteX6864" fmla="*/ 4905620 w 6942639"/>
                <a:gd name="connsiteY6864" fmla="*/ 3761526 h 9250612"/>
                <a:gd name="connsiteX6865" fmla="*/ 4736878 w 6942639"/>
                <a:gd name="connsiteY6865" fmla="*/ 3761526 h 9250612"/>
                <a:gd name="connsiteX6866" fmla="*/ 4745839 w 6942639"/>
                <a:gd name="connsiteY6866" fmla="*/ 3770486 h 9250612"/>
                <a:gd name="connsiteX6867" fmla="*/ 4736878 w 6942639"/>
                <a:gd name="connsiteY6867" fmla="*/ 3779446 h 9250612"/>
                <a:gd name="connsiteX6868" fmla="*/ 4727918 w 6942639"/>
                <a:gd name="connsiteY6868" fmla="*/ 3770486 h 9250612"/>
                <a:gd name="connsiteX6869" fmla="*/ 4736878 w 6942639"/>
                <a:gd name="connsiteY6869" fmla="*/ 3761526 h 9250612"/>
                <a:gd name="connsiteX6870" fmla="*/ 5074362 w 6942639"/>
                <a:gd name="connsiteY6870" fmla="*/ 3761526 h 9250612"/>
                <a:gd name="connsiteX6871" fmla="*/ 5083323 w 6942639"/>
                <a:gd name="connsiteY6871" fmla="*/ 3770486 h 9250612"/>
                <a:gd name="connsiteX6872" fmla="*/ 5074362 w 6942639"/>
                <a:gd name="connsiteY6872" fmla="*/ 3779446 h 9250612"/>
                <a:gd name="connsiteX6873" fmla="*/ 5065402 w 6942639"/>
                <a:gd name="connsiteY6873" fmla="*/ 3770486 h 9250612"/>
                <a:gd name="connsiteX6874" fmla="*/ 5074362 w 6942639"/>
                <a:gd name="connsiteY6874" fmla="*/ 3761526 h 9250612"/>
                <a:gd name="connsiteX6875" fmla="*/ 5411845 w 6942639"/>
                <a:gd name="connsiteY6875" fmla="*/ 3761525 h 9250612"/>
                <a:gd name="connsiteX6876" fmla="*/ 5420806 w 6942639"/>
                <a:gd name="connsiteY6876" fmla="*/ 3770485 h 9250612"/>
                <a:gd name="connsiteX6877" fmla="*/ 5411845 w 6942639"/>
                <a:gd name="connsiteY6877" fmla="*/ 3779446 h 9250612"/>
                <a:gd name="connsiteX6878" fmla="*/ 5402885 w 6942639"/>
                <a:gd name="connsiteY6878" fmla="*/ 3770485 h 9250612"/>
                <a:gd name="connsiteX6879" fmla="*/ 5411845 w 6942639"/>
                <a:gd name="connsiteY6879" fmla="*/ 3761525 h 9250612"/>
                <a:gd name="connsiteX6880" fmla="*/ 5243103 w 6942639"/>
                <a:gd name="connsiteY6880" fmla="*/ 3761525 h 9250612"/>
                <a:gd name="connsiteX6881" fmla="*/ 5252064 w 6942639"/>
                <a:gd name="connsiteY6881" fmla="*/ 3770485 h 9250612"/>
                <a:gd name="connsiteX6882" fmla="*/ 5243103 w 6942639"/>
                <a:gd name="connsiteY6882" fmla="*/ 3779446 h 9250612"/>
                <a:gd name="connsiteX6883" fmla="*/ 5234143 w 6942639"/>
                <a:gd name="connsiteY6883" fmla="*/ 3770485 h 9250612"/>
                <a:gd name="connsiteX6884" fmla="*/ 5243103 w 6942639"/>
                <a:gd name="connsiteY6884" fmla="*/ 3761525 h 9250612"/>
                <a:gd name="connsiteX6885" fmla="*/ 5749328 w 6942639"/>
                <a:gd name="connsiteY6885" fmla="*/ 3761525 h 9250612"/>
                <a:gd name="connsiteX6886" fmla="*/ 5758289 w 6942639"/>
                <a:gd name="connsiteY6886" fmla="*/ 3770485 h 9250612"/>
                <a:gd name="connsiteX6887" fmla="*/ 5749328 w 6942639"/>
                <a:gd name="connsiteY6887" fmla="*/ 3779445 h 9250612"/>
                <a:gd name="connsiteX6888" fmla="*/ 5740368 w 6942639"/>
                <a:gd name="connsiteY6888" fmla="*/ 3770485 h 9250612"/>
                <a:gd name="connsiteX6889" fmla="*/ 5749328 w 6942639"/>
                <a:gd name="connsiteY6889" fmla="*/ 3761525 h 9250612"/>
                <a:gd name="connsiteX6890" fmla="*/ 5580586 w 6942639"/>
                <a:gd name="connsiteY6890" fmla="*/ 3761525 h 9250612"/>
                <a:gd name="connsiteX6891" fmla="*/ 5589547 w 6942639"/>
                <a:gd name="connsiteY6891" fmla="*/ 3770485 h 9250612"/>
                <a:gd name="connsiteX6892" fmla="*/ 5580586 w 6942639"/>
                <a:gd name="connsiteY6892" fmla="*/ 3779445 h 9250612"/>
                <a:gd name="connsiteX6893" fmla="*/ 5571626 w 6942639"/>
                <a:gd name="connsiteY6893" fmla="*/ 3770485 h 9250612"/>
                <a:gd name="connsiteX6894" fmla="*/ 5580586 w 6942639"/>
                <a:gd name="connsiteY6894" fmla="*/ 3761525 h 9250612"/>
                <a:gd name="connsiteX6895" fmla="*/ 6086811 w 6942639"/>
                <a:gd name="connsiteY6895" fmla="*/ 3761525 h 9250612"/>
                <a:gd name="connsiteX6896" fmla="*/ 6095772 w 6942639"/>
                <a:gd name="connsiteY6896" fmla="*/ 3770485 h 9250612"/>
                <a:gd name="connsiteX6897" fmla="*/ 6086811 w 6942639"/>
                <a:gd name="connsiteY6897" fmla="*/ 3779445 h 9250612"/>
                <a:gd name="connsiteX6898" fmla="*/ 6077851 w 6942639"/>
                <a:gd name="connsiteY6898" fmla="*/ 3770485 h 9250612"/>
                <a:gd name="connsiteX6899" fmla="*/ 6086811 w 6942639"/>
                <a:gd name="connsiteY6899" fmla="*/ 3761525 h 9250612"/>
                <a:gd name="connsiteX6900" fmla="*/ 5918069 w 6942639"/>
                <a:gd name="connsiteY6900" fmla="*/ 3761525 h 9250612"/>
                <a:gd name="connsiteX6901" fmla="*/ 5927030 w 6942639"/>
                <a:gd name="connsiteY6901" fmla="*/ 3770485 h 9250612"/>
                <a:gd name="connsiteX6902" fmla="*/ 5918069 w 6942639"/>
                <a:gd name="connsiteY6902" fmla="*/ 3779445 h 9250612"/>
                <a:gd name="connsiteX6903" fmla="*/ 5909109 w 6942639"/>
                <a:gd name="connsiteY6903" fmla="*/ 3770485 h 9250612"/>
                <a:gd name="connsiteX6904" fmla="*/ 5918069 w 6942639"/>
                <a:gd name="connsiteY6904" fmla="*/ 3761525 h 9250612"/>
                <a:gd name="connsiteX6905" fmla="*/ 6255553 w 6942639"/>
                <a:gd name="connsiteY6905" fmla="*/ 3761524 h 9250612"/>
                <a:gd name="connsiteX6906" fmla="*/ 6264514 w 6942639"/>
                <a:gd name="connsiteY6906" fmla="*/ 3770484 h 9250612"/>
                <a:gd name="connsiteX6907" fmla="*/ 6255553 w 6942639"/>
                <a:gd name="connsiteY6907" fmla="*/ 3779445 h 9250612"/>
                <a:gd name="connsiteX6908" fmla="*/ 6246593 w 6942639"/>
                <a:gd name="connsiteY6908" fmla="*/ 3770484 h 9250612"/>
                <a:gd name="connsiteX6909" fmla="*/ 6255553 w 6942639"/>
                <a:gd name="connsiteY6909" fmla="*/ 3761524 h 9250612"/>
                <a:gd name="connsiteX6910" fmla="*/ 6593035 w 6942639"/>
                <a:gd name="connsiteY6910" fmla="*/ 3761524 h 9250612"/>
                <a:gd name="connsiteX6911" fmla="*/ 6601996 w 6942639"/>
                <a:gd name="connsiteY6911" fmla="*/ 3770484 h 9250612"/>
                <a:gd name="connsiteX6912" fmla="*/ 6593035 w 6942639"/>
                <a:gd name="connsiteY6912" fmla="*/ 3779444 h 9250612"/>
                <a:gd name="connsiteX6913" fmla="*/ 6584075 w 6942639"/>
                <a:gd name="connsiteY6913" fmla="*/ 3770484 h 9250612"/>
                <a:gd name="connsiteX6914" fmla="*/ 6593035 w 6942639"/>
                <a:gd name="connsiteY6914" fmla="*/ 3761524 h 9250612"/>
                <a:gd name="connsiteX6915" fmla="*/ 6424294 w 6942639"/>
                <a:gd name="connsiteY6915" fmla="*/ 3761524 h 9250612"/>
                <a:gd name="connsiteX6916" fmla="*/ 6433255 w 6942639"/>
                <a:gd name="connsiteY6916" fmla="*/ 3770484 h 9250612"/>
                <a:gd name="connsiteX6917" fmla="*/ 6424294 w 6942639"/>
                <a:gd name="connsiteY6917" fmla="*/ 3779444 h 9250612"/>
                <a:gd name="connsiteX6918" fmla="*/ 6415334 w 6942639"/>
                <a:gd name="connsiteY6918" fmla="*/ 3770484 h 9250612"/>
                <a:gd name="connsiteX6919" fmla="*/ 6424294 w 6942639"/>
                <a:gd name="connsiteY6919" fmla="*/ 3761524 h 9250612"/>
                <a:gd name="connsiteX6920" fmla="*/ 6933679 w 6942639"/>
                <a:gd name="connsiteY6920" fmla="*/ 3761524 h 9250612"/>
                <a:gd name="connsiteX6921" fmla="*/ 6942639 w 6942639"/>
                <a:gd name="connsiteY6921" fmla="*/ 3770484 h 9250612"/>
                <a:gd name="connsiteX6922" fmla="*/ 6933679 w 6942639"/>
                <a:gd name="connsiteY6922" fmla="*/ 3779444 h 9250612"/>
                <a:gd name="connsiteX6923" fmla="*/ 6924718 w 6942639"/>
                <a:gd name="connsiteY6923" fmla="*/ 3770484 h 9250612"/>
                <a:gd name="connsiteX6924" fmla="*/ 6933679 w 6942639"/>
                <a:gd name="connsiteY6924" fmla="*/ 3761524 h 9250612"/>
                <a:gd name="connsiteX6925" fmla="*/ 6763357 w 6942639"/>
                <a:gd name="connsiteY6925" fmla="*/ 3761524 h 9250612"/>
                <a:gd name="connsiteX6926" fmla="*/ 6772318 w 6942639"/>
                <a:gd name="connsiteY6926" fmla="*/ 3770484 h 9250612"/>
                <a:gd name="connsiteX6927" fmla="*/ 6763357 w 6942639"/>
                <a:gd name="connsiteY6927" fmla="*/ 3779444 h 9250612"/>
                <a:gd name="connsiteX6928" fmla="*/ 6754397 w 6942639"/>
                <a:gd name="connsiteY6928" fmla="*/ 3770484 h 9250612"/>
                <a:gd name="connsiteX6929" fmla="*/ 6763357 w 6942639"/>
                <a:gd name="connsiteY6929" fmla="*/ 3761524 h 9250612"/>
                <a:gd name="connsiteX6930" fmla="*/ 6933679 w 6942639"/>
                <a:gd name="connsiteY6930" fmla="*/ 3590544 h 9250612"/>
                <a:gd name="connsiteX6931" fmla="*/ 6942639 w 6942639"/>
                <a:gd name="connsiteY6931" fmla="*/ 3599507 h 9250612"/>
                <a:gd name="connsiteX6932" fmla="*/ 6933679 w 6942639"/>
                <a:gd name="connsiteY6932" fmla="*/ 3608475 h 9250612"/>
                <a:gd name="connsiteX6933" fmla="*/ 6924718 w 6942639"/>
                <a:gd name="connsiteY6933" fmla="*/ 3599507 h 9250612"/>
                <a:gd name="connsiteX6934" fmla="*/ 6933679 w 6942639"/>
                <a:gd name="connsiteY6934" fmla="*/ 3590544 h 9250612"/>
                <a:gd name="connsiteX6935" fmla="*/ 6763357 w 6942639"/>
                <a:gd name="connsiteY6935" fmla="*/ 3590544 h 9250612"/>
                <a:gd name="connsiteX6936" fmla="*/ 6772318 w 6942639"/>
                <a:gd name="connsiteY6936" fmla="*/ 3599507 h 9250612"/>
                <a:gd name="connsiteX6937" fmla="*/ 6763357 w 6942639"/>
                <a:gd name="connsiteY6937" fmla="*/ 3608475 h 9250612"/>
                <a:gd name="connsiteX6938" fmla="*/ 6754397 w 6942639"/>
                <a:gd name="connsiteY6938" fmla="*/ 3599507 h 9250612"/>
                <a:gd name="connsiteX6939" fmla="*/ 6763357 w 6942639"/>
                <a:gd name="connsiteY6939" fmla="*/ 3590544 h 9250612"/>
                <a:gd name="connsiteX6940" fmla="*/ 6593035 w 6942639"/>
                <a:gd name="connsiteY6940" fmla="*/ 3590544 h 9250612"/>
                <a:gd name="connsiteX6941" fmla="*/ 6601996 w 6942639"/>
                <a:gd name="connsiteY6941" fmla="*/ 3599507 h 9250612"/>
                <a:gd name="connsiteX6942" fmla="*/ 6593035 w 6942639"/>
                <a:gd name="connsiteY6942" fmla="*/ 3608475 h 9250612"/>
                <a:gd name="connsiteX6943" fmla="*/ 6584075 w 6942639"/>
                <a:gd name="connsiteY6943" fmla="*/ 3599507 h 9250612"/>
                <a:gd name="connsiteX6944" fmla="*/ 6593035 w 6942639"/>
                <a:gd name="connsiteY6944" fmla="*/ 3590544 h 9250612"/>
                <a:gd name="connsiteX6945" fmla="*/ 6424294 w 6942639"/>
                <a:gd name="connsiteY6945" fmla="*/ 3590544 h 9250612"/>
                <a:gd name="connsiteX6946" fmla="*/ 6433255 w 6942639"/>
                <a:gd name="connsiteY6946" fmla="*/ 3599512 h 9250612"/>
                <a:gd name="connsiteX6947" fmla="*/ 6424294 w 6942639"/>
                <a:gd name="connsiteY6947" fmla="*/ 3608475 h 9250612"/>
                <a:gd name="connsiteX6948" fmla="*/ 6415334 w 6942639"/>
                <a:gd name="connsiteY6948" fmla="*/ 3599512 h 9250612"/>
                <a:gd name="connsiteX6949" fmla="*/ 6424294 w 6942639"/>
                <a:gd name="connsiteY6949" fmla="*/ 3590544 h 9250612"/>
                <a:gd name="connsiteX6950" fmla="*/ 6255553 w 6942639"/>
                <a:gd name="connsiteY6950" fmla="*/ 3590544 h 9250612"/>
                <a:gd name="connsiteX6951" fmla="*/ 6264514 w 6942639"/>
                <a:gd name="connsiteY6951" fmla="*/ 3599512 h 9250612"/>
                <a:gd name="connsiteX6952" fmla="*/ 6255553 w 6942639"/>
                <a:gd name="connsiteY6952" fmla="*/ 3608475 h 9250612"/>
                <a:gd name="connsiteX6953" fmla="*/ 6246593 w 6942639"/>
                <a:gd name="connsiteY6953" fmla="*/ 3599512 h 9250612"/>
                <a:gd name="connsiteX6954" fmla="*/ 6255553 w 6942639"/>
                <a:gd name="connsiteY6954" fmla="*/ 3590544 h 9250612"/>
                <a:gd name="connsiteX6955" fmla="*/ 6086811 w 6942639"/>
                <a:gd name="connsiteY6955" fmla="*/ 3590544 h 9250612"/>
                <a:gd name="connsiteX6956" fmla="*/ 6095772 w 6942639"/>
                <a:gd name="connsiteY6956" fmla="*/ 3599512 h 9250612"/>
                <a:gd name="connsiteX6957" fmla="*/ 6086811 w 6942639"/>
                <a:gd name="connsiteY6957" fmla="*/ 3608475 h 9250612"/>
                <a:gd name="connsiteX6958" fmla="*/ 6077851 w 6942639"/>
                <a:gd name="connsiteY6958" fmla="*/ 3599512 h 9250612"/>
                <a:gd name="connsiteX6959" fmla="*/ 6086811 w 6942639"/>
                <a:gd name="connsiteY6959" fmla="*/ 3590544 h 9250612"/>
                <a:gd name="connsiteX6960" fmla="*/ 5918069 w 6942639"/>
                <a:gd name="connsiteY6960" fmla="*/ 3590544 h 9250612"/>
                <a:gd name="connsiteX6961" fmla="*/ 5927030 w 6942639"/>
                <a:gd name="connsiteY6961" fmla="*/ 3599512 h 9250612"/>
                <a:gd name="connsiteX6962" fmla="*/ 5918069 w 6942639"/>
                <a:gd name="connsiteY6962" fmla="*/ 3608475 h 9250612"/>
                <a:gd name="connsiteX6963" fmla="*/ 5909109 w 6942639"/>
                <a:gd name="connsiteY6963" fmla="*/ 3599512 h 9250612"/>
                <a:gd name="connsiteX6964" fmla="*/ 5918069 w 6942639"/>
                <a:gd name="connsiteY6964" fmla="*/ 3590544 h 9250612"/>
                <a:gd name="connsiteX6965" fmla="*/ 5749328 w 6942639"/>
                <a:gd name="connsiteY6965" fmla="*/ 3590544 h 9250612"/>
                <a:gd name="connsiteX6966" fmla="*/ 5758289 w 6942639"/>
                <a:gd name="connsiteY6966" fmla="*/ 3599512 h 9250612"/>
                <a:gd name="connsiteX6967" fmla="*/ 5749328 w 6942639"/>
                <a:gd name="connsiteY6967" fmla="*/ 3608475 h 9250612"/>
                <a:gd name="connsiteX6968" fmla="*/ 5740368 w 6942639"/>
                <a:gd name="connsiteY6968" fmla="*/ 3599512 h 9250612"/>
                <a:gd name="connsiteX6969" fmla="*/ 5749328 w 6942639"/>
                <a:gd name="connsiteY6969" fmla="*/ 3590544 h 9250612"/>
                <a:gd name="connsiteX6970" fmla="*/ 5580586 w 6942639"/>
                <a:gd name="connsiteY6970" fmla="*/ 3590544 h 9250612"/>
                <a:gd name="connsiteX6971" fmla="*/ 5589547 w 6942639"/>
                <a:gd name="connsiteY6971" fmla="*/ 3599512 h 9250612"/>
                <a:gd name="connsiteX6972" fmla="*/ 5580586 w 6942639"/>
                <a:gd name="connsiteY6972" fmla="*/ 3608475 h 9250612"/>
                <a:gd name="connsiteX6973" fmla="*/ 5571626 w 6942639"/>
                <a:gd name="connsiteY6973" fmla="*/ 3599512 h 9250612"/>
                <a:gd name="connsiteX6974" fmla="*/ 5580586 w 6942639"/>
                <a:gd name="connsiteY6974" fmla="*/ 3590544 h 9250612"/>
                <a:gd name="connsiteX6975" fmla="*/ 5411845 w 6942639"/>
                <a:gd name="connsiteY6975" fmla="*/ 3590544 h 9250612"/>
                <a:gd name="connsiteX6976" fmla="*/ 5420806 w 6942639"/>
                <a:gd name="connsiteY6976" fmla="*/ 3599512 h 9250612"/>
                <a:gd name="connsiteX6977" fmla="*/ 5411845 w 6942639"/>
                <a:gd name="connsiteY6977" fmla="*/ 3608475 h 9250612"/>
                <a:gd name="connsiteX6978" fmla="*/ 5402885 w 6942639"/>
                <a:gd name="connsiteY6978" fmla="*/ 3599512 h 9250612"/>
                <a:gd name="connsiteX6979" fmla="*/ 5411845 w 6942639"/>
                <a:gd name="connsiteY6979" fmla="*/ 3590544 h 9250612"/>
                <a:gd name="connsiteX6980" fmla="*/ 5243103 w 6942639"/>
                <a:gd name="connsiteY6980" fmla="*/ 3590544 h 9250612"/>
                <a:gd name="connsiteX6981" fmla="*/ 5252064 w 6942639"/>
                <a:gd name="connsiteY6981" fmla="*/ 3599512 h 9250612"/>
                <a:gd name="connsiteX6982" fmla="*/ 5243103 w 6942639"/>
                <a:gd name="connsiteY6982" fmla="*/ 3608475 h 9250612"/>
                <a:gd name="connsiteX6983" fmla="*/ 5234143 w 6942639"/>
                <a:gd name="connsiteY6983" fmla="*/ 3599512 h 9250612"/>
                <a:gd name="connsiteX6984" fmla="*/ 5243103 w 6942639"/>
                <a:gd name="connsiteY6984" fmla="*/ 3590544 h 9250612"/>
                <a:gd name="connsiteX6985" fmla="*/ 5074362 w 6942639"/>
                <a:gd name="connsiteY6985" fmla="*/ 3590544 h 9250612"/>
                <a:gd name="connsiteX6986" fmla="*/ 5083323 w 6942639"/>
                <a:gd name="connsiteY6986" fmla="*/ 3599512 h 9250612"/>
                <a:gd name="connsiteX6987" fmla="*/ 5074362 w 6942639"/>
                <a:gd name="connsiteY6987" fmla="*/ 3608475 h 9250612"/>
                <a:gd name="connsiteX6988" fmla="*/ 5065402 w 6942639"/>
                <a:gd name="connsiteY6988" fmla="*/ 3599512 h 9250612"/>
                <a:gd name="connsiteX6989" fmla="*/ 5074362 w 6942639"/>
                <a:gd name="connsiteY6989" fmla="*/ 3590544 h 9250612"/>
                <a:gd name="connsiteX6990" fmla="*/ 4905620 w 6942639"/>
                <a:gd name="connsiteY6990" fmla="*/ 3590544 h 9250612"/>
                <a:gd name="connsiteX6991" fmla="*/ 4914581 w 6942639"/>
                <a:gd name="connsiteY6991" fmla="*/ 3599512 h 9250612"/>
                <a:gd name="connsiteX6992" fmla="*/ 4905620 w 6942639"/>
                <a:gd name="connsiteY6992" fmla="*/ 3608475 h 9250612"/>
                <a:gd name="connsiteX6993" fmla="*/ 4896660 w 6942639"/>
                <a:gd name="connsiteY6993" fmla="*/ 3599512 h 9250612"/>
                <a:gd name="connsiteX6994" fmla="*/ 4905620 w 6942639"/>
                <a:gd name="connsiteY6994" fmla="*/ 3590544 h 9250612"/>
                <a:gd name="connsiteX6995" fmla="*/ 4736878 w 6942639"/>
                <a:gd name="connsiteY6995" fmla="*/ 3590544 h 9250612"/>
                <a:gd name="connsiteX6996" fmla="*/ 4745839 w 6942639"/>
                <a:gd name="connsiteY6996" fmla="*/ 3599512 h 9250612"/>
                <a:gd name="connsiteX6997" fmla="*/ 4736878 w 6942639"/>
                <a:gd name="connsiteY6997" fmla="*/ 3608475 h 9250612"/>
                <a:gd name="connsiteX6998" fmla="*/ 4727918 w 6942639"/>
                <a:gd name="connsiteY6998" fmla="*/ 3599512 h 9250612"/>
                <a:gd name="connsiteX6999" fmla="*/ 4736878 w 6942639"/>
                <a:gd name="connsiteY6999" fmla="*/ 3590544 h 9250612"/>
                <a:gd name="connsiteX7000" fmla="*/ 4568137 w 6942639"/>
                <a:gd name="connsiteY7000" fmla="*/ 3590544 h 9250612"/>
                <a:gd name="connsiteX7001" fmla="*/ 4577098 w 6942639"/>
                <a:gd name="connsiteY7001" fmla="*/ 3599512 h 9250612"/>
                <a:gd name="connsiteX7002" fmla="*/ 4568137 w 6942639"/>
                <a:gd name="connsiteY7002" fmla="*/ 3608475 h 9250612"/>
                <a:gd name="connsiteX7003" fmla="*/ 4559177 w 6942639"/>
                <a:gd name="connsiteY7003" fmla="*/ 3599512 h 9250612"/>
                <a:gd name="connsiteX7004" fmla="*/ 4568137 w 6942639"/>
                <a:gd name="connsiteY7004" fmla="*/ 3590544 h 9250612"/>
                <a:gd name="connsiteX7005" fmla="*/ 4399396 w 6942639"/>
                <a:gd name="connsiteY7005" fmla="*/ 3590544 h 9250612"/>
                <a:gd name="connsiteX7006" fmla="*/ 4408357 w 6942639"/>
                <a:gd name="connsiteY7006" fmla="*/ 3599512 h 9250612"/>
                <a:gd name="connsiteX7007" fmla="*/ 4399396 w 6942639"/>
                <a:gd name="connsiteY7007" fmla="*/ 3608475 h 9250612"/>
                <a:gd name="connsiteX7008" fmla="*/ 4390436 w 6942639"/>
                <a:gd name="connsiteY7008" fmla="*/ 3599512 h 9250612"/>
                <a:gd name="connsiteX7009" fmla="*/ 4399396 w 6942639"/>
                <a:gd name="connsiteY7009" fmla="*/ 3590544 h 9250612"/>
                <a:gd name="connsiteX7010" fmla="*/ 4230654 w 6942639"/>
                <a:gd name="connsiteY7010" fmla="*/ 3590544 h 9250612"/>
                <a:gd name="connsiteX7011" fmla="*/ 4239615 w 6942639"/>
                <a:gd name="connsiteY7011" fmla="*/ 3599512 h 9250612"/>
                <a:gd name="connsiteX7012" fmla="*/ 4230654 w 6942639"/>
                <a:gd name="connsiteY7012" fmla="*/ 3608475 h 9250612"/>
                <a:gd name="connsiteX7013" fmla="*/ 4221694 w 6942639"/>
                <a:gd name="connsiteY7013" fmla="*/ 3599512 h 9250612"/>
                <a:gd name="connsiteX7014" fmla="*/ 4230654 w 6942639"/>
                <a:gd name="connsiteY7014" fmla="*/ 3590544 h 9250612"/>
                <a:gd name="connsiteX7015" fmla="*/ 4061912 w 6942639"/>
                <a:gd name="connsiteY7015" fmla="*/ 3590544 h 9250612"/>
                <a:gd name="connsiteX7016" fmla="*/ 4070873 w 6942639"/>
                <a:gd name="connsiteY7016" fmla="*/ 3599512 h 9250612"/>
                <a:gd name="connsiteX7017" fmla="*/ 4061912 w 6942639"/>
                <a:gd name="connsiteY7017" fmla="*/ 3608475 h 9250612"/>
                <a:gd name="connsiteX7018" fmla="*/ 4052952 w 6942639"/>
                <a:gd name="connsiteY7018" fmla="*/ 3599512 h 9250612"/>
                <a:gd name="connsiteX7019" fmla="*/ 4061912 w 6942639"/>
                <a:gd name="connsiteY7019" fmla="*/ 3590544 h 9250612"/>
                <a:gd name="connsiteX7020" fmla="*/ 3893170 w 6942639"/>
                <a:gd name="connsiteY7020" fmla="*/ 3590544 h 9250612"/>
                <a:gd name="connsiteX7021" fmla="*/ 3902131 w 6942639"/>
                <a:gd name="connsiteY7021" fmla="*/ 3599512 h 9250612"/>
                <a:gd name="connsiteX7022" fmla="*/ 3893170 w 6942639"/>
                <a:gd name="connsiteY7022" fmla="*/ 3608475 h 9250612"/>
                <a:gd name="connsiteX7023" fmla="*/ 3884210 w 6942639"/>
                <a:gd name="connsiteY7023" fmla="*/ 3599512 h 9250612"/>
                <a:gd name="connsiteX7024" fmla="*/ 3893170 w 6942639"/>
                <a:gd name="connsiteY7024" fmla="*/ 3590544 h 9250612"/>
                <a:gd name="connsiteX7025" fmla="*/ 3724429 w 6942639"/>
                <a:gd name="connsiteY7025" fmla="*/ 3590544 h 9250612"/>
                <a:gd name="connsiteX7026" fmla="*/ 3733390 w 6942639"/>
                <a:gd name="connsiteY7026" fmla="*/ 3599512 h 9250612"/>
                <a:gd name="connsiteX7027" fmla="*/ 3724429 w 6942639"/>
                <a:gd name="connsiteY7027" fmla="*/ 3608475 h 9250612"/>
                <a:gd name="connsiteX7028" fmla="*/ 3715469 w 6942639"/>
                <a:gd name="connsiteY7028" fmla="*/ 3599512 h 9250612"/>
                <a:gd name="connsiteX7029" fmla="*/ 3724429 w 6942639"/>
                <a:gd name="connsiteY7029" fmla="*/ 3590544 h 9250612"/>
                <a:gd name="connsiteX7030" fmla="*/ 3555688 w 6942639"/>
                <a:gd name="connsiteY7030" fmla="*/ 3590544 h 9250612"/>
                <a:gd name="connsiteX7031" fmla="*/ 3564649 w 6942639"/>
                <a:gd name="connsiteY7031" fmla="*/ 3599512 h 9250612"/>
                <a:gd name="connsiteX7032" fmla="*/ 3555688 w 6942639"/>
                <a:gd name="connsiteY7032" fmla="*/ 3608475 h 9250612"/>
                <a:gd name="connsiteX7033" fmla="*/ 3546728 w 6942639"/>
                <a:gd name="connsiteY7033" fmla="*/ 3599512 h 9250612"/>
                <a:gd name="connsiteX7034" fmla="*/ 3555688 w 6942639"/>
                <a:gd name="connsiteY7034" fmla="*/ 3590544 h 9250612"/>
                <a:gd name="connsiteX7035" fmla="*/ 3387047 w 6942639"/>
                <a:gd name="connsiteY7035" fmla="*/ 3590544 h 9250612"/>
                <a:gd name="connsiteX7036" fmla="*/ 3396007 w 6942639"/>
                <a:gd name="connsiteY7036" fmla="*/ 3599512 h 9250612"/>
                <a:gd name="connsiteX7037" fmla="*/ 3387047 w 6942639"/>
                <a:gd name="connsiteY7037" fmla="*/ 3608475 h 9250612"/>
                <a:gd name="connsiteX7038" fmla="*/ 3378036 w 6942639"/>
                <a:gd name="connsiteY7038" fmla="*/ 3599512 h 9250612"/>
                <a:gd name="connsiteX7039" fmla="*/ 3387047 w 6942639"/>
                <a:gd name="connsiteY7039" fmla="*/ 3590544 h 9250612"/>
                <a:gd name="connsiteX7040" fmla="*/ 3218288 w 6942639"/>
                <a:gd name="connsiteY7040" fmla="*/ 3590544 h 9250612"/>
                <a:gd name="connsiteX7041" fmla="*/ 3227258 w 6942639"/>
                <a:gd name="connsiteY7041" fmla="*/ 3599519 h 9250612"/>
                <a:gd name="connsiteX7042" fmla="*/ 3218288 w 6942639"/>
                <a:gd name="connsiteY7042" fmla="*/ 3608475 h 9250612"/>
                <a:gd name="connsiteX7043" fmla="*/ 3209320 w 6942639"/>
                <a:gd name="connsiteY7043" fmla="*/ 3599519 h 9250612"/>
                <a:gd name="connsiteX7044" fmla="*/ 3218288 w 6942639"/>
                <a:gd name="connsiteY7044" fmla="*/ 3590544 h 9250612"/>
                <a:gd name="connsiteX7045" fmla="*/ 3049579 w 6942639"/>
                <a:gd name="connsiteY7045" fmla="*/ 3590544 h 9250612"/>
                <a:gd name="connsiteX7046" fmla="*/ 3058526 w 6942639"/>
                <a:gd name="connsiteY7046" fmla="*/ 3599519 h 9250612"/>
                <a:gd name="connsiteX7047" fmla="*/ 3049579 w 6942639"/>
                <a:gd name="connsiteY7047" fmla="*/ 3608475 h 9250612"/>
                <a:gd name="connsiteX7048" fmla="*/ 3040609 w 6942639"/>
                <a:gd name="connsiteY7048" fmla="*/ 3599519 h 9250612"/>
                <a:gd name="connsiteX7049" fmla="*/ 3049579 w 6942639"/>
                <a:gd name="connsiteY7049" fmla="*/ 3590544 h 9250612"/>
                <a:gd name="connsiteX7050" fmla="*/ 2880850 w 6942639"/>
                <a:gd name="connsiteY7050" fmla="*/ 3590544 h 9250612"/>
                <a:gd name="connsiteX7051" fmla="*/ 2889808 w 6942639"/>
                <a:gd name="connsiteY7051" fmla="*/ 3599519 h 9250612"/>
                <a:gd name="connsiteX7052" fmla="*/ 2880850 w 6942639"/>
                <a:gd name="connsiteY7052" fmla="*/ 3608477 h 9250612"/>
                <a:gd name="connsiteX7053" fmla="*/ 2871891 w 6942639"/>
                <a:gd name="connsiteY7053" fmla="*/ 3599519 h 9250612"/>
                <a:gd name="connsiteX7054" fmla="*/ 2880850 w 6942639"/>
                <a:gd name="connsiteY7054" fmla="*/ 3590544 h 9250612"/>
                <a:gd name="connsiteX7055" fmla="*/ 2712085 w 6942639"/>
                <a:gd name="connsiteY7055" fmla="*/ 3590544 h 9250612"/>
                <a:gd name="connsiteX7056" fmla="*/ 2721068 w 6942639"/>
                <a:gd name="connsiteY7056" fmla="*/ 3599519 h 9250612"/>
                <a:gd name="connsiteX7057" fmla="*/ 2712085 w 6942639"/>
                <a:gd name="connsiteY7057" fmla="*/ 3608477 h 9250612"/>
                <a:gd name="connsiteX7058" fmla="*/ 2703129 w 6942639"/>
                <a:gd name="connsiteY7058" fmla="*/ 3599519 h 9250612"/>
                <a:gd name="connsiteX7059" fmla="*/ 2712085 w 6942639"/>
                <a:gd name="connsiteY7059" fmla="*/ 3590544 h 9250612"/>
                <a:gd name="connsiteX7060" fmla="*/ 2543396 w 6942639"/>
                <a:gd name="connsiteY7060" fmla="*/ 3590544 h 9250612"/>
                <a:gd name="connsiteX7061" fmla="*/ 2552357 w 6942639"/>
                <a:gd name="connsiteY7061" fmla="*/ 3599519 h 9250612"/>
                <a:gd name="connsiteX7062" fmla="*/ 2543396 w 6942639"/>
                <a:gd name="connsiteY7062" fmla="*/ 3608477 h 9250612"/>
                <a:gd name="connsiteX7063" fmla="*/ 2534426 w 6942639"/>
                <a:gd name="connsiteY7063" fmla="*/ 3599519 h 9250612"/>
                <a:gd name="connsiteX7064" fmla="*/ 2543396 w 6942639"/>
                <a:gd name="connsiteY7064" fmla="*/ 3590544 h 9250612"/>
                <a:gd name="connsiteX7065" fmla="*/ 2374604 w 6942639"/>
                <a:gd name="connsiteY7065" fmla="*/ 3590544 h 9250612"/>
                <a:gd name="connsiteX7066" fmla="*/ 2383606 w 6942639"/>
                <a:gd name="connsiteY7066" fmla="*/ 3599519 h 9250612"/>
                <a:gd name="connsiteX7067" fmla="*/ 2374604 w 6942639"/>
                <a:gd name="connsiteY7067" fmla="*/ 3608477 h 9250612"/>
                <a:gd name="connsiteX7068" fmla="*/ 2365640 w 6942639"/>
                <a:gd name="connsiteY7068" fmla="*/ 3599519 h 9250612"/>
                <a:gd name="connsiteX7069" fmla="*/ 2374604 w 6942639"/>
                <a:gd name="connsiteY7069" fmla="*/ 3590544 h 9250612"/>
                <a:gd name="connsiteX7070" fmla="*/ 2205899 w 6942639"/>
                <a:gd name="connsiteY7070" fmla="*/ 3590544 h 9250612"/>
                <a:gd name="connsiteX7071" fmla="*/ 2214855 w 6942639"/>
                <a:gd name="connsiteY7071" fmla="*/ 3599519 h 9250612"/>
                <a:gd name="connsiteX7072" fmla="*/ 2205899 w 6942639"/>
                <a:gd name="connsiteY7072" fmla="*/ 3608477 h 9250612"/>
                <a:gd name="connsiteX7073" fmla="*/ 2196907 w 6942639"/>
                <a:gd name="connsiteY7073" fmla="*/ 3599519 h 9250612"/>
                <a:gd name="connsiteX7074" fmla="*/ 2205899 w 6942639"/>
                <a:gd name="connsiteY7074" fmla="*/ 3590544 h 9250612"/>
                <a:gd name="connsiteX7075" fmla="*/ 2037151 w 6942639"/>
                <a:gd name="connsiteY7075" fmla="*/ 3590544 h 9250612"/>
                <a:gd name="connsiteX7076" fmla="*/ 2046095 w 6942639"/>
                <a:gd name="connsiteY7076" fmla="*/ 3599519 h 9250612"/>
                <a:gd name="connsiteX7077" fmla="*/ 2037151 w 6942639"/>
                <a:gd name="connsiteY7077" fmla="*/ 3608477 h 9250612"/>
                <a:gd name="connsiteX7078" fmla="*/ 2028211 w 6942639"/>
                <a:gd name="connsiteY7078" fmla="*/ 3599519 h 9250612"/>
                <a:gd name="connsiteX7079" fmla="*/ 2037151 w 6942639"/>
                <a:gd name="connsiteY7079" fmla="*/ 3590544 h 9250612"/>
                <a:gd name="connsiteX7080" fmla="*/ 1868443 w 6942639"/>
                <a:gd name="connsiteY7080" fmla="*/ 3590544 h 9250612"/>
                <a:gd name="connsiteX7081" fmla="*/ 1877393 w 6942639"/>
                <a:gd name="connsiteY7081" fmla="*/ 3599519 h 9250612"/>
                <a:gd name="connsiteX7082" fmla="*/ 1868443 w 6942639"/>
                <a:gd name="connsiteY7082" fmla="*/ 3608477 h 9250612"/>
                <a:gd name="connsiteX7083" fmla="*/ 1859468 w 6942639"/>
                <a:gd name="connsiteY7083" fmla="*/ 3599519 h 9250612"/>
                <a:gd name="connsiteX7084" fmla="*/ 1868443 w 6942639"/>
                <a:gd name="connsiteY7084" fmla="*/ 3590544 h 9250612"/>
                <a:gd name="connsiteX7085" fmla="*/ 1699691 w 6942639"/>
                <a:gd name="connsiteY7085" fmla="*/ 3590544 h 9250612"/>
                <a:gd name="connsiteX7086" fmla="*/ 1708660 w 6942639"/>
                <a:gd name="connsiteY7086" fmla="*/ 3599519 h 9250612"/>
                <a:gd name="connsiteX7087" fmla="*/ 1699691 w 6942639"/>
                <a:gd name="connsiteY7087" fmla="*/ 3608477 h 9250612"/>
                <a:gd name="connsiteX7088" fmla="*/ 1690725 w 6942639"/>
                <a:gd name="connsiteY7088" fmla="*/ 3599519 h 9250612"/>
                <a:gd name="connsiteX7089" fmla="*/ 1699691 w 6942639"/>
                <a:gd name="connsiteY7089" fmla="*/ 3590544 h 9250612"/>
                <a:gd name="connsiteX7090" fmla="*/ 1530950 w 6942639"/>
                <a:gd name="connsiteY7090" fmla="*/ 3590544 h 9250612"/>
                <a:gd name="connsiteX7091" fmla="*/ 1539912 w 6942639"/>
                <a:gd name="connsiteY7091" fmla="*/ 3599519 h 9250612"/>
                <a:gd name="connsiteX7092" fmla="*/ 1530950 w 6942639"/>
                <a:gd name="connsiteY7092" fmla="*/ 3608479 h 9250612"/>
                <a:gd name="connsiteX7093" fmla="*/ 1521988 w 6942639"/>
                <a:gd name="connsiteY7093" fmla="*/ 3599519 h 9250612"/>
                <a:gd name="connsiteX7094" fmla="*/ 1530950 w 6942639"/>
                <a:gd name="connsiteY7094" fmla="*/ 3590544 h 9250612"/>
                <a:gd name="connsiteX7095" fmla="*/ 1362199 w 6942639"/>
                <a:gd name="connsiteY7095" fmla="*/ 3590544 h 9250612"/>
                <a:gd name="connsiteX7096" fmla="*/ 1371161 w 6942639"/>
                <a:gd name="connsiteY7096" fmla="*/ 3599519 h 9250612"/>
                <a:gd name="connsiteX7097" fmla="*/ 1362199 w 6942639"/>
                <a:gd name="connsiteY7097" fmla="*/ 3608479 h 9250612"/>
                <a:gd name="connsiteX7098" fmla="*/ 1353238 w 6942639"/>
                <a:gd name="connsiteY7098" fmla="*/ 3599519 h 9250612"/>
                <a:gd name="connsiteX7099" fmla="*/ 1362199 w 6942639"/>
                <a:gd name="connsiteY7099" fmla="*/ 3590544 h 9250612"/>
                <a:gd name="connsiteX7100" fmla="*/ 1193458 w 6942639"/>
                <a:gd name="connsiteY7100" fmla="*/ 3590544 h 9250612"/>
                <a:gd name="connsiteX7101" fmla="*/ 1202418 w 6942639"/>
                <a:gd name="connsiteY7101" fmla="*/ 3599519 h 9250612"/>
                <a:gd name="connsiteX7102" fmla="*/ 1193458 w 6942639"/>
                <a:gd name="connsiteY7102" fmla="*/ 3608479 h 9250612"/>
                <a:gd name="connsiteX7103" fmla="*/ 1184499 w 6942639"/>
                <a:gd name="connsiteY7103" fmla="*/ 3599519 h 9250612"/>
                <a:gd name="connsiteX7104" fmla="*/ 1193458 w 6942639"/>
                <a:gd name="connsiteY7104" fmla="*/ 3590544 h 9250612"/>
                <a:gd name="connsiteX7105" fmla="*/ 1024704 w 6942639"/>
                <a:gd name="connsiteY7105" fmla="*/ 3590544 h 9250612"/>
                <a:gd name="connsiteX7106" fmla="*/ 1033671 w 6942639"/>
                <a:gd name="connsiteY7106" fmla="*/ 3599519 h 9250612"/>
                <a:gd name="connsiteX7107" fmla="*/ 1024704 w 6942639"/>
                <a:gd name="connsiteY7107" fmla="*/ 3608479 h 9250612"/>
                <a:gd name="connsiteX7108" fmla="*/ 1015745 w 6942639"/>
                <a:gd name="connsiteY7108" fmla="*/ 3599519 h 9250612"/>
                <a:gd name="connsiteX7109" fmla="*/ 1024704 w 6942639"/>
                <a:gd name="connsiteY7109" fmla="*/ 3590544 h 9250612"/>
                <a:gd name="connsiteX7110" fmla="*/ 855977 w 6942639"/>
                <a:gd name="connsiteY7110" fmla="*/ 3590544 h 9250612"/>
                <a:gd name="connsiteX7111" fmla="*/ 864937 w 6942639"/>
                <a:gd name="connsiteY7111" fmla="*/ 3599519 h 9250612"/>
                <a:gd name="connsiteX7112" fmla="*/ 855977 w 6942639"/>
                <a:gd name="connsiteY7112" fmla="*/ 3608479 h 9250612"/>
                <a:gd name="connsiteX7113" fmla="*/ 847018 w 6942639"/>
                <a:gd name="connsiteY7113" fmla="*/ 3599519 h 9250612"/>
                <a:gd name="connsiteX7114" fmla="*/ 855977 w 6942639"/>
                <a:gd name="connsiteY7114" fmla="*/ 3590544 h 9250612"/>
                <a:gd name="connsiteX7115" fmla="*/ 687238 w 6942639"/>
                <a:gd name="connsiteY7115" fmla="*/ 3590544 h 9250612"/>
                <a:gd name="connsiteX7116" fmla="*/ 696198 w 6942639"/>
                <a:gd name="connsiteY7116" fmla="*/ 3599519 h 9250612"/>
                <a:gd name="connsiteX7117" fmla="*/ 687238 w 6942639"/>
                <a:gd name="connsiteY7117" fmla="*/ 3608479 h 9250612"/>
                <a:gd name="connsiteX7118" fmla="*/ 678279 w 6942639"/>
                <a:gd name="connsiteY7118" fmla="*/ 3599519 h 9250612"/>
                <a:gd name="connsiteX7119" fmla="*/ 687238 w 6942639"/>
                <a:gd name="connsiteY7119" fmla="*/ 3590544 h 9250612"/>
                <a:gd name="connsiteX7120" fmla="*/ 518469 w 6942639"/>
                <a:gd name="connsiteY7120" fmla="*/ 3590544 h 9250612"/>
                <a:gd name="connsiteX7121" fmla="*/ 527430 w 6942639"/>
                <a:gd name="connsiteY7121" fmla="*/ 3599519 h 9250612"/>
                <a:gd name="connsiteX7122" fmla="*/ 518469 w 6942639"/>
                <a:gd name="connsiteY7122" fmla="*/ 3608479 h 9250612"/>
                <a:gd name="connsiteX7123" fmla="*/ 509509 w 6942639"/>
                <a:gd name="connsiteY7123" fmla="*/ 3599519 h 9250612"/>
                <a:gd name="connsiteX7124" fmla="*/ 518469 w 6942639"/>
                <a:gd name="connsiteY7124" fmla="*/ 3590544 h 9250612"/>
                <a:gd name="connsiteX7125" fmla="*/ 349731 w 6942639"/>
                <a:gd name="connsiteY7125" fmla="*/ 3590544 h 9250612"/>
                <a:gd name="connsiteX7126" fmla="*/ 358692 w 6942639"/>
                <a:gd name="connsiteY7126" fmla="*/ 3599519 h 9250612"/>
                <a:gd name="connsiteX7127" fmla="*/ 349731 w 6942639"/>
                <a:gd name="connsiteY7127" fmla="*/ 3608479 h 9250612"/>
                <a:gd name="connsiteX7128" fmla="*/ 340772 w 6942639"/>
                <a:gd name="connsiteY7128" fmla="*/ 3599519 h 9250612"/>
                <a:gd name="connsiteX7129" fmla="*/ 349731 w 6942639"/>
                <a:gd name="connsiteY7129" fmla="*/ 3590544 h 9250612"/>
                <a:gd name="connsiteX7130" fmla="*/ 179413 w 6942639"/>
                <a:gd name="connsiteY7130" fmla="*/ 3590544 h 9250612"/>
                <a:gd name="connsiteX7131" fmla="*/ 188374 w 6942639"/>
                <a:gd name="connsiteY7131" fmla="*/ 3599519 h 9250612"/>
                <a:gd name="connsiteX7132" fmla="*/ 179413 w 6942639"/>
                <a:gd name="connsiteY7132" fmla="*/ 3608479 h 9250612"/>
                <a:gd name="connsiteX7133" fmla="*/ 170453 w 6942639"/>
                <a:gd name="connsiteY7133" fmla="*/ 3599519 h 9250612"/>
                <a:gd name="connsiteX7134" fmla="*/ 179413 w 6942639"/>
                <a:gd name="connsiteY7134" fmla="*/ 3590544 h 9250612"/>
                <a:gd name="connsiteX7135" fmla="*/ 9097 w 6942639"/>
                <a:gd name="connsiteY7135" fmla="*/ 3590544 h 9250612"/>
                <a:gd name="connsiteX7136" fmla="*/ 18056 w 6942639"/>
                <a:gd name="connsiteY7136" fmla="*/ 3599519 h 9250612"/>
                <a:gd name="connsiteX7137" fmla="*/ 9097 w 6942639"/>
                <a:gd name="connsiteY7137" fmla="*/ 3608479 h 9250612"/>
                <a:gd name="connsiteX7138" fmla="*/ 136 w 6942639"/>
                <a:gd name="connsiteY7138" fmla="*/ 3599519 h 9250612"/>
                <a:gd name="connsiteX7139" fmla="*/ 9097 w 6942639"/>
                <a:gd name="connsiteY7139" fmla="*/ 3590544 h 9250612"/>
                <a:gd name="connsiteX7140" fmla="*/ 349735 w 6942639"/>
                <a:gd name="connsiteY7140" fmla="*/ 3419583 h 9250612"/>
                <a:gd name="connsiteX7141" fmla="*/ 358696 w 6942639"/>
                <a:gd name="connsiteY7141" fmla="*/ 3428544 h 9250612"/>
                <a:gd name="connsiteX7142" fmla="*/ 349735 w 6942639"/>
                <a:gd name="connsiteY7142" fmla="*/ 3437503 h 9250612"/>
                <a:gd name="connsiteX7143" fmla="*/ 340775 w 6942639"/>
                <a:gd name="connsiteY7143" fmla="*/ 3428544 h 9250612"/>
                <a:gd name="connsiteX7144" fmla="*/ 349735 w 6942639"/>
                <a:gd name="connsiteY7144" fmla="*/ 3419583 h 9250612"/>
                <a:gd name="connsiteX7145" fmla="*/ 179417 w 6942639"/>
                <a:gd name="connsiteY7145" fmla="*/ 3419583 h 9250612"/>
                <a:gd name="connsiteX7146" fmla="*/ 188378 w 6942639"/>
                <a:gd name="connsiteY7146" fmla="*/ 3428544 h 9250612"/>
                <a:gd name="connsiteX7147" fmla="*/ 179417 w 6942639"/>
                <a:gd name="connsiteY7147" fmla="*/ 3437503 h 9250612"/>
                <a:gd name="connsiteX7148" fmla="*/ 170457 w 6942639"/>
                <a:gd name="connsiteY7148" fmla="*/ 3428544 h 9250612"/>
                <a:gd name="connsiteX7149" fmla="*/ 179417 w 6942639"/>
                <a:gd name="connsiteY7149" fmla="*/ 3419583 h 9250612"/>
                <a:gd name="connsiteX7150" fmla="*/ 687243 w 6942639"/>
                <a:gd name="connsiteY7150" fmla="*/ 3419581 h 9250612"/>
                <a:gd name="connsiteX7151" fmla="*/ 696203 w 6942639"/>
                <a:gd name="connsiteY7151" fmla="*/ 3428543 h 9250612"/>
                <a:gd name="connsiteX7152" fmla="*/ 687243 w 6942639"/>
                <a:gd name="connsiteY7152" fmla="*/ 3437503 h 9250612"/>
                <a:gd name="connsiteX7153" fmla="*/ 678284 w 6942639"/>
                <a:gd name="connsiteY7153" fmla="*/ 3428543 h 9250612"/>
                <a:gd name="connsiteX7154" fmla="*/ 687243 w 6942639"/>
                <a:gd name="connsiteY7154" fmla="*/ 3419581 h 9250612"/>
                <a:gd name="connsiteX7155" fmla="*/ 518473 w 6942639"/>
                <a:gd name="connsiteY7155" fmla="*/ 3419581 h 9250612"/>
                <a:gd name="connsiteX7156" fmla="*/ 527433 w 6942639"/>
                <a:gd name="connsiteY7156" fmla="*/ 3428543 h 9250612"/>
                <a:gd name="connsiteX7157" fmla="*/ 518473 w 6942639"/>
                <a:gd name="connsiteY7157" fmla="*/ 3437503 h 9250612"/>
                <a:gd name="connsiteX7158" fmla="*/ 509513 w 6942639"/>
                <a:gd name="connsiteY7158" fmla="*/ 3428543 h 9250612"/>
                <a:gd name="connsiteX7159" fmla="*/ 518473 w 6942639"/>
                <a:gd name="connsiteY7159" fmla="*/ 3419581 h 9250612"/>
                <a:gd name="connsiteX7160" fmla="*/ 9101 w 6942639"/>
                <a:gd name="connsiteY7160" fmla="*/ 3419581 h 9250612"/>
                <a:gd name="connsiteX7161" fmla="*/ 18060 w 6942639"/>
                <a:gd name="connsiteY7161" fmla="*/ 3428544 h 9250612"/>
                <a:gd name="connsiteX7162" fmla="*/ 9101 w 6942639"/>
                <a:gd name="connsiteY7162" fmla="*/ 3437503 h 9250612"/>
                <a:gd name="connsiteX7163" fmla="*/ 140 w 6942639"/>
                <a:gd name="connsiteY7163" fmla="*/ 3428544 h 9250612"/>
                <a:gd name="connsiteX7164" fmla="*/ 9101 w 6942639"/>
                <a:gd name="connsiteY7164" fmla="*/ 3419581 h 9250612"/>
                <a:gd name="connsiteX7165" fmla="*/ 2374607 w 6942639"/>
                <a:gd name="connsiteY7165" fmla="*/ 3419581 h 9250612"/>
                <a:gd name="connsiteX7166" fmla="*/ 2383611 w 6942639"/>
                <a:gd name="connsiteY7166" fmla="*/ 3428541 h 9250612"/>
                <a:gd name="connsiteX7167" fmla="*/ 2374607 w 6942639"/>
                <a:gd name="connsiteY7167" fmla="*/ 3437500 h 9250612"/>
                <a:gd name="connsiteX7168" fmla="*/ 2365643 w 6942639"/>
                <a:gd name="connsiteY7168" fmla="*/ 3428541 h 9250612"/>
                <a:gd name="connsiteX7169" fmla="*/ 2374607 w 6942639"/>
                <a:gd name="connsiteY7169" fmla="*/ 3419581 h 9250612"/>
                <a:gd name="connsiteX7170" fmla="*/ 2205903 w 6942639"/>
                <a:gd name="connsiteY7170" fmla="*/ 3419581 h 9250612"/>
                <a:gd name="connsiteX7171" fmla="*/ 2214859 w 6942639"/>
                <a:gd name="connsiteY7171" fmla="*/ 3428541 h 9250612"/>
                <a:gd name="connsiteX7172" fmla="*/ 2205903 w 6942639"/>
                <a:gd name="connsiteY7172" fmla="*/ 3437500 h 9250612"/>
                <a:gd name="connsiteX7173" fmla="*/ 2196910 w 6942639"/>
                <a:gd name="connsiteY7173" fmla="*/ 3428541 h 9250612"/>
                <a:gd name="connsiteX7174" fmla="*/ 2205903 w 6942639"/>
                <a:gd name="connsiteY7174" fmla="*/ 3419581 h 9250612"/>
                <a:gd name="connsiteX7175" fmla="*/ 2037154 w 6942639"/>
                <a:gd name="connsiteY7175" fmla="*/ 3419581 h 9250612"/>
                <a:gd name="connsiteX7176" fmla="*/ 2046099 w 6942639"/>
                <a:gd name="connsiteY7176" fmla="*/ 3428542 h 9250612"/>
                <a:gd name="connsiteX7177" fmla="*/ 2037154 w 6942639"/>
                <a:gd name="connsiteY7177" fmla="*/ 3437500 h 9250612"/>
                <a:gd name="connsiteX7178" fmla="*/ 2028216 w 6942639"/>
                <a:gd name="connsiteY7178" fmla="*/ 3428542 h 9250612"/>
                <a:gd name="connsiteX7179" fmla="*/ 2037154 w 6942639"/>
                <a:gd name="connsiteY7179" fmla="*/ 3419581 h 9250612"/>
                <a:gd name="connsiteX7180" fmla="*/ 1868448 w 6942639"/>
                <a:gd name="connsiteY7180" fmla="*/ 3419581 h 9250612"/>
                <a:gd name="connsiteX7181" fmla="*/ 1877398 w 6942639"/>
                <a:gd name="connsiteY7181" fmla="*/ 3428542 h 9250612"/>
                <a:gd name="connsiteX7182" fmla="*/ 1868448 w 6942639"/>
                <a:gd name="connsiteY7182" fmla="*/ 3437500 h 9250612"/>
                <a:gd name="connsiteX7183" fmla="*/ 1859473 w 6942639"/>
                <a:gd name="connsiteY7183" fmla="*/ 3428542 h 9250612"/>
                <a:gd name="connsiteX7184" fmla="*/ 1868448 w 6942639"/>
                <a:gd name="connsiteY7184" fmla="*/ 3419581 h 9250612"/>
                <a:gd name="connsiteX7185" fmla="*/ 1699697 w 6942639"/>
                <a:gd name="connsiteY7185" fmla="*/ 3419581 h 9250612"/>
                <a:gd name="connsiteX7186" fmla="*/ 1708665 w 6942639"/>
                <a:gd name="connsiteY7186" fmla="*/ 3428542 h 9250612"/>
                <a:gd name="connsiteX7187" fmla="*/ 1699697 w 6942639"/>
                <a:gd name="connsiteY7187" fmla="*/ 3437501 h 9250612"/>
                <a:gd name="connsiteX7188" fmla="*/ 1690730 w 6942639"/>
                <a:gd name="connsiteY7188" fmla="*/ 3428542 h 9250612"/>
                <a:gd name="connsiteX7189" fmla="*/ 1699697 w 6942639"/>
                <a:gd name="connsiteY7189" fmla="*/ 3419581 h 9250612"/>
                <a:gd name="connsiteX7190" fmla="*/ 1530955 w 6942639"/>
                <a:gd name="connsiteY7190" fmla="*/ 3419581 h 9250612"/>
                <a:gd name="connsiteX7191" fmla="*/ 1539917 w 6942639"/>
                <a:gd name="connsiteY7191" fmla="*/ 3428542 h 9250612"/>
                <a:gd name="connsiteX7192" fmla="*/ 1530955 w 6942639"/>
                <a:gd name="connsiteY7192" fmla="*/ 3437501 h 9250612"/>
                <a:gd name="connsiteX7193" fmla="*/ 1521993 w 6942639"/>
                <a:gd name="connsiteY7193" fmla="*/ 3428542 h 9250612"/>
                <a:gd name="connsiteX7194" fmla="*/ 1530955 w 6942639"/>
                <a:gd name="connsiteY7194" fmla="*/ 3419581 h 9250612"/>
                <a:gd name="connsiteX7195" fmla="*/ 1362204 w 6942639"/>
                <a:gd name="connsiteY7195" fmla="*/ 3419581 h 9250612"/>
                <a:gd name="connsiteX7196" fmla="*/ 1371166 w 6942639"/>
                <a:gd name="connsiteY7196" fmla="*/ 3428542 h 9250612"/>
                <a:gd name="connsiteX7197" fmla="*/ 1362204 w 6942639"/>
                <a:gd name="connsiteY7197" fmla="*/ 3437501 h 9250612"/>
                <a:gd name="connsiteX7198" fmla="*/ 1353243 w 6942639"/>
                <a:gd name="connsiteY7198" fmla="*/ 3428542 h 9250612"/>
                <a:gd name="connsiteX7199" fmla="*/ 1362204 w 6942639"/>
                <a:gd name="connsiteY7199" fmla="*/ 3419581 h 9250612"/>
                <a:gd name="connsiteX7200" fmla="*/ 1193462 w 6942639"/>
                <a:gd name="connsiteY7200" fmla="*/ 3419581 h 9250612"/>
                <a:gd name="connsiteX7201" fmla="*/ 1202423 w 6942639"/>
                <a:gd name="connsiteY7201" fmla="*/ 3428542 h 9250612"/>
                <a:gd name="connsiteX7202" fmla="*/ 1193462 w 6942639"/>
                <a:gd name="connsiteY7202" fmla="*/ 3437501 h 9250612"/>
                <a:gd name="connsiteX7203" fmla="*/ 1184504 w 6942639"/>
                <a:gd name="connsiteY7203" fmla="*/ 3428542 h 9250612"/>
                <a:gd name="connsiteX7204" fmla="*/ 1193462 w 6942639"/>
                <a:gd name="connsiteY7204" fmla="*/ 3419581 h 9250612"/>
                <a:gd name="connsiteX7205" fmla="*/ 1024708 w 6942639"/>
                <a:gd name="connsiteY7205" fmla="*/ 3419581 h 9250612"/>
                <a:gd name="connsiteX7206" fmla="*/ 1033675 w 6942639"/>
                <a:gd name="connsiteY7206" fmla="*/ 3428543 h 9250612"/>
                <a:gd name="connsiteX7207" fmla="*/ 1024708 w 6942639"/>
                <a:gd name="connsiteY7207" fmla="*/ 3437501 h 9250612"/>
                <a:gd name="connsiteX7208" fmla="*/ 1015750 w 6942639"/>
                <a:gd name="connsiteY7208" fmla="*/ 3428543 h 9250612"/>
                <a:gd name="connsiteX7209" fmla="*/ 1024708 w 6942639"/>
                <a:gd name="connsiteY7209" fmla="*/ 3419581 h 9250612"/>
                <a:gd name="connsiteX7210" fmla="*/ 855982 w 6942639"/>
                <a:gd name="connsiteY7210" fmla="*/ 3419581 h 9250612"/>
                <a:gd name="connsiteX7211" fmla="*/ 864942 w 6942639"/>
                <a:gd name="connsiteY7211" fmla="*/ 3428543 h 9250612"/>
                <a:gd name="connsiteX7212" fmla="*/ 855982 w 6942639"/>
                <a:gd name="connsiteY7212" fmla="*/ 3437501 h 9250612"/>
                <a:gd name="connsiteX7213" fmla="*/ 847022 w 6942639"/>
                <a:gd name="connsiteY7213" fmla="*/ 3428543 h 9250612"/>
                <a:gd name="connsiteX7214" fmla="*/ 855982 w 6942639"/>
                <a:gd name="connsiteY7214" fmla="*/ 3419581 h 9250612"/>
                <a:gd name="connsiteX7215" fmla="*/ 3218290 w 6942639"/>
                <a:gd name="connsiteY7215" fmla="*/ 3419578 h 9250612"/>
                <a:gd name="connsiteX7216" fmla="*/ 3227261 w 6942639"/>
                <a:gd name="connsiteY7216" fmla="*/ 3428541 h 9250612"/>
                <a:gd name="connsiteX7217" fmla="*/ 3218290 w 6942639"/>
                <a:gd name="connsiteY7217" fmla="*/ 3437500 h 9250612"/>
                <a:gd name="connsiteX7218" fmla="*/ 3209321 w 6942639"/>
                <a:gd name="connsiteY7218" fmla="*/ 3428541 h 9250612"/>
                <a:gd name="connsiteX7219" fmla="*/ 3218290 w 6942639"/>
                <a:gd name="connsiteY7219" fmla="*/ 3419578 h 9250612"/>
                <a:gd name="connsiteX7220" fmla="*/ 3049582 w 6942639"/>
                <a:gd name="connsiteY7220" fmla="*/ 3419578 h 9250612"/>
                <a:gd name="connsiteX7221" fmla="*/ 3058529 w 6942639"/>
                <a:gd name="connsiteY7221" fmla="*/ 3428541 h 9250612"/>
                <a:gd name="connsiteX7222" fmla="*/ 3049582 w 6942639"/>
                <a:gd name="connsiteY7222" fmla="*/ 3437500 h 9250612"/>
                <a:gd name="connsiteX7223" fmla="*/ 3040612 w 6942639"/>
                <a:gd name="connsiteY7223" fmla="*/ 3428541 h 9250612"/>
                <a:gd name="connsiteX7224" fmla="*/ 3049582 w 6942639"/>
                <a:gd name="connsiteY7224" fmla="*/ 3419578 h 9250612"/>
                <a:gd name="connsiteX7225" fmla="*/ 2880853 w 6942639"/>
                <a:gd name="connsiteY7225" fmla="*/ 3419578 h 9250612"/>
                <a:gd name="connsiteX7226" fmla="*/ 2889812 w 6942639"/>
                <a:gd name="connsiteY7226" fmla="*/ 3428541 h 9250612"/>
                <a:gd name="connsiteX7227" fmla="*/ 2880853 w 6942639"/>
                <a:gd name="connsiteY7227" fmla="*/ 3437500 h 9250612"/>
                <a:gd name="connsiteX7228" fmla="*/ 2871896 w 6942639"/>
                <a:gd name="connsiteY7228" fmla="*/ 3428541 h 9250612"/>
                <a:gd name="connsiteX7229" fmla="*/ 2880853 w 6942639"/>
                <a:gd name="connsiteY7229" fmla="*/ 3419578 h 9250612"/>
                <a:gd name="connsiteX7230" fmla="*/ 2712088 w 6942639"/>
                <a:gd name="connsiteY7230" fmla="*/ 3419578 h 9250612"/>
                <a:gd name="connsiteX7231" fmla="*/ 2721071 w 6942639"/>
                <a:gd name="connsiteY7231" fmla="*/ 3428541 h 9250612"/>
                <a:gd name="connsiteX7232" fmla="*/ 2712088 w 6942639"/>
                <a:gd name="connsiteY7232" fmla="*/ 3437500 h 9250612"/>
                <a:gd name="connsiteX7233" fmla="*/ 2703132 w 6942639"/>
                <a:gd name="connsiteY7233" fmla="*/ 3428541 h 9250612"/>
                <a:gd name="connsiteX7234" fmla="*/ 2712088 w 6942639"/>
                <a:gd name="connsiteY7234" fmla="*/ 3419578 h 9250612"/>
                <a:gd name="connsiteX7235" fmla="*/ 2543400 w 6942639"/>
                <a:gd name="connsiteY7235" fmla="*/ 3419578 h 9250612"/>
                <a:gd name="connsiteX7236" fmla="*/ 2552363 w 6942639"/>
                <a:gd name="connsiteY7236" fmla="*/ 3428541 h 9250612"/>
                <a:gd name="connsiteX7237" fmla="*/ 2543400 w 6942639"/>
                <a:gd name="connsiteY7237" fmla="*/ 3437500 h 9250612"/>
                <a:gd name="connsiteX7238" fmla="*/ 2534431 w 6942639"/>
                <a:gd name="connsiteY7238" fmla="*/ 3428541 h 9250612"/>
                <a:gd name="connsiteX7239" fmla="*/ 2543400 w 6942639"/>
                <a:gd name="connsiteY7239" fmla="*/ 3419578 h 9250612"/>
                <a:gd name="connsiteX7240" fmla="*/ 4061912 w 6942639"/>
                <a:gd name="connsiteY7240" fmla="*/ 3419577 h 9250612"/>
                <a:gd name="connsiteX7241" fmla="*/ 4070873 w 6942639"/>
                <a:gd name="connsiteY7241" fmla="*/ 3428539 h 9250612"/>
                <a:gd name="connsiteX7242" fmla="*/ 4061912 w 6942639"/>
                <a:gd name="connsiteY7242" fmla="*/ 3437498 h 9250612"/>
                <a:gd name="connsiteX7243" fmla="*/ 4052952 w 6942639"/>
                <a:gd name="connsiteY7243" fmla="*/ 3428539 h 9250612"/>
                <a:gd name="connsiteX7244" fmla="*/ 4061912 w 6942639"/>
                <a:gd name="connsiteY7244" fmla="*/ 3419577 h 9250612"/>
                <a:gd name="connsiteX7245" fmla="*/ 3893170 w 6942639"/>
                <a:gd name="connsiteY7245" fmla="*/ 3419577 h 9250612"/>
                <a:gd name="connsiteX7246" fmla="*/ 3902131 w 6942639"/>
                <a:gd name="connsiteY7246" fmla="*/ 3428539 h 9250612"/>
                <a:gd name="connsiteX7247" fmla="*/ 3893170 w 6942639"/>
                <a:gd name="connsiteY7247" fmla="*/ 3437498 h 9250612"/>
                <a:gd name="connsiteX7248" fmla="*/ 3884210 w 6942639"/>
                <a:gd name="connsiteY7248" fmla="*/ 3428539 h 9250612"/>
                <a:gd name="connsiteX7249" fmla="*/ 3893170 w 6942639"/>
                <a:gd name="connsiteY7249" fmla="*/ 3419577 h 9250612"/>
                <a:gd name="connsiteX7250" fmla="*/ 3724429 w 6942639"/>
                <a:gd name="connsiteY7250" fmla="*/ 3419577 h 9250612"/>
                <a:gd name="connsiteX7251" fmla="*/ 3733390 w 6942639"/>
                <a:gd name="connsiteY7251" fmla="*/ 3428540 h 9250612"/>
                <a:gd name="connsiteX7252" fmla="*/ 3724429 w 6942639"/>
                <a:gd name="connsiteY7252" fmla="*/ 3437500 h 9250612"/>
                <a:gd name="connsiteX7253" fmla="*/ 3715469 w 6942639"/>
                <a:gd name="connsiteY7253" fmla="*/ 3428540 h 9250612"/>
                <a:gd name="connsiteX7254" fmla="*/ 3724429 w 6942639"/>
                <a:gd name="connsiteY7254" fmla="*/ 3419577 h 9250612"/>
                <a:gd name="connsiteX7255" fmla="*/ 3555688 w 6942639"/>
                <a:gd name="connsiteY7255" fmla="*/ 3419577 h 9250612"/>
                <a:gd name="connsiteX7256" fmla="*/ 3564649 w 6942639"/>
                <a:gd name="connsiteY7256" fmla="*/ 3428540 h 9250612"/>
                <a:gd name="connsiteX7257" fmla="*/ 3555688 w 6942639"/>
                <a:gd name="connsiteY7257" fmla="*/ 3437500 h 9250612"/>
                <a:gd name="connsiteX7258" fmla="*/ 3546728 w 6942639"/>
                <a:gd name="connsiteY7258" fmla="*/ 3428540 h 9250612"/>
                <a:gd name="connsiteX7259" fmla="*/ 3555688 w 6942639"/>
                <a:gd name="connsiteY7259" fmla="*/ 3419577 h 9250612"/>
                <a:gd name="connsiteX7260" fmla="*/ 3387049 w 6942639"/>
                <a:gd name="connsiteY7260" fmla="*/ 3419577 h 9250612"/>
                <a:gd name="connsiteX7261" fmla="*/ 3396010 w 6942639"/>
                <a:gd name="connsiteY7261" fmla="*/ 3428540 h 9250612"/>
                <a:gd name="connsiteX7262" fmla="*/ 3387049 w 6942639"/>
                <a:gd name="connsiteY7262" fmla="*/ 3437500 h 9250612"/>
                <a:gd name="connsiteX7263" fmla="*/ 3378038 w 6942639"/>
                <a:gd name="connsiteY7263" fmla="*/ 3428540 h 9250612"/>
                <a:gd name="connsiteX7264" fmla="*/ 3387049 w 6942639"/>
                <a:gd name="connsiteY7264" fmla="*/ 3419577 h 9250612"/>
                <a:gd name="connsiteX7265" fmla="*/ 4399396 w 6942639"/>
                <a:gd name="connsiteY7265" fmla="*/ 3419577 h 9250612"/>
                <a:gd name="connsiteX7266" fmla="*/ 4408357 w 6942639"/>
                <a:gd name="connsiteY7266" fmla="*/ 3428539 h 9250612"/>
                <a:gd name="connsiteX7267" fmla="*/ 4399396 w 6942639"/>
                <a:gd name="connsiteY7267" fmla="*/ 3437498 h 9250612"/>
                <a:gd name="connsiteX7268" fmla="*/ 4390436 w 6942639"/>
                <a:gd name="connsiteY7268" fmla="*/ 3428539 h 9250612"/>
                <a:gd name="connsiteX7269" fmla="*/ 4399396 w 6942639"/>
                <a:gd name="connsiteY7269" fmla="*/ 3419577 h 9250612"/>
                <a:gd name="connsiteX7270" fmla="*/ 4230654 w 6942639"/>
                <a:gd name="connsiteY7270" fmla="*/ 3419577 h 9250612"/>
                <a:gd name="connsiteX7271" fmla="*/ 4239615 w 6942639"/>
                <a:gd name="connsiteY7271" fmla="*/ 3428539 h 9250612"/>
                <a:gd name="connsiteX7272" fmla="*/ 4230654 w 6942639"/>
                <a:gd name="connsiteY7272" fmla="*/ 3437498 h 9250612"/>
                <a:gd name="connsiteX7273" fmla="*/ 4221694 w 6942639"/>
                <a:gd name="connsiteY7273" fmla="*/ 3428539 h 9250612"/>
                <a:gd name="connsiteX7274" fmla="*/ 4230654 w 6942639"/>
                <a:gd name="connsiteY7274" fmla="*/ 3419577 h 9250612"/>
                <a:gd name="connsiteX7275" fmla="*/ 6933679 w 6942639"/>
                <a:gd name="connsiteY7275" fmla="*/ 3419575 h 9250612"/>
                <a:gd name="connsiteX7276" fmla="*/ 6942639 w 6942639"/>
                <a:gd name="connsiteY7276" fmla="*/ 3428536 h 9250612"/>
                <a:gd name="connsiteX7277" fmla="*/ 6933679 w 6942639"/>
                <a:gd name="connsiteY7277" fmla="*/ 3437495 h 9250612"/>
                <a:gd name="connsiteX7278" fmla="*/ 6924718 w 6942639"/>
                <a:gd name="connsiteY7278" fmla="*/ 3428536 h 9250612"/>
                <a:gd name="connsiteX7279" fmla="*/ 6933679 w 6942639"/>
                <a:gd name="connsiteY7279" fmla="*/ 3419575 h 9250612"/>
                <a:gd name="connsiteX7280" fmla="*/ 6763357 w 6942639"/>
                <a:gd name="connsiteY7280" fmla="*/ 3419575 h 9250612"/>
                <a:gd name="connsiteX7281" fmla="*/ 6772318 w 6942639"/>
                <a:gd name="connsiteY7281" fmla="*/ 3428536 h 9250612"/>
                <a:gd name="connsiteX7282" fmla="*/ 6763357 w 6942639"/>
                <a:gd name="connsiteY7282" fmla="*/ 3437496 h 9250612"/>
                <a:gd name="connsiteX7283" fmla="*/ 6754397 w 6942639"/>
                <a:gd name="connsiteY7283" fmla="*/ 3428536 h 9250612"/>
                <a:gd name="connsiteX7284" fmla="*/ 6763357 w 6942639"/>
                <a:gd name="connsiteY7284" fmla="*/ 3419575 h 9250612"/>
                <a:gd name="connsiteX7285" fmla="*/ 6593035 w 6942639"/>
                <a:gd name="connsiteY7285" fmla="*/ 3419575 h 9250612"/>
                <a:gd name="connsiteX7286" fmla="*/ 6601996 w 6942639"/>
                <a:gd name="connsiteY7286" fmla="*/ 3428537 h 9250612"/>
                <a:gd name="connsiteX7287" fmla="*/ 6593035 w 6942639"/>
                <a:gd name="connsiteY7287" fmla="*/ 3437496 h 9250612"/>
                <a:gd name="connsiteX7288" fmla="*/ 6584075 w 6942639"/>
                <a:gd name="connsiteY7288" fmla="*/ 3428537 h 9250612"/>
                <a:gd name="connsiteX7289" fmla="*/ 6593035 w 6942639"/>
                <a:gd name="connsiteY7289" fmla="*/ 3419575 h 9250612"/>
                <a:gd name="connsiteX7290" fmla="*/ 6424294 w 6942639"/>
                <a:gd name="connsiteY7290" fmla="*/ 3419575 h 9250612"/>
                <a:gd name="connsiteX7291" fmla="*/ 6433255 w 6942639"/>
                <a:gd name="connsiteY7291" fmla="*/ 3428537 h 9250612"/>
                <a:gd name="connsiteX7292" fmla="*/ 6424294 w 6942639"/>
                <a:gd name="connsiteY7292" fmla="*/ 3437496 h 9250612"/>
                <a:gd name="connsiteX7293" fmla="*/ 6415334 w 6942639"/>
                <a:gd name="connsiteY7293" fmla="*/ 3428537 h 9250612"/>
                <a:gd name="connsiteX7294" fmla="*/ 6424294 w 6942639"/>
                <a:gd name="connsiteY7294" fmla="*/ 3419575 h 9250612"/>
                <a:gd name="connsiteX7295" fmla="*/ 6255553 w 6942639"/>
                <a:gd name="connsiteY7295" fmla="*/ 3419575 h 9250612"/>
                <a:gd name="connsiteX7296" fmla="*/ 6264514 w 6942639"/>
                <a:gd name="connsiteY7296" fmla="*/ 3428537 h 9250612"/>
                <a:gd name="connsiteX7297" fmla="*/ 6255553 w 6942639"/>
                <a:gd name="connsiteY7297" fmla="*/ 3437496 h 9250612"/>
                <a:gd name="connsiteX7298" fmla="*/ 6246593 w 6942639"/>
                <a:gd name="connsiteY7298" fmla="*/ 3428537 h 9250612"/>
                <a:gd name="connsiteX7299" fmla="*/ 6255553 w 6942639"/>
                <a:gd name="connsiteY7299" fmla="*/ 3419575 h 9250612"/>
                <a:gd name="connsiteX7300" fmla="*/ 6086811 w 6942639"/>
                <a:gd name="connsiteY7300" fmla="*/ 3419575 h 9250612"/>
                <a:gd name="connsiteX7301" fmla="*/ 6095772 w 6942639"/>
                <a:gd name="connsiteY7301" fmla="*/ 3428538 h 9250612"/>
                <a:gd name="connsiteX7302" fmla="*/ 6086811 w 6942639"/>
                <a:gd name="connsiteY7302" fmla="*/ 3437496 h 9250612"/>
                <a:gd name="connsiteX7303" fmla="*/ 6077851 w 6942639"/>
                <a:gd name="connsiteY7303" fmla="*/ 3428538 h 9250612"/>
                <a:gd name="connsiteX7304" fmla="*/ 6086811 w 6942639"/>
                <a:gd name="connsiteY7304" fmla="*/ 3419575 h 9250612"/>
                <a:gd name="connsiteX7305" fmla="*/ 5918069 w 6942639"/>
                <a:gd name="connsiteY7305" fmla="*/ 3419575 h 9250612"/>
                <a:gd name="connsiteX7306" fmla="*/ 5927030 w 6942639"/>
                <a:gd name="connsiteY7306" fmla="*/ 3428538 h 9250612"/>
                <a:gd name="connsiteX7307" fmla="*/ 5918069 w 6942639"/>
                <a:gd name="connsiteY7307" fmla="*/ 3437496 h 9250612"/>
                <a:gd name="connsiteX7308" fmla="*/ 5909109 w 6942639"/>
                <a:gd name="connsiteY7308" fmla="*/ 3428538 h 9250612"/>
                <a:gd name="connsiteX7309" fmla="*/ 5918069 w 6942639"/>
                <a:gd name="connsiteY7309" fmla="*/ 3419575 h 9250612"/>
                <a:gd name="connsiteX7310" fmla="*/ 5749328 w 6942639"/>
                <a:gd name="connsiteY7310" fmla="*/ 3419575 h 9250612"/>
                <a:gd name="connsiteX7311" fmla="*/ 5758289 w 6942639"/>
                <a:gd name="connsiteY7311" fmla="*/ 3428538 h 9250612"/>
                <a:gd name="connsiteX7312" fmla="*/ 5749328 w 6942639"/>
                <a:gd name="connsiteY7312" fmla="*/ 3437496 h 9250612"/>
                <a:gd name="connsiteX7313" fmla="*/ 5740368 w 6942639"/>
                <a:gd name="connsiteY7313" fmla="*/ 3428538 h 9250612"/>
                <a:gd name="connsiteX7314" fmla="*/ 5749328 w 6942639"/>
                <a:gd name="connsiteY7314" fmla="*/ 3419575 h 9250612"/>
                <a:gd name="connsiteX7315" fmla="*/ 5580586 w 6942639"/>
                <a:gd name="connsiteY7315" fmla="*/ 3419575 h 9250612"/>
                <a:gd name="connsiteX7316" fmla="*/ 5589547 w 6942639"/>
                <a:gd name="connsiteY7316" fmla="*/ 3428538 h 9250612"/>
                <a:gd name="connsiteX7317" fmla="*/ 5580586 w 6942639"/>
                <a:gd name="connsiteY7317" fmla="*/ 3437496 h 9250612"/>
                <a:gd name="connsiteX7318" fmla="*/ 5571626 w 6942639"/>
                <a:gd name="connsiteY7318" fmla="*/ 3428538 h 9250612"/>
                <a:gd name="connsiteX7319" fmla="*/ 5580586 w 6942639"/>
                <a:gd name="connsiteY7319" fmla="*/ 3419575 h 9250612"/>
                <a:gd name="connsiteX7320" fmla="*/ 5411845 w 6942639"/>
                <a:gd name="connsiteY7320" fmla="*/ 3419575 h 9250612"/>
                <a:gd name="connsiteX7321" fmla="*/ 5420806 w 6942639"/>
                <a:gd name="connsiteY7321" fmla="*/ 3428538 h 9250612"/>
                <a:gd name="connsiteX7322" fmla="*/ 5411845 w 6942639"/>
                <a:gd name="connsiteY7322" fmla="*/ 3437498 h 9250612"/>
                <a:gd name="connsiteX7323" fmla="*/ 5402885 w 6942639"/>
                <a:gd name="connsiteY7323" fmla="*/ 3428538 h 9250612"/>
                <a:gd name="connsiteX7324" fmla="*/ 5411845 w 6942639"/>
                <a:gd name="connsiteY7324" fmla="*/ 3419575 h 9250612"/>
                <a:gd name="connsiteX7325" fmla="*/ 5243103 w 6942639"/>
                <a:gd name="connsiteY7325" fmla="*/ 3419575 h 9250612"/>
                <a:gd name="connsiteX7326" fmla="*/ 5252064 w 6942639"/>
                <a:gd name="connsiteY7326" fmla="*/ 3428539 h 9250612"/>
                <a:gd name="connsiteX7327" fmla="*/ 5243103 w 6942639"/>
                <a:gd name="connsiteY7327" fmla="*/ 3437498 h 9250612"/>
                <a:gd name="connsiteX7328" fmla="*/ 5234143 w 6942639"/>
                <a:gd name="connsiteY7328" fmla="*/ 3428539 h 9250612"/>
                <a:gd name="connsiteX7329" fmla="*/ 5243103 w 6942639"/>
                <a:gd name="connsiteY7329" fmla="*/ 3419575 h 9250612"/>
                <a:gd name="connsiteX7330" fmla="*/ 5074362 w 6942639"/>
                <a:gd name="connsiteY7330" fmla="*/ 3419575 h 9250612"/>
                <a:gd name="connsiteX7331" fmla="*/ 5083323 w 6942639"/>
                <a:gd name="connsiteY7331" fmla="*/ 3428539 h 9250612"/>
                <a:gd name="connsiteX7332" fmla="*/ 5074362 w 6942639"/>
                <a:gd name="connsiteY7332" fmla="*/ 3437498 h 9250612"/>
                <a:gd name="connsiteX7333" fmla="*/ 5065402 w 6942639"/>
                <a:gd name="connsiteY7333" fmla="*/ 3428539 h 9250612"/>
                <a:gd name="connsiteX7334" fmla="*/ 5074362 w 6942639"/>
                <a:gd name="connsiteY7334" fmla="*/ 3419575 h 9250612"/>
                <a:gd name="connsiteX7335" fmla="*/ 4905620 w 6942639"/>
                <a:gd name="connsiteY7335" fmla="*/ 3419575 h 9250612"/>
                <a:gd name="connsiteX7336" fmla="*/ 4914581 w 6942639"/>
                <a:gd name="connsiteY7336" fmla="*/ 3428539 h 9250612"/>
                <a:gd name="connsiteX7337" fmla="*/ 4905620 w 6942639"/>
                <a:gd name="connsiteY7337" fmla="*/ 3437498 h 9250612"/>
                <a:gd name="connsiteX7338" fmla="*/ 4896660 w 6942639"/>
                <a:gd name="connsiteY7338" fmla="*/ 3428539 h 9250612"/>
                <a:gd name="connsiteX7339" fmla="*/ 4905620 w 6942639"/>
                <a:gd name="connsiteY7339" fmla="*/ 3419575 h 9250612"/>
                <a:gd name="connsiteX7340" fmla="*/ 4736878 w 6942639"/>
                <a:gd name="connsiteY7340" fmla="*/ 3419575 h 9250612"/>
                <a:gd name="connsiteX7341" fmla="*/ 4745839 w 6942639"/>
                <a:gd name="connsiteY7341" fmla="*/ 3428539 h 9250612"/>
                <a:gd name="connsiteX7342" fmla="*/ 4736878 w 6942639"/>
                <a:gd name="connsiteY7342" fmla="*/ 3437498 h 9250612"/>
                <a:gd name="connsiteX7343" fmla="*/ 4727918 w 6942639"/>
                <a:gd name="connsiteY7343" fmla="*/ 3428539 h 9250612"/>
                <a:gd name="connsiteX7344" fmla="*/ 4736878 w 6942639"/>
                <a:gd name="connsiteY7344" fmla="*/ 3419575 h 9250612"/>
                <a:gd name="connsiteX7345" fmla="*/ 4568137 w 6942639"/>
                <a:gd name="connsiteY7345" fmla="*/ 3419575 h 9250612"/>
                <a:gd name="connsiteX7346" fmla="*/ 4577098 w 6942639"/>
                <a:gd name="connsiteY7346" fmla="*/ 3428539 h 9250612"/>
                <a:gd name="connsiteX7347" fmla="*/ 4568137 w 6942639"/>
                <a:gd name="connsiteY7347" fmla="*/ 3437498 h 9250612"/>
                <a:gd name="connsiteX7348" fmla="*/ 4559177 w 6942639"/>
                <a:gd name="connsiteY7348" fmla="*/ 3428539 h 9250612"/>
                <a:gd name="connsiteX7349" fmla="*/ 4568137 w 6942639"/>
                <a:gd name="connsiteY7349" fmla="*/ 3419575 h 9250612"/>
                <a:gd name="connsiteX7350" fmla="*/ 2374610 w 6942639"/>
                <a:gd name="connsiteY7350" fmla="*/ 3248609 h 9250612"/>
                <a:gd name="connsiteX7351" fmla="*/ 2383615 w 6942639"/>
                <a:gd name="connsiteY7351" fmla="*/ 3257571 h 9250612"/>
                <a:gd name="connsiteX7352" fmla="*/ 2374610 w 6942639"/>
                <a:gd name="connsiteY7352" fmla="*/ 3266527 h 9250612"/>
                <a:gd name="connsiteX7353" fmla="*/ 2365646 w 6942639"/>
                <a:gd name="connsiteY7353" fmla="*/ 3257571 h 9250612"/>
                <a:gd name="connsiteX7354" fmla="*/ 2374610 w 6942639"/>
                <a:gd name="connsiteY7354" fmla="*/ 3248609 h 9250612"/>
                <a:gd name="connsiteX7355" fmla="*/ 2205906 w 6942639"/>
                <a:gd name="connsiteY7355" fmla="*/ 3248609 h 9250612"/>
                <a:gd name="connsiteX7356" fmla="*/ 2214863 w 6942639"/>
                <a:gd name="connsiteY7356" fmla="*/ 3257572 h 9250612"/>
                <a:gd name="connsiteX7357" fmla="*/ 2205906 w 6942639"/>
                <a:gd name="connsiteY7357" fmla="*/ 3266527 h 9250612"/>
                <a:gd name="connsiteX7358" fmla="*/ 2196913 w 6942639"/>
                <a:gd name="connsiteY7358" fmla="*/ 3257572 h 9250612"/>
                <a:gd name="connsiteX7359" fmla="*/ 2205906 w 6942639"/>
                <a:gd name="connsiteY7359" fmla="*/ 3248609 h 9250612"/>
                <a:gd name="connsiteX7360" fmla="*/ 2037157 w 6942639"/>
                <a:gd name="connsiteY7360" fmla="*/ 3248609 h 9250612"/>
                <a:gd name="connsiteX7361" fmla="*/ 2046103 w 6942639"/>
                <a:gd name="connsiteY7361" fmla="*/ 3257572 h 9250612"/>
                <a:gd name="connsiteX7362" fmla="*/ 2037157 w 6942639"/>
                <a:gd name="connsiteY7362" fmla="*/ 3266527 h 9250612"/>
                <a:gd name="connsiteX7363" fmla="*/ 2028222 w 6942639"/>
                <a:gd name="connsiteY7363" fmla="*/ 3257572 h 9250612"/>
                <a:gd name="connsiteX7364" fmla="*/ 2037157 w 6942639"/>
                <a:gd name="connsiteY7364" fmla="*/ 3248609 h 9250612"/>
                <a:gd name="connsiteX7365" fmla="*/ 1868454 w 6942639"/>
                <a:gd name="connsiteY7365" fmla="*/ 3248609 h 9250612"/>
                <a:gd name="connsiteX7366" fmla="*/ 1877402 w 6942639"/>
                <a:gd name="connsiteY7366" fmla="*/ 3257572 h 9250612"/>
                <a:gd name="connsiteX7367" fmla="*/ 1868454 w 6942639"/>
                <a:gd name="connsiteY7367" fmla="*/ 3266527 h 9250612"/>
                <a:gd name="connsiteX7368" fmla="*/ 1859478 w 6942639"/>
                <a:gd name="connsiteY7368" fmla="*/ 3257572 h 9250612"/>
                <a:gd name="connsiteX7369" fmla="*/ 1868454 w 6942639"/>
                <a:gd name="connsiteY7369" fmla="*/ 3248609 h 9250612"/>
                <a:gd name="connsiteX7370" fmla="*/ 1699702 w 6942639"/>
                <a:gd name="connsiteY7370" fmla="*/ 3248609 h 9250612"/>
                <a:gd name="connsiteX7371" fmla="*/ 1708669 w 6942639"/>
                <a:gd name="connsiteY7371" fmla="*/ 3257572 h 9250612"/>
                <a:gd name="connsiteX7372" fmla="*/ 1699702 w 6942639"/>
                <a:gd name="connsiteY7372" fmla="*/ 3266527 h 9250612"/>
                <a:gd name="connsiteX7373" fmla="*/ 1690734 w 6942639"/>
                <a:gd name="connsiteY7373" fmla="*/ 3257572 h 9250612"/>
                <a:gd name="connsiteX7374" fmla="*/ 1699702 w 6942639"/>
                <a:gd name="connsiteY7374" fmla="*/ 3248609 h 9250612"/>
                <a:gd name="connsiteX7375" fmla="*/ 1530960 w 6942639"/>
                <a:gd name="connsiteY7375" fmla="*/ 3248609 h 9250612"/>
                <a:gd name="connsiteX7376" fmla="*/ 1539922 w 6942639"/>
                <a:gd name="connsiteY7376" fmla="*/ 3257572 h 9250612"/>
                <a:gd name="connsiteX7377" fmla="*/ 1530960 w 6942639"/>
                <a:gd name="connsiteY7377" fmla="*/ 3266527 h 9250612"/>
                <a:gd name="connsiteX7378" fmla="*/ 1521998 w 6942639"/>
                <a:gd name="connsiteY7378" fmla="*/ 3257572 h 9250612"/>
                <a:gd name="connsiteX7379" fmla="*/ 1530960 w 6942639"/>
                <a:gd name="connsiteY7379" fmla="*/ 3248609 h 9250612"/>
                <a:gd name="connsiteX7380" fmla="*/ 1362209 w 6942639"/>
                <a:gd name="connsiteY7380" fmla="*/ 3248609 h 9250612"/>
                <a:gd name="connsiteX7381" fmla="*/ 1371170 w 6942639"/>
                <a:gd name="connsiteY7381" fmla="*/ 3257572 h 9250612"/>
                <a:gd name="connsiteX7382" fmla="*/ 1362209 w 6942639"/>
                <a:gd name="connsiteY7382" fmla="*/ 3266527 h 9250612"/>
                <a:gd name="connsiteX7383" fmla="*/ 1353247 w 6942639"/>
                <a:gd name="connsiteY7383" fmla="*/ 3257572 h 9250612"/>
                <a:gd name="connsiteX7384" fmla="*/ 1362209 w 6942639"/>
                <a:gd name="connsiteY7384" fmla="*/ 3248609 h 9250612"/>
                <a:gd name="connsiteX7385" fmla="*/ 1193467 w 6942639"/>
                <a:gd name="connsiteY7385" fmla="*/ 3248609 h 9250612"/>
                <a:gd name="connsiteX7386" fmla="*/ 1202427 w 6942639"/>
                <a:gd name="connsiteY7386" fmla="*/ 3257572 h 9250612"/>
                <a:gd name="connsiteX7387" fmla="*/ 1193467 w 6942639"/>
                <a:gd name="connsiteY7387" fmla="*/ 3266527 h 9250612"/>
                <a:gd name="connsiteX7388" fmla="*/ 1184508 w 6942639"/>
                <a:gd name="connsiteY7388" fmla="*/ 3257572 h 9250612"/>
                <a:gd name="connsiteX7389" fmla="*/ 1193467 w 6942639"/>
                <a:gd name="connsiteY7389" fmla="*/ 3248609 h 9250612"/>
                <a:gd name="connsiteX7390" fmla="*/ 1024712 w 6942639"/>
                <a:gd name="connsiteY7390" fmla="*/ 3248609 h 9250612"/>
                <a:gd name="connsiteX7391" fmla="*/ 1033679 w 6942639"/>
                <a:gd name="connsiteY7391" fmla="*/ 3257572 h 9250612"/>
                <a:gd name="connsiteX7392" fmla="*/ 1024712 w 6942639"/>
                <a:gd name="connsiteY7392" fmla="*/ 3266527 h 9250612"/>
                <a:gd name="connsiteX7393" fmla="*/ 1015753 w 6942639"/>
                <a:gd name="connsiteY7393" fmla="*/ 3257572 h 9250612"/>
                <a:gd name="connsiteX7394" fmla="*/ 1024712 w 6942639"/>
                <a:gd name="connsiteY7394" fmla="*/ 3248609 h 9250612"/>
                <a:gd name="connsiteX7395" fmla="*/ 855986 w 6942639"/>
                <a:gd name="connsiteY7395" fmla="*/ 3248609 h 9250612"/>
                <a:gd name="connsiteX7396" fmla="*/ 864946 w 6942639"/>
                <a:gd name="connsiteY7396" fmla="*/ 3257572 h 9250612"/>
                <a:gd name="connsiteX7397" fmla="*/ 855986 w 6942639"/>
                <a:gd name="connsiteY7397" fmla="*/ 3266530 h 9250612"/>
                <a:gd name="connsiteX7398" fmla="*/ 847026 w 6942639"/>
                <a:gd name="connsiteY7398" fmla="*/ 3257572 h 9250612"/>
                <a:gd name="connsiteX7399" fmla="*/ 855986 w 6942639"/>
                <a:gd name="connsiteY7399" fmla="*/ 3248609 h 9250612"/>
                <a:gd name="connsiteX7400" fmla="*/ 687247 w 6942639"/>
                <a:gd name="connsiteY7400" fmla="*/ 3248609 h 9250612"/>
                <a:gd name="connsiteX7401" fmla="*/ 696207 w 6942639"/>
                <a:gd name="connsiteY7401" fmla="*/ 3257574 h 9250612"/>
                <a:gd name="connsiteX7402" fmla="*/ 687247 w 6942639"/>
                <a:gd name="connsiteY7402" fmla="*/ 3266530 h 9250612"/>
                <a:gd name="connsiteX7403" fmla="*/ 678288 w 6942639"/>
                <a:gd name="connsiteY7403" fmla="*/ 3257574 h 9250612"/>
                <a:gd name="connsiteX7404" fmla="*/ 687247 w 6942639"/>
                <a:gd name="connsiteY7404" fmla="*/ 3248609 h 9250612"/>
                <a:gd name="connsiteX7405" fmla="*/ 518477 w 6942639"/>
                <a:gd name="connsiteY7405" fmla="*/ 3248609 h 9250612"/>
                <a:gd name="connsiteX7406" fmla="*/ 527437 w 6942639"/>
                <a:gd name="connsiteY7406" fmla="*/ 3257574 h 9250612"/>
                <a:gd name="connsiteX7407" fmla="*/ 518477 w 6942639"/>
                <a:gd name="connsiteY7407" fmla="*/ 3266530 h 9250612"/>
                <a:gd name="connsiteX7408" fmla="*/ 509516 w 6942639"/>
                <a:gd name="connsiteY7408" fmla="*/ 3257574 h 9250612"/>
                <a:gd name="connsiteX7409" fmla="*/ 518477 w 6942639"/>
                <a:gd name="connsiteY7409" fmla="*/ 3248609 h 9250612"/>
                <a:gd name="connsiteX7410" fmla="*/ 349739 w 6942639"/>
                <a:gd name="connsiteY7410" fmla="*/ 3248609 h 9250612"/>
                <a:gd name="connsiteX7411" fmla="*/ 358699 w 6942639"/>
                <a:gd name="connsiteY7411" fmla="*/ 3257574 h 9250612"/>
                <a:gd name="connsiteX7412" fmla="*/ 349739 w 6942639"/>
                <a:gd name="connsiteY7412" fmla="*/ 3266530 h 9250612"/>
                <a:gd name="connsiteX7413" fmla="*/ 340779 w 6942639"/>
                <a:gd name="connsiteY7413" fmla="*/ 3257574 h 9250612"/>
                <a:gd name="connsiteX7414" fmla="*/ 349739 w 6942639"/>
                <a:gd name="connsiteY7414" fmla="*/ 3248609 h 9250612"/>
                <a:gd name="connsiteX7415" fmla="*/ 179421 w 6942639"/>
                <a:gd name="connsiteY7415" fmla="*/ 3248609 h 9250612"/>
                <a:gd name="connsiteX7416" fmla="*/ 188382 w 6942639"/>
                <a:gd name="connsiteY7416" fmla="*/ 3257574 h 9250612"/>
                <a:gd name="connsiteX7417" fmla="*/ 179421 w 6942639"/>
                <a:gd name="connsiteY7417" fmla="*/ 3266530 h 9250612"/>
                <a:gd name="connsiteX7418" fmla="*/ 170461 w 6942639"/>
                <a:gd name="connsiteY7418" fmla="*/ 3257574 h 9250612"/>
                <a:gd name="connsiteX7419" fmla="*/ 179421 w 6942639"/>
                <a:gd name="connsiteY7419" fmla="*/ 3248609 h 9250612"/>
                <a:gd name="connsiteX7420" fmla="*/ 9105 w 6942639"/>
                <a:gd name="connsiteY7420" fmla="*/ 3248609 h 9250612"/>
                <a:gd name="connsiteX7421" fmla="*/ 18064 w 6942639"/>
                <a:gd name="connsiteY7421" fmla="*/ 3257574 h 9250612"/>
                <a:gd name="connsiteX7422" fmla="*/ 9105 w 6942639"/>
                <a:gd name="connsiteY7422" fmla="*/ 3266530 h 9250612"/>
                <a:gd name="connsiteX7423" fmla="*/ 145 w 6942639"/>
                <a:gd name="connsiteY7423" fmla="*/ 3257574 h 9250612"/>
                <a:gd name="connsiteX7424" fmla="*/ 9105 w 6942639"/>
                <a:gd name="connsiteY7424" fmla="*/ 3248609 h 9250612"/>
                <a:gd name="connsiteX7425" fmla="*/ 6086811 w 6942639"/>
                <a:gd name="connsiteY7425" fmla="*/ 3248605 h 9250612"/>
                <a:gd name="connsiteX7426" fmla="*/ 6095772 w 6942639"/>
                <a:gd name="connsiteY7426" fmla="*/ 3257568 h 9250612"/>
                <a:gd name="connsiteX7427" fmla="*/ 6086811 w 6942639"/>
                <a:gd name="connsiteY7427" fmla="*/ 3266525 h 9250612"/>
                <a:gd name="connsiteX7428" fmla="*/ 6077851 w 6942639"/>
                <a:gd name="connsiteY7428" fmla="*/ 3257568 h 9250612"/>
                <a:gd name="connsiteX7429" fmla="*/ 6086811 w 6942639"/>
                <a:gd name="connsiteY7429" fmla="*/ 3248605 h 9250612"/>
                <a:gd name="connsiteX7430" fmla="*/ 5918069 w 6942639"/>
                <a:gd name="connsiteY7430" fmla="*/ 3248605 h 9250612"/>
                <a:gd name="connsiteX7431" fmla="*/ 5927030 w 6942639"/>
                <a:gd name="connsiteY7431" fmla="*/ 3257568 h 9250612"/>
                <a:gd name="connsiteX7432" fmla="*/ 5918069 w 6942639"/>
                <a:gd name="connsiteY7432" fmla="*/ 3266525 h 9250612"/>
                <a:gd name="connsiteX7433" fmla="*/ 5909109 w 6942639"/>
                <a:gd name="connsiteY7433" fmla="*/ 3257568 h 9250612"/>
                <a:gd name="connsiteX7434" fmla="*/ 5918069 w 6942639"/>
                <a:gd name="connsiteY7434" fmla="*/ 3248605 h 9250612"/>
                <a:gd name="connsiteX7435" fmla="*/ 5749328 w 6942639"/>
                <a:gd name="connsiteY7435" fmla="*/ 3248605 h 9250612"/>
                <a:gd name="connsiteX7436" fmla="*/ 5758289 w 6942639"/>
                <a:gd name="connsiteY7436" fmla="*/ 3257568 h 9250612"/>
                <a:gd name="connsiteX7437" fmla="*/ 5749328 w 6942639"/>
                <a:gd name="connsiteY7437" fmla="*/ 3266525 h 9250612"/>
                <a:gd name="connsiteX7438" fmla="*/ 5740368 w 6942639"/>
                <a:gd name="connsiteY7438" fmla="*/ 3257568 h 9250612"/>
                <a:gd name="connsiteX7439" fmla="*/ 5749328 w 6942639"/>
                <a:gd name="connsiteY7439" fmla="*/ 3248605 h 9250612"/>
                <a:gd name="connsiteX7440" fmla="*/ 5580586 w 6942639"/>
                <a:gd name="connsiteY7440" fmla="*/ 3248605 h 9250612"/>
                <a:gd name="connsiteX7441" fmla="*/ 5589547 w 6942639"/>
                <a:gd name="connsiteY7441" fmla="*/ 3257568 h 9250612"/>
                <a:gd name="connsiteX7442" fmla="*/ 5580586 w 6942639"/>
                <a:gd name="connsiteY7442" fmla="*/ 3266525 h 9250612"/>
                <a:gd name="connsiteX7443" fmla="*/ 5571626 w 6942639"/>
                <a:gd name="connsiteY7443" fmla="*/ 3257568 h 9250612"/>
                <a:gd name="connsiteX7444" fmla="*/ 5580586 w 6942639"/>
                <a:gd name="connsiteY7444" fmla="*/ 3248605 h 9250612"/>
                <a:gd name="connsiteX7445" fmla="*/ 5411845 w 6942639"/>
                <a:gd name="connsiteY7445" fmla="*/ 3248605 h 9250612"/>
                <a:gd name="connsiteX7446" fmla="*/ 5420806 w 6942639"/>
                <a:gd name="connsiteY7446" fmla="*/ 3257568 h 9250612"/>
                <a:gd name="connsiteX7447" fmla="*/ 5411845 w 6942639"/>
                <a:gd name="connsiteY7447" fmla="*/ 3266525 h 9250612"/>
                <a:gd name="connsiteX7448" fmla="*/ 5402885 w 6942639"/>
                <a:gd name="connsiteY7448" fmla="*/ 3257568 h 9250612"/>
                <a:gd name="connsiteX7449" fmla="*/ 5411845 w 6942639"/>
                <a:gd name="connsiteY7449" fmla="*/ 3248605 h 9250612"/>
                <a:gd name="connsiteX7450" fmla="*/ 5243103 w 6942639"/>
                <a:gd name="connsiteY7450" fmla="*/ 3248605 h 9250612"/>
                <a:gd name="connsiteX7451" fmla="*/ 5252064 w 6942639"/>
                <a:gd name="connsiteY7451" fmla="*/ 3257568 h 9250612"/>
                <a:gd name="connsiteX7452" fmla="*/ 5243103 w 6942639"/>
                <a:gd name="connsiteY7452" fmla="*/ 3266525 h 9250612"/>
                <a:gd name="connsiteX7453" fmla="*/ 5234143 w 6942639"/>
                <a:gd name="connsiteY7453" fmla="*/ 3257568 h 9250612"/>
                <a:gd name="connsiteX7454" fmla="*/ 5243103 w 6942639"/>
                <a:gd name="connsiteY7454" fmla="*/ 3248605 h 9250612"/>
                <a:gd name="connsiteX7455" fmla="*/ 5074362 w 6942639"/>
                <a:gd name="connsiteY7455" fmla="*/ 3248605 h 9250612"/>
                <a:gd name="connsiteX7456" fmla="*/ 5083323 w 6942639"/>
                <a:gd name="connsiteY7456" fmla="*/ 3257568 h 9250612"/>
                <a:gd name="connsiteX7457" fmla="*/ 5074362 w 6942639"/>
                <a:gd name="connsiteY7457" fmla="*/ 3266525 h 9250612"/>
                <a:gd name="connsiteX7458" fmla="*/ 5065402 w 6942639"/>
                <a:gd name="connsiteY7458" fmla="*/ 3257568 h 9250612"/>
                <a:gd name="connsiteX7459" fmla="*/ 5074362 w 6942639"/>
                <a:gd name="connsiteY7459" fmla="*/ 3248605 h 9250612"/>
                <a:gd name="connsiteX7460" fmla="*/ 4905620 w 6942639"/>
                <a:gd name="connsiteY7460" fmla="*/ 3248605 h 9250612"/>
                <a:gd name="connsiteX7461" fmla="*/ 4914581 w 6942639"/>
                <a:gd name="connsiteY7461" fmla="*/ 3257568 h 9250612"/>
                <a:gd name="connsiteX7462" fmla="*/ 4905620 w 6942639"/>
                <a:gd name="connsiteY7462" fmla="*/ 3266525 h 9250612"/>
                <a:gd name="connsiteX7463" fmla="*/ 4896660 w 6942639"/>
                <a:gd name="connsiteY7463" fmla="*/ 3257568 h 9250612"/>
                <a:gd name="connsiteX7464" fmla="*/ 4905620 w 6942639"/>
                <a:gd name="connsiteY7464" fmla="*/ 3248605 h 9250612"/>
                <a:gd name="connsiteX7465" fmla="*/ 4736878 w 6942639"/>
                <a:gd name="connsiteY7465" fmla="*/ 3248605 h 9250612"/>
                <a:gd name="connsiteX7466" fmla="*/ 4745839 w 6942639"/>
                <a:gd name="connsiteY7466" fmla="*/ 3257568 h 9250612"/>
                <a:gd name="connsiteX7467" fmla="*/ 4736878 w 6942639"/>
                <a:gd name="connsiteY7467" fmla="*/ 3266525 h 9250612"/>
                <a:gd name="connsiteX7468" fmla="*/ 4727918 w 6942639"/>
                <a:gd name="connsiteY7468" fmla="*/ 3257568 h 9250612"/>
                <a:gd name="connsiteX7469" fmla="*/ 4736878 w 6942639"/>
                <a:gd name="connsiteY7469" fmla="*/ 3248605 h 9250612"/>
                <a:gd name="connsiteX7470" fmla="*/ 4568137 w 6942639"/>
                <a:gd name="connsiteY7470" fmla="*/ 3248605 h 9250612"/>
                <a:gd name="connsiteX7471" fmla="*/ 4577098 w 6942639"/>
                <a:gd name="connsiteY7471" fmla="*/ 3257568 h 9250612"/>
                <a:gd name="connsiteX7472" fmla="*/ 4568137 w 6942639"/>
                <a:gd name="connsiteY7472" fmla="*/ 3266525 h 9250612"/>
                <a:gd name="connsiteX7473" fmla="*/ 4559177 w 6942639"/>
                <a:gd name="connsiteY7473" fmla="*/ 3257568 h 9250612"/>
                <a:gd name="connsiteX7474" fmla="*/ 4568137 w 6942639"/>
                <a:gd name="connsiteY7474" fmla="*/ 3248605 h 9250612"/>
                <a:gd name="connsiteX7475" fmla="*/ 4399396 w 6942639"/>
                <a:gd name="connsiteY7475" fmla="*/ 3248605 h 9250612"/>
                <a:gd name="connsiteX7476" fmla="*/ 4408357 w 6942639"/>
                <a:gd name="connsiteY7476" fmla="*/ 3257568 h 9250612"/>
                <a:gd name="connsiteX7477" fmla="*/ 4399396 w 6942639"/>
                <a:gd name="connsiteY7477" fmla="*/ 3266525 h 9250612"/>
                <a:gd name="connsiteX7478" fmla="*/ 4390436 w 6942639"/>
                <a:gd name="connsiteY7478" fmla="*/ 3257568 h 9250612"/>
                <a:gd name="connsiteX7479" fmla="*/ 4399396 w 6942639"/>
                <a:gd name="connsiteY7479" fmla="*/ 3248605 h 9250612"/>
                <a:gd name="connsiteX7480" fmla="*/ 4230654 w 6942639"/>
                <a:gd name="connsiteY7480" fmla="*/ 3248605 h 9250612"/>
                <a:gd name="connsiteX7481" fmla="*/ 4239615 w 6942639"/>
                <a:gd name="connsiteY7481" fmla="*/ 3257571 h 9250612"/>
                <a:gd name="connsiteX7482" fmla="*/ 4230654 w 6942639"/>
                <a:gd name="connsiteY7482" fmla="*/ 3266525 h 9250612"/>
                <a:gd name="connsiteX7483" fmla="*/ 4221694 w 6942639"/>
                <a:gd name="connsiteY7483" fmla="*/ 3257571 h 9250612"/>
                <a:gd name="connsiteX7484" fmla="*/ 4230654 w 6942639"/>
                <a:gd name="connsiteY7484" fmla="*/ 3248605 h 9250612"/>
                <a:gd name="connsiteX7485" fmla="*/ 4061912 w 6942639"/>
                <a:gd name="connsiteY7485" fmla="*/ 3248605 h 9250612"/>
                <a:gd name="connsiteX7486" fmla="*/ 4070873 w 6942639"/>
                <a:gd name="connsiteY7486" fmla="*/ 3257571 h 9250612"/>
                <a:gd name="connsiteX7487" fmla="*/ 4061912 w 6942639"/>
                <a:gd name="connsiteY7487" fmla="*/ 3266525 h 9250612"/>
                <a:gd name="connsiteX7488" fmla="*/ 4052952 w 6942639"/>
                <a:gd name="connsiteY7488" fmla="*/ 3257571 h 9250612"/>
                <a:gd name="connsiteX7489" fmla="*/ 4061912 w 6942639"/>
                <a:gd name="connsiteY7489" fmla="*/ 3248605 h 9250612"/>
                <a:gd name="connsiteX7490" fmla="*/ 3893170 w 6942639"/>
                <a:gd name="connsiteY7490" fmla="*/ 3248605 h 9250612"/>
                <a:gd name="connsiteX7491" fmla="*/ 3902131 w 6942639"/>
                <a:gd name="connsiteY7491" fmla="*/ 3257571 h 9250612"/>
                <a:gd name="connsiteX7492" fmla="*/ 3893170 w 6942639"/>
                <a:gd name="connsiteY7492" fmla="*/ 3266525 h 9250612"/>
                <a:gd name="connsiteX7493" fmla="*/ 3884210 w 6942639"/>
                <a:gd name="connsiteY7493" fmla="*/ 3257571 h 9250612"/>
                <a:gd name="connsiteX7494" fmla="*/ 3893170 w 6942639"/>
                <a:gd name="connsiteY7494" fmla="*/ 3248605 h 9250612"/>
                <a:gd name="connsiteX7495" fmla="*/ 3724429 w 6942639"/>
                <a:gd name="connsiteY7495" fmla="*/ 3248605 h 9250612"/>
                <a:gd name="connsiteX7496" fmla="*/ 3733390 w 6942639"/>
                <a:gd name="connsiteY7496" fmla="*/ 3257571 h 9250612"/>
                <a:gd name="connsiteX7497" fmla="*/ 3724429 w 6942639"/>
                <a:gd name="connsiteY7497" fmla="*/ 3266525 h 9250612"/>
                <a:gd name="connsiteX7498" fmla="*/ 3715469 w 6942639"/>
                <a:gd name="connsiteY7498" fmla="*/ 3257571 h 9250612"/>
                <a:gd name="connsiteX7499" fmla="*/ 3724429 w 6942639"/>
                <a:gd name="connsiteY7499" fmla="*/ 3248605 h 9250612"/>
                <a:gd name="connsiteX7500" fmla="*/ 3555688 w 6942639"/>
                <a:gd name="connsiteY7500" fmla="*/ 3248605 h 9250612"/>
                <a:gd name="connsiteX7501" fmla="*/ 3564649 w 6942639"/>
                <a:gd name="connsiteY7501" fmla="*/ 3257571 h 9250612"/>
                <a:gd name="connsiteX7502" fmla="*/ 3555688 w 6942639"/>
                <a:gd name="connsiteY7502" fmla="*/ 3266525 h 9250612"/>
                <a:gd name="connsiteX7503" fmla="*/ 3546728 w 6942639"/>
                <a:gd name="connsiteY7503" fmla="*/ 3257571 h 9250612"/>
                <a:gd name="connsiteX7504" fmla="*/ 3555688 w 6942639"/>
                <a:gd name="connsiteY7504" fmla="*/ 3248605 h 9250612"/>
                <a:gd name="connsiteX7505" fmla="*/ 3387050 w 6942639"/>
                <a:gd name="connsiteY7505" fmla="*/ 3248605 h 9250612"/>
                <a:gd name="connsiteX7506" fmla="*/ 3396013 w 6942639"/>
                <a:gd name="connsiteY7506" fmla="*/ 3257571 h 9250612"/>
                <a:gd name="connsiteX7507" fmla="*/ 3387050 w 6942639"/>
                <a:gd name="connsiteY7507" fmla="*/ 3266527 h 9250612"/>
                <a:gd name="connsiteX7508" fmla="*/ 3378039 w 6942639"/>
                <a:gd name="connsiteY7508" fmla="*/ 3257571 h 9250612"/>
                <a:gd name="connsiteX7509" fmla="*/ 3387050 w 6942639"/>
                <a:gd name="connsiteY7509" fmla="*/ 3248605 h 9250612"/>
                <a:gd name="connsiteX7510" fmla="*/ 3218292 w 6942639"/>
                <a:gd name="connsiteY7510" fmla="*/ 3248605 h 9250612"/>
                <a:gd name="connsiteX7511" fmla="*/ 3227264 w 6942639"/>
                <a:gd name="connsiteY7511" fmla="*/ 3257571 h 9250612"/>
                <a:gd name="connsiteX7512" fmla="*/ 3218292 w 6942639"/>
                <a:gd name="connsiteY7512" fmla="*/ 3266527 h 9250612"/>
                <a:gd name="connsiteX7513" fmla="*/ 3209323 w 6942639"/>
                <a:gd name="connsiteY7513" fmla="*/ 3257571 h 9250612"/>
                <a:gd name="connsiteX7514" fmla="*/ 3218292 w 6942639"/>
                <a:gd name="connsiteY7514" fmla="*/ 3248605 h 9250612"/>
                <a:gd name="connsiteX7515" fmla="*/ 3049585 w 6942639"/>
                <a:gd name="connsiteY7515" fmla="*/ 3248605 h 9250612"/>
                <a:gd name="connsiteX7516" fmla="*/ 3058532 w 6942639"/>
                <a:gd name="connsiteY7516" fmla="*/ 3257571 h 9250612"/>
                <a:gd name="connsiteX7517" fmla="*/ 3049585 w 6942639"/>
                <a:gd name="connsiteY7517" fmla="*/ 3266527 h 9250612"/>
                <a:gd name="connsiteX7518" fmla="*/ 3040615 w 6942639"/>
                <a:gd name="connsiteY7518" fmla="*/ 3257571 h 9250612"/>
                <a:gd name="connsiteX7519" fmla="*/ 3049585 w 6942639"/>
                <a:gd name="connsiteY7519" fmla="*/ 3248605 h 9250612"/>
                <a:gd name="connsiteX7520" fmla="*/ 2880857 w 6942639"/>
                <a:gd name="connsiteY7520" fmla="*/ 3248605 h 9250612"/>
                <a:gd name="connsiteX7521" fmla="*/ 2889816 w 6942639"/>
                <a:gd name="connsiteY7521" fmla="*/ 3257571 h 9250612"/>
                <a:gd name="connsiteX7522" fmla="*/ 2880857 w 6942639"/>
                <a:gd name="connsiteY7522" fmla="*/ 3266527 h 9250612"/>
                <a:gd name="connsiteX7523" fmla="*/ 2871900 w 6942639"/>
                <a:gd name="connsiteY7523" fmla="*/ 3257571 h 9250612"/>
                <a:gd name="connsiteX7524" fmla="*/ 2880857 w 6942639"/>
                <a:gd name="connsiteY7524" fmla="*/ 3248605 h 9250612"/>
                <a:gd name="connsiteX7525" fmla="*/ 2712091 w 6942639"/>
                <a:gd name="connsiteY7525" fmla="*/ 3248605 h 9250612"/>
                <a:gd name="connsiteX7526" fmla="*/ 2721074 w 6942639"/>
                <a:gd name="connsiteY7526" fmla="*/ 3257571 h 9250612"/>
                <a:gd name="connsiteX7527" fmla="*/ 2712091 w 6942639"/>
                <a:gd name="connsiteY7527" fmla="*/ 3266527 h 9250612"/>
                <a:gd name="connsiteX7528" fmla="*/ 2703135 w 6942639"/>
                <a:gd name="connsiteY7528" fmla="*/ 3257571 h 9250612"/>
                <a:gd name="connsiteX7529" fmla="*/ 2712091 w 6942639"/>
                <a:gd name="connsiteY7529" fmla="*/ 3248605 h 9250612"/>
                <a:gd name="connsiteX7530" fmla="*/ 2543405 w 6942639"/>
                <a:gd name="connsiteY7530" fmla="*/ 3248605 h 9250612"/>
                <a:gd name="connsiteX7531" fmla="*/ 2552368 w 6942639"/>
                <a:gd name="connsiteY7531" fmla="*/ 3257571 h 9250612"/>
                <a:gd name="connsiteX7532" fmla="*/ 2543405 w 6942639"/>
                <a:gd name="connsiteY7532" fmla="*/ 3266527 h 9250612"/>
                <a:gd name="connsiteX7533" fmla="*/ 2534434 w 6942639"/>
                <a:gd name="connsiteY7533" fmla="*/ 3257571 h 9250612"/>
                <a:gd name="connsiteX7534" fmla="*/ 2543405 w 6942639"/>
                <a:gd name="connsiteY7534" fmla="*/ 3248605 h 9250612"/>
                <a:gd name="connsiteX7535" fmla="*/ 6933679 w 6942639"/>
                <a:gd name="connsiteY7535" fmla="*/ 3248602 h 9250612"/>
                <a:gd name="connsiteX7536" fmla="*/ 6942639 w 6942639"/>
                <a:gd name="connsiteY7536" fmla="*/ 3257567 h 9250612"/>
                <a:gd name="connsiteX7537" fmla="*/ 6933679 w 6942639"/>
                <a:gd name="connsiteY7537" fmla="*/ 3266525 h 9250612"/>
                <a:gd name="connsiteX7538" fmla="*/ 6924718 w 6942639"/>
                <a:gd name="connsiteY7538" fmla="*/ 3257567 h 9250612"/>
                <a:gd name="connsiteX7539" fmla="*/ 6933679 w 6942639"/>
                <a:gd name="connsiteY7539" fmla="*/ 3248602 h 9250612"/>
                <a:gd name="connsiteX7540" fmla="*/ 6763357 w 6942639"/>
                <a:gd name="connsiteY7540" fmla="*/ 3248602 h 9250612"/>
                <a:gd name="connsiteX7541" fmla="*/ 6772318 w 6942639"/>
                <a:gd name="connsiteY7541" fmla="*/ 3257567 h 9250612"/>
                <a:gd name="connsiteX7542" fmla="*/ 6763357 w 6942639"/>
                <a:gd name="connsiteY7542" fmla="*/ 3266525 h 9250612"/>
                <a:gd name="connsiteX7543" fmla="*/ 6754397 w 6942639"/>
                <a:gd name="connsiteY7543" fmla="*/ 3257567 h 9250612"/>
                <a:gd name="connsiteX7544" fmla="*/ 6763357 w 6942639"/>
                <a:gd name="connsiteY7544" fmla="*/ 3248602 h 9250612"/>
                <a:gd name="connsiteX7545" fmla="*/ 6593035 w 6942639"/>
                <a:gd name="connsiteY7545" fmla="*/ 3248602 h 9250612"/>
                <a:gd name="connsiteX7546" fmla="*/ 6601996 w 6942639"/>
                <a:gd name="connsiteY7546" fmla="*/ 3257567 h 9250612"/>
                <a:gd name="connsiteX7547" fmla="*/ 6593035 w 6942639"/>
                <a:gd name="connsiteY7547" fmla="*/ 3266525 h 9250612"/>
                <a:gd name="connsiteX7548" fmla="*/ 6584075 w 6942639"/>
                <a:gd name="connsiteY7548" fmla="*/ 3257567 h 9250612"/>
                <a:gd name="connsiteX7549" fmla="*/ 6593035 w 6942639"/>
                <a:gd name="connsiteY7549" fmla="*/ 3248602 h 9250612"/>
                <a:gd name="connsiteX7550" fmla="*/ 6424294 w 6942639"/>
                <a:gd name="connsiteY7550" fmla="*/ 3248602 h 9250612"/>
                <a:gd name="connsiteX7551" fmla="*/ 6433255 w 6942639"/>
                <a:gd name="connsiteY7551" fmla="*/ 3257567 h 9250612"/>
                <a:gd name="connsiteX7552" fmla="*/ 6424294 w 6942639"/>
                <a:gd name="connsiteY7552" fmla="*/ 3266525 h 9250612"/>
                <a:gd name="connsiteX7553" fmla="*/ 6415334 w 6942639"/>
                <a:gd name="connsiteY7553" fmla="*/ 3257567 h 9250612"/>
                <a:gd name="connsiteX7554" fmla="*/ 6424294 w 6942639"/>
                <a:gd name="connsiteY7554" fmla="*/ 3248602 h 9250612"/>
                <a:gd name="connsiteX7555" fmla="*/ 6255553 w 6942639"/>
                <a:gd name="connsiteY7555" fmla="*/ 3248602 h 9250612"/>
                <a:gd name="connsiteX7556" fmla="*/ 6264514 w 6942639"/>
                <a:gd name="connsiteY7556" fmla="*/ 3257567 h 9250612"/>
                <a:gd name="connsiteX7557" fmla="*/ 6255553 w 6942639"/>
                <a:gd name="connsiteY7557" fmla="*/ 3266525 h 9250612"/>
                <a:gd name="connsiteX7558" fmla="*/ 6246593 w 6942639"/>
                <a:gd name="connsiteY7558" fmla="*/ 3257567 h 9250612"/>
                <a:gd name="connsiteX7559" fmla="*/ 6255553 w 6942639"/>
                <a:gd name="connsiteY7559" fmla="*/ 3248602 h 9250612"/>
                <a:gd name="connsiteX7560" fmla="*/ 349743 w 6942639"/>
                <a:gd name="connsiteY7560" fmla="*/ 3077643 h 9250612"/>
                <a:gd name="connsiteX7561" fmla="*/ 358703 w 6942639"/>
                <a:gd name="connsiteY7561" fmla="*/ 3086605 h 9250612"/>
                <a:gd name="connsiteX7562" fmla="*/ 349743 w 6942639"/>
                <a:gd name="connsiteY7562" fmla="*/ 3095567 h 9250612"/>
                <a:gd name="connsiteX7563" fmla="*/ 340783 w 6942639"/>
                <a:gd name="connsiteY7563" fmla="*/ 3086605 h 9250612"/>
                <a:gd name="connsiteX7564" fmla="*/ 349743 w 6942639"/>
                <a:gd name="connsiteY7564" fmla="*/ 3077643 h 9250612"/>
                <a:gd name="connsiteX7565" fmla="*/ 1193471 w 6942639"/>
                <a:gd name="connsiteY7565" fmla="*/ 3077641 h 9250612"/>
                <a:gd name="connsiteX7566" fmla="*/ 1202431 w 6942639"/>
                <a:gd name="connsiteY7566" fmla="*/ 3086603 h 9250612"/>
                <a:gd name="connsiteX7567" fmla="*/ 1193471 w 6942639"/>
                <a:gd name="connsiteY7567" fmla="*/ 3095566 h 9250612"/>
                <a:gd name="connsiteX7568" fmla="*/ 1184513 w 6942639"/>
                <a:gd name="connsiteY7568" fmla="*/ 3086603 h 9250612"/>
                <a:gd name="connsiteX7569" fmla="*/ 1193471 w 6942639"/>
                <a:gd name="connsiteY7569" fmla="*/ 3077641 h 9250612"/>
                <a:gd name="connsiteX7570" fmla="*/ 1024716 w 6942639"/>
                <a:gd name="connsiteY7570" fmla="*/ 3077641 h 9250612"/>
                <a:gd name="connsiteX7571" fmla="*/ 1033684 w 6942639"/>
                <a:gd name="connsiteY7571" fmla="*/ 3086603 h 9250612"/>
                <a:gd name="connsiteX7572" fmla="*/ 1024716 w 6942639"/>
                <a:gd name="connsiteY7572" fmla="*/ 3095566 h 9250612"/>
                <a:gd name="connsiteX7573" fmla="*/ 1015757 w 6942639"/>
                <a:gd name="connsiteY7573" fmla="*/ 3086603 h 9250612"/>
                <a:gd name="connsiteX7574" fmla="*/ 1024716 w 6942639"/>
                <a:gd name="connsiteY7574" fmla="*/ 3077641 h 9250612"/>
                <a:gd name="connsiteX7575" fmla="*/ 855991 w 6942639"/>
                <a:gd name="connsiteY7575" fmla="*/ 3077641 h 9250612"/>
                <a:gd name="connsiteX7576" fmla="*/ 864951 w 6942639"/>
                <a:gd name="connsiteY7576" fmla="*/ 3086603 h 9250612"/>
                <a:gd name="connsiteX7577" fmla="*/ 855991 w 6942639"/>
                <a:gd name="connsiteY7577" fmla="*/ 3095566 h 9250612"/>
                <a:gd name="connsiteX7578" fmla="*/ 847031 w 6942639"/>
                <a:gd name="connsiteY7578" fmla="*/ 3086603 h 9250612"/>
                <a:gd name="connsiteX7579" fmla="*/ 855991 w 6942639"/>
                <a:gd name="connsiteY7579" fmla="*/ 3077641 h 9250612"/>
                <a:gd name="connsiteX7580" fmla="*/ 687252 w 6942639"/>
                <a:gd name="connsiteY7580" fmla="*/ 3077641 h 9250612"/>
                <a:gd name="connsiteX7581" fmla="*/ 696212 w 6942639"/>
                <a:gd name="connsiteY7581" fmla="*/ 3086603 h 9250612"/>
                <a:gd name="connsiteX7582" fmla="*/ 687252 w 6942639"/>
                <a:gd name="connsiteY7582" fmla="*/ 3095567 h 9250612"/>
                <a:gd name="connsiteX7583" fmla="*/ 678293 w 6942639"/>
                <a:gd name="connsiteY7583" fmla="*/ 3086603 h 9250612"/>
                <a:gd name="connsiteX7584" fmla="*/ 687252 w 6942639"/>
                <a:gd name="connsiteY7584" fmla="*/ 3077641 h 9250612"/>
                <a:gd name="connsiteX7585" fmla="*/ 518481 w 6942639"/>
                <a:gd name="connsiteY7585" fmla="*/ 3077641 h 9250612"/>
                <a:gd name="connsiteX7586" fmla="*/ 527441 w 6942639"/>
                <a:gd name="connsiteY7586" fmla="*/ 3086603 h 9250612"/>
                <a:gd name="connsiteX7587" fmla="*/ 518481 w 6942639"/>
                <a:gd name="connsiteY7587" fmla="*/ 3095567 h 9250612"/>
                <a:gd name="connsiteX7588" fmla="*/ 509520 w 6942639"/>
                <a:gd name="connsiteY7588" fmla="*/ 3086603 h 9250612"/>
                <a:gd name="connsiteX7589" fmla="*/ 518481 w 6942639"/>
                <a:gd name="connsiteY7589" fmla="*/ 3077641 h 9250612"/>
                <a:gd name="connsiteX7590" fmla="*/ 179425 w 6942639"/>
                <a:gd name="connsiteY7590" fmla="*/ 3077641 h 9250612"/>
                <a:gd name="connsiteX7591" fmla="*/ 188386 w 6942639"/>
                <a:gd name="connsiteY7591" fmla="*/ 3086605 h 9250612"/>
                <a:gd name="connsiteX7592" fmla="*/ 179425 w 6942639"/>
                <a:gd name="connsiteY7592" fmla="*/ 3095567 h 9250612"/>
                <a:gd name="connsiteX7593" fmla="*/ 170465 w 6942639"/>
                <a:gd name="connsiteY7593" fmla="*/ 3086605 h 9250612"/>
                <a:gd name="connsiteX7594" fmla="*/ 179425 w 6942639"/>
                <a:gd name="connsiteY7594" fmla="*/ 3077641 h 9250612"/>
                <a:gd name="connsiteX7595" fmla="*/ 9109 w 6942639"/>
                <a:gd name="connsiteY7595" fmla="*/ 3077641 h 9250612"/>
                <a:gd name="connsiteX7596" fmla="*/ 18068 w 6942639"/>
                <a:gd name="connsiteY7596" fmla="*/ 3086603 h 9250612"/>
                <a:gd name="connsiteX7597" fmla="*/ 9109 w 6942639"/>
                <a:gd name="connsiteY7597" fmla="*/ 3095567 h 9250612"/>
                <a:gd name="connsiteX7598" fmla="*/ 149 w 6942639"/>
                <a:gd name="connsiteY7598" fmla="*/ 3086603 h 9250612"/>
                <a:gd name="connsiteX7599" fmla="*/ 9109 w 6942639"/>
                <a:gd name="connsiteY7599" fmla="*/ 3077641 h 9250612"/>
                <a:gd name="connsiteX7600" fmla="*/ 2374613 w 6942639"/>
                <a:gd name="connsiteY7600" fmla="*/ 3077640 h 9250612"/>
                <a:gd name="connsiteX7601" fmla="*/ 2383620 w 6942639"/>
                <a:gd name="connsiteY7601" fmla="*/ 3086602 h 9250612"/>
                <a:gd name="connsiteX7602" fmla="*/ 2374613 w 6942639"/>
                <a:gd name="connsiteY7602" fmla="*/ 3095564 h 9250612"/>
                <a:gd name="connsiteX7603" fmla="*/ 2365649 w 6942639"/>
                <a:gd name="connsiteY7603" fmla="*/ 3086602 h 9250612"/>
                <a:gd name="connsiteX7604" fmla="*/ 2374613 w 6942639"/>
                <a:gd name="connsiteY7604" fmla="*/ 3077640 h 9250612"/>
                <a:gd name="connsiteX7605" fmla="*/ 2205911 w 6942639"/>
                <a:gd name="connsiteY7605" fmla="*/ 3077640 h 9250612"/>
                <a:gd name="connsiteX7606" fmla="*/ 2214867 w 6942639"/>
                <a:gd name="connsiteY7606" fmla="*/ 3086602 h 9250612"/>
                <a:gd name="connsiteX7607" fmla="*/ 2205911 w 6942639"/>
                <a:gd name="connsiteY7607" fmla="*/ 3095564 h 9250612"/>
                <a:gd name="connsiteX7608" fmla="*/ 2196916 w 6942639"/>
                <a:gd name="connsiteY7608" fmla="*/ 3086602 h 9250612"/>
                <a:gd name="connsiteX7609" fmla="*/ 2205911 w 6942639"/>
                <a:gd name="connsiteY7609" fmla="*/ 3077640 h 9250612"/>
                <a:gd name="connsiteX7610" fmla="*/ 2037160 w 6942639"/>
                <a:gd name="connsiteY7610" fmla="*/ 3077640 h 9250612"/>
                <a:gd name="connsiteX7611" fmla="*/ 2046107 w 6942639"/>
                <a:gd name="connsiteY7611" fmla="*/ 3086602 h 9250612"/>
                <a:gd name="connsiteX7612" fmla="*/ 2037160 w 6942639"/>
                <a:gd name="connsiteY7612" fmla="*/ 3095564 h 9250612"/>
                <a:gd name="connsiteX7613" fmla="*/ 2028228 w 6942639"/>
                <a:gd name="connsiteY7613" fmla="*/ 3086602 h 9250612"/>
                <a:gd name="connsiteX7614" fmla="*/ 2037160 w 6942639"/>
                <a:gd name="connsiteY7614" fmla="*/ 3077640 h 9250612"/>
                <a:gd name="connsiteX7615" fmla="*/ 1868458 w 6942639"/>
                <a:gd name="connsiteY7615" fmla="*/ 3077640 h 9250612"/>
                <a:gd name="connsiteX7616" fmla="*/ 1877407 w 6942639"/>
                <a:gd name="connsiteY7616" fmla="*/ 3086602 h 9250612"/>
                <a:gd name="connsiteX7617" fmla="*/ 1868458 w 6942639"/>
                <a:gd name="connsiteY7617" fmla="*/ 3095564 h 9250612"/>
                <a:gd name="connsiteX7618" fmla="*/ 1859483 w 6942639"/>
                <a:gd name="connsiteY7618" fmla="*/ 3086602 h 9250612"/>
                <a:gd name="connsiteX7619" fmla="*/ 1868458 w 6942639"/>
                <a:gd name="connsiteY7619" fmla="*/ 3077640 h 9250612"/>
                <a:gd name="connsiteX7620" fmla="*/ 1699706 w 6942639"/>
                <a:gd name="connsiteY7620" fmla="*/ 3077640 h 9250612"/>
                <a:gd name="connsiteX7621" fmla="*/ 1708675 w 6942639"/>
                <a:gd name="connsiteY7621" fmla="*/ 3086602 h 9250612"/>
                <a:gd name="connsiteX7622" fmla="*/ 1699706 w 6942639"/>
                <a:gd name="connsiteY7622" fmla="*/ 3095566 h 9250612"/>
                <a:gd name="connsiteX7623" fmla="*/ 1690739 w 6942639"/>
                <a:gd name="connsiteY7623" fmla="*/ 3086602 h 9250612"/>
                <a:gd name="connsiteX7624" fmla="*/ 1699706 w 6942639"/>
                <a:gd name="connsiteY7624" fmla="*/ 3077640 h 9250612"/>
                <a:gd name="connsiteX7625" fmla="*/ 1530965 w 6942639"/>
                <a:gd name="connsiteY7625" fmla="*/ 3077640 h 9250612"/>
                <a:gd name="connsiteX7626" fmla="*/ 1539926 w 6942639"/>
                <a:gd name="connsiteY7626" fmla="*/ 3086603 h 9250612"/>
                <a:gd name="connsiteX7627" fmla="*/ 1530965 w 6942639"/>
                <a:gd name="connsiteY7627" fmla="*/ 3095566 h 9250612"/>
                <a:gd name="connsiteX7628" fmla="*/ 1522002 w 6942639"/>
                <a:gd name="connsiteY7628" fmla="*/ 3086603 h 9250612"/>
                <a:gd name="connsiteX7629" fmla="*/ 1530965 w 6942639"/>
                <a:gd name="connsiteY7629" fmla="*/ 3077640 h 9250612"/>
                <a:gd name="connsiteX7630" fmla="*/ 1362213 w 6942639"/>
                <a:gd name="connsiteY7630" fmla="*/ 3077640 h 9250612"/>
                <a:gd name="connsiteX7631" fmla="*/ 1371175 w 6942639"/>
                <a:gd name="connsiteY7631" fmla="*/ 3086603 h 9250612"/>
                <a:gd name="connsiteX7632" fmla="*/ 1362213 w 6942639"/>
                <a:gd name="connsiteY7632" fmla="*/ 3095566 h 9250612"/>
                <a:gd name="connsiteX7633" fmla="*/ 1353252 w 6942639"/>
                <a:gd name="connsiteY7633" fmla="*/ 3086603 h 9250612"/>
                <a:gd name="connsiteX7634" fmla="*/ 1362213 w 6942639"/>
                <a:gd name="connsiteY7634" fmla="*/ 3077640 h 9250612"/>
                <a:gd name="connsiteX7635" fmla="*/ 3724429 w 6942639"/>
                <a:gd name="connsiteY7635" fmla="*/ 3077639 h 9250612"/>
                <a:gd name="connsiteX7636" fmla="*/ 3733390 w 6942639"/>
                <a:gd name="connsiteY7636" fmla="*/ 3086601 h 9250612"/>
                <a:gd name="connsiteX7637" fmla="*/ 3724429 w 6942639"/>
                <a:gd name="connsiteY7637" fmla="*/ 3095563 h 9250612"/>
                <a:gd name="connsiteX7638" fmla="*/ 3715469 w 6942639"/>
                <a:gd name="connsiteY7638" fmla="*/ 3086601 h 9250612"/>
                <a:gd name="connsiteX7639" fmla="*/ 3724429 w 6942639"/>
                <a:gd name="connsiteY7639" fmla="*/ 3077639 h 9250612"/>
                <a:gd name="connsiteX7640" fmla="*/ 3555688 w 6942639"/>
                <a:gd name="connsiteY7640" fmla="*/ 3077639 h 9250612"/>
                <a:gd name="connsiteX7641" fmla="*/ 3564649 w 6942639"/>
                <a:gd name="connsiteY7641" fmla="*/ 3086601 h 9250612"/>
                <a:gd name="connsiteX7642" fmla="*/ 3555688 w 6942639"/>
                <a:gd name="connsiteY7642" fmla="*/ 3095563 h 9250612"/>
                <a:gd name="connsiteX7643" fmla="*/ 3546728 w 6942639"/>
                <a:gd name="connsiteY7643" fmla="*/ 3086601 h 9250612"/>
                <a:gd name="connsiteX7644" fmla="*/ 3555688 w 6942639"/>
                <a:gd name="connsiteY7644" fmla="*/ 3077639 h 9250612"/>
                <a:gd name="connsiteX7645" fmla="*/ 3387052 w 6942639"/>
                <a:gd name="connsiteY7645" fmla="*/ 3077639 h 9250612"/>
                <a:gd name="connsiteX7646" fmla="*/ 3396016 w 6942639"/>
                <a:gd name="connsiteY7646" fmla="*/ 3086601 h 9250612"/>
                <a:gd name="connsiteX7647" fmla="*/ 3387052 w 6942639"/>
                <a:gd name="connsiteY7647" fmla="*/ 3095563 h 9250612"/>
                <a:gd name="connsiteX7648" fmla="*/ 3378041 w 6942639"/>
                <a:gd name="connsiteY7648" fmla="*/ 3086601 h 9250612"/>
                <a:gd name="connsiteX7649" fmla="*/ 3387052 w 6942639"/>
                <a:gd name="connsiteY7649" fmla="*/ 3077639 h 9250612"/>
                <a:gd name="connsiteX7650" fmla="*/ 3218294 w 6942639"/>
                <a:gd name="connsiteY7650" fmla="*/ 3077639 h 9250612"/>
                <a:gd name="connsiteX7651" fmla="*/ 3227267 w 6942639"/>
                <a:gd name="connsiteY7651" fmla="*/ 3086601 h 9250612"/>
                <a:gd name="connsiteX7652" fmla="*/ 3218294 w 6942639"/>
                <a:gd name="connsiteY7652" fmla="*/ 3095563 h 9250612"/>
                <a:gd name="connsiteX7653" fmla="*/ 3209324 w 6942639"/>
                <a:gd name="connsiteY7653" fmla="*/ 3086601 h 9250612"/>
                <a:gd name="connsiteX7654" fmla="*/ 3218294 w 6942639"/>
                <a:gd name="connsiteY7654" fmla="*/ 3077639 h 9250612"/>
                <a:gd name="connsiteX7655" fmla="*/ 3049588 w 6942639"/>
                <a:gd name="connsiteY7655" fmla="*/ 3077639 h 9250612"/>
                <a:gd name="connsiteX7656" fmla="*/ 3058535 w 6942639"/>
                <a:gd name="connsiteY7656" fmla="*/ 3086601 h 9250612"/>
                <a:gd name="connsiteX7657" fmla="*/ 3049588 w 6942639"/>
                <a:gd name="connsiteY7657" fmla="*/ 3095564 h 9250612"/>
                <a:gd name="connsiteX7658" fmla="*/ 3040618 w 6942639"/>
                <a:gd name="connsiteY7658" fmla="*/ 3086601 h 9250612"/>
                <a:gd name="connsiteX7659" fmla="*/ 3049588 w 6942639"/>
                <a:gd name="connsiteY7659" fmla="*/ 3077639 h 9250612"/>
                <a:gd name="connsiteX7660" fmla="*/ 2880860 w 6942639"/>
                <a:gd name="connsiteY7660" fmla="*/ 3077639 h 9250612"/>
                <a:gd name="connsiteX7661" fmla="*/ 2889819 w 6942639"/>
                <a:gd name="connsiteY7661" fmla="*/ 3086601 h 9250612"/>
                <a:gd name="connsiteX7662" fmla="*/ 2880860 w 6942639"/>
                <a:gd name="connsiteY7662" fmla="*/ 3095564 h 9250612"/>
                <a:gd name="connsiteX7663" fmla="*/ 2871903 w 6942639"/>
                <a:gd name="connsiteY7663" fmla="*/ 3086601 h 9250612"/>
                <a:gd name="connsiteX7664" fmla="*/ 2880860 w 6942639"/>
                <a:gd name="connsiteY7664" fmla="*/ 3077639 h 9250612"/>
                <a:gd name="connsiteX7665" fmla="*/ 2712094 w 6942639"/>
                <a:gd name="connsiteY7665" fmla="*/ 3077639 h 9250612"/>
                <a:gd name="connsiteX7666" fmla="*/ 2721077 w 6942639"/>
                <a:gd name="connsiteY7666" fmla="*/ 3086601 h 9250612"/>
                <a:gd name="connsiteX7667" fmla="*/ 2712094 w 6942639"/>
                <a:gd name="connsiteY7667" fmla="*/ 3095564 h 9250612"/>
                <a:gd name="connsiteX7668" fmla="*/ 2703138 w 6942639"/>
                <a:gd name="connsiteY7668" fmla="*/ 3086601 h 9250612"/>
                <a:gd name="connsiteX7669" fmla="*/ 2712094 w 6942639"/>
                <a:gd name="connsiteY7669" fmla="*/ 3077639 h 9250612"/>
                <a:gd name="connsiteX7670" fmla="*/ 2543409 w 6942639"/>
                <a:gd name="connsiteY7670" fmla="*/ 3077639 h 9250612"/>
                <a:gd name="connsiteX7671" fmla="*/ 2552372 w 6942639"/>
                <a:gd name="connsiteY7671" fmla="*/ 3086602 h 9250612"/>
                <a:gd name="connsiteX7672" fmla="*/ 2543409 w 6942639"/>
                <a:gd name="connsiteY7672" fmla="*/ 3095564 h 9250612"/>
                <a:gd name="connsiteX7673" fmla="*/ 2534437 w 6942639"/>
                <a:gd name="connsiteY7673" fmla="*/ 3086602 h 9250612"/>
                <a:gd name="connsiteX7674" fmla="*/ 2543409 w 6942639"/>
                <a:gd name="connsiteY7674" fmla="*/ 3077639 h 9250612"/>
                <a:gd name="connsiteX7675" fmla="*/ 4905620 w 6942639"/>
                <a:gd name="connsiteY7675" fmla="*/ 3077637 h 9250612"/>
                <a:gd name="connsiteX7676" fmla="*/ 4914581 w 6942639"/>
                <a:gd name="connsiteY7676" fmla="*/ 3086599 h 9250612"/>
                <a:gd name="connsiteX7677" fmla="*/ 4905620 w 6942639"/>
                <a:gd name="connsiteY7677" fmla="*/ 3095562 h 9250612"/>
                <a:gd name="connsiteX7678" fmla="*/ 4896660 w 6942639"/>
                <a:gd name="connsiteY7678" fmla="*/ 3086599 h 9250612"/>
                <a:gd name="connsiteX7679" fmla="*/ 4905620 w 6942639"/>
                <a:gd name="connsiteY7679" fmla="*/ 3077637 h 9250612"/>
                <a:gd name="connsiteX7680" fmla="*/ 4736878 w 6942639"/>
                <a:gd name="connsiteY7680" fmla="*/ 3077637 h 9250612"/>
                <a:gd name="connsiteX7681" fmla="*/ 4745839 w 6942639"/>
                <a:gd name="connsiteY7681" fmla="*/ 3086599 h 9250612"/>
                <a:gd name="connsiteX7682" fmla="*/ 4736878 w 6942639"/>
                <a:gd name="connsiteY7682" fmla="*/ 3095562 h 9250612"/>
                <a:gd name="connsiteX7683" fmla="*/ 4727918 w 6942639"/>
                <a:gd name="connsiteY7683" fmla="*/ 3086599 h 9250612"/>
                <a:gd name="connsiteX7684" fmla="*/ 4736878 w 6942639"/>
                <a:gd name="connsiteY7684" fmla="*/ 3077637 h 9250612"/>
                <a:gd name="connsiteX7685" fmla="*/ 4568137 w 6942639"/>
                <a:gd name="connsiteY7685" fmla="*/ 3077637 h 9250612"/>
                <a:gd name="connsiteX7686" fmla="*/ 4577098 w 6942639"/>
                <a:gd name="connsiteY7686" fmla="*/ 3086599 h 9250612"/>
                <a:gd name="connsiteX7687" fmla="*/ 4568137 w 6942639"/>
                <a:gd name="connsiteY7687" fmla="*/ 3095562 h 9250612"/>
                <a:gd name="connsiteX7688" fmla="*/ 4559177 w 6942639"/>
                <a:gd name="connsiteY7688" fmla="*/ 3086599 h 9250612"/>
                <a:gd name="connsiteX7689" fmla="*/ 4568137 w 6942639"/>
                <a:gd name="connsiteY7689" fmla="*/ 3077637 h 9250612"/>
                <a:gd name="connsiteX7690" fmla="*/ 4399396 w 6942639"/>
                <a:gd name="connsiteY7690" fmla="*/ 3077637 h 9250612"/>
                <a:gd name="connsiteX7691" fmla="*/ 4408357 w 6942639"/>
                <a:gd name="connsiteY7691" fmla="*/ 3086599 h 9250612"/>
                <a:gd name="connsiteX7692" fmla="*/ 4399396 w 6942639"/>
                <a:gd name="connsiteY7692" fmla="*/ 3095563 h 9250612"/>
                <a:gd name="connsiteX7693" fmla="*/ 4390436 w 6942639"/>
                <a:gd name="connsiteY7693" fmla="*/ 3086599 h 9250612"/>
                <a:gd name="connsiteX7694" fmla="*/ 4399396 w 6942639"/>
                <a:gd name="connsiteY7694" fmla="*/ 3077637 h 9250612"/>
                <a:gd name="connsiteX7695" fmla="*/ 4230654 w 6942639"/>
                <a:gd name="connsiteY7695" fmla="*/ 3077637 h 9250612"/>
                <a:gd name="connsiteX7696" fmla="*/ 4239615 w 6942639"/>
                <a:gd name="connsiteY7696" fmla="*/ 3086599 h 9250612"/>
                <a:gd name="connsiteX7697" fmla="*/ 4230654 w 6942639"/>
                <a:gd name="connsiteY7697" fmla="*/ 3095563 h 9250612"/>
                <a:gd name="connsiteX7698" fmla="*/ 4221694 w 6942639"/>
                <a:gd name="connsiteY7698" fmla="*/ 3086599 h 9250612"/>
                <a:gd name="connsiteX7699" fmla="*/ 4230654 w 6942639"/>
                <a:gd name="connsiteY7699" fmla="*/ 3077637 h 9250612"/>
                <a:gd name="connsiteX7700" fmla="*/ 4061912 w 6942639"/>
                <a:gd name="connsiteY7700" fmla="*/ 3077637 h 9250612"/>
                <a:gd name="connsiteX7701" fmla="*/ 4070873 w 6942639"/>
                <a:gd name="connsiteY7701" fmla="*/ 3086601 h 9250612"/>
                <a:gd name="connsiteX7702" fmla="*/ 4061912 w 6942639"/>
                <a:gd name="connsiteY7702" fmla="*/ 3095563 h 9250612"/>
                <a:gd name="connsiteX7703" fmla="*/ 4052952 w 6942639"/>
                <a:gd name="connsiteY7703" fmla="*/ 3086601 h 9250612"/>
                <a:gd name="connsiteX7704" fmla="*/ 4061912 w 6942639"/>
                <a:gd name="connsiteY7704" fmla="*/ 3077637 h 9250612"/>
                <a:gd name="connsiteX7705" fmla="*/ 3893170 w 6942639"/>
                <a:gd name="connsiteY7705" fmla="*/ 3077637 h 9250612"/>
                <a:gd name="connsiteX7706" fmla="*/ 3902131 w 6942639"/>
                <a:gd name="connsiteY7706" fmla="*/ 3086601 h 9250612"/>
                <a:gd name="connsiteX7707" fmla="*/ 3893170 w 6942639"/>
                <a:gd name="connsiteY7707" fmla="*/ 3095563 h 9250612"/>
                <a:gd name="connsiteX7708" fmla="*/ 3884210 w 6942639"/>
                <a:gd name="connsiteY7708" fmla="*/ 3086601 h 9250612"/>
                <a:gd name="connsiteX7709" fmla="*/ 3893170 w 6942639"/>
                <a:gd name="connsiteY7709" fmla="*/ 3077637 h 9250612"/>
                <a:gd name="connsiteX7710" fmla="*/ 6255553 w 6942639"/>
                <a:gd name="connsiteY7710" fmla="*/ 3077636 h 9250612"/>
                <a:gd name="connsiteX7711" fmla="*/ 6264514 w 6942639"/>
                <a:gd name="connsiteY7711" fmla="*/ 3086598 h 9250612"/>
                <a:gd name="connsiteX7712" fmla="*/ 6255553 w 6942639"/>
                <a:gd name="connsiteY7712" fmla="*/ 3095560 h 9250612"/>
                <a:gd name="connsiteX7713" fmla="*/ 6246593 w 6942639"/>
                <a:gd name="connsiteY7713" fmla="*/ 3086598 h 9250612"/>
                <a:gd name="connsiteX7714" fmla="*/ 6255553 w 6942639"/>
                <a:gd name="connsiteY7714" fmla="*/ 3077636 h 9250612"/>
                <a:gd name="connsiteX7715" fmla="*/ 6086811 w 6942639"/>
                <a:gd name="connsiteY7715" fmla="*/ 3077636 h 9250612"/>
                <a:gd name="connsiteX7716" fmla="*/ 6095772 w 6942639"/>
                <a:gd name="connsiteY7716" fmla="*/ 3086598 h 9250612"/>
                <a:gd name="connsiteX7717" fmla="*/ 6086811 w 6942639"/>
                <a:gd name="connsiteY7717" fmla="*/ 3095560 h 9250612"/>
                <a:gd name="connsiteX7718" fmla="*/ 6077851 w 6942639"/>
                <a:gd name="connsiteY7718" fmla="*/ 3086598 h 9250612"/>
                <a:gd name="connsiteX7719" fmla="*/ 6086811 w 6942639"/>
                <a:gd name="connsiteY7719" fmla="*/ 3077636 h 9250612"/>
                <a:gd name="connsiteX7720" fmla="*/ 5918069 w 6942639"/>
                <a:gd name="connsiteY7720" fmla="*/ 3077636 h 9250612"/>
                <a:gd name="connsiteX7721" fmla="*/ 5927030 w 6942639"/>
                <a:gd name="connsiteY7721" fmla="*/ 3086598 h 9250612"/>
                <a:gd name="connsiteX7722" fmla="*/ 5918069 w 6942639"/>
                <a:gd name="connsiteY7722" fmla="*/ 3095560 h 9250612"/>
                <a:gd name="connsiteX7723" fmla="*/ 5909109 w 6942639"/>
                <a:gd name="connsiteY7723" fmla="*/ 3086598 h 9250612"/>
                <a:gd name="connsiteX7724" fmla="*/ 5918069 w 6942639"/>
                <a:gd name="connsiteY7724" fmla="*/ 3077636 h 9250612"/>
                <a:gd name="connsiteX7725" fmla="*/ 5749328 w 6942639"/>
                <a:gd name="connsiteY7725" fmla="*/ 3077636 h 9250612"/>
                <a:gd name="connsiteX7726" fmla="*/ 5758289 w 6942639"/>
                <a:gd name="connsiteY7726" fmla="*/ 3086598 h 9250612"/>
                <a:gd name="connsiteX7727" fmla="*/ 5749328 w 6942639"/>
                <a:gd name="connsiteY7727" fmla="*/ 3095560 h 9250612"/>
                <a:gd name="connsiteX7728" fmla="*/ 5740368 w 6942639"/>
                <a:gd name="connsiteY7728" fmla="*/ 3086598 h 9250612"/>
                <a:gd name="connsiteX7729" fmla="*/ 5749328 w 6942639"/>
                <a:gd name="connsiteY7729" fmla="*/ 3077636 h 9250612"/>
                <a:gd name="connsiteX7730" fmla="*/ 5580586 w 6942639"/>
                <a:gd name="connsiteY7730" fmla="*/ 3077636 h 9250612"/>
                <a:gd name="connsiteX7731" fmla="*/ 5589547 w 6942639"/>
                <a:gd name="connsiteY7731" fmla="*/ 3086598 h 9250612"/>
                <a:gd name="connsiteX7732" fmla="*/ 5580586 w 6942639"/>
                <a:gd name="connsiteY7732" fmla="*/ 3095560 h 9250612"/>
                <a:gd name="connsiteX7733" fmla="*/ 5571626 w 6942639"/>
                <a:gd name="connsiteY7733" fmla="*/ 3086598 h 9250612"/>
                <a:gd name="connsiteX7734" fmla="*/ 5580586 w 6942639"/>
                <a:gd name="connsiteY7734" fmla="*/ 3077636 h 9250612"/>
                <a:gd name="connsiteX7735" fmla="*/ 5411845 w 6942639"/>
                <a:gd name="connsiteY7735" fmla="*/ 3077636 h 9250612"/>
                <a:gd name="connsiteX7736" fmla="*/ 5420806 w 6942639"/>
                <a:gd name="connsiteY7736" fmla="*/ 3086598 h 9250612"/>
                <a:gd name="connsiteX7737" fmla="*/ 5411845 w 6942639"/>
                <a:gd name="connsiteY7737" fmla="*/ 3095562 h 9250612"/>
                <a:gd name="connsiteX7738" fmla="*/ 5402885 w 6942639"/>
                <a:gd name="connsiteY7738" fmla="*/ 3086598 h 9250612"/>
                <a:gd name="connsiteX7739" fmla="*/ 5411845 w 6942639"/>
                <a:gd name="connsiteY7739" fmla="*/ 3077636 h 9250612"/>
                <a:gd name="connsiteX7740" fmla="*/ 5243103 w 6942639"/>
                <a:gd name="connsiteY7740" fmla="*/ 3077636 h 9250612"/>
                <a:gd name="connsiteX7741" fmla="*/ 5252064 w 6942639"/>
                <a:gd name="connsiteY7741" fmla="*/ 3086599 h 9250612"/>
                <a:gd name="connsiteX7742" fmla="*/ 5243103 w 6942639"/>
                <a:gd name="connsiteY7742" fmla="*/ 3095562 h 9250612"/>
                <a:gd name="connsiteX7743" fmla="*/ 5234143 w 6942639"/>
                <a:gd name="connsiteY7743" fmla="*/ 3086599 h 9250612"/>
                <a:gd name="connsiteX7744" fmla="*/ 5243103 w 6942639"/>
                <a:gd name="connsiteY7744" fmla="*/ 3077636 h 9250612"/>
                <a:gd name="connsiteX7745" fmla="*/ 5074362 w 6942639"/>
                <a:gd name="connsiteY7745" fmla="*/ 3077636 h 9250612"/>
                <a:gd name="connsiteX7746" fmla="*/ 5083323 w 6942639"/>
                <a:gd name="connsiteY7746" fmla="*/ 3086599 h 9250612"/>
                <a:gd name="connsiteX7747" fmla="*/ 5074362 w 6942639"/>
                <a:gd name="connsiteY7747" fmla="*/ 3095562 h 9250612"/>
                <a:gd name="connsiteX7748" fmla="*/ 5065402 w 6942639"/>
                <a:gd name="connsiteY7748" fmla="*/ 3086599 h 9250612"/>
                <a:gd name="connsiteX7749" fmla="*/ 5074362 w 6942639"/>
                <a:gd name="connsiteY7749" fmla="*/ 3077636 h 9250612"/>
                <a:gd name="connsiteX7750" fmla="*/ 6933679 w 6942639"/>
                <a:gd name="connsiteY7750" fmla="*/ 3077635 h 9250612"/>
                <a:gd name="connsiteX7751" fmla="*/ 6942639 w 6942639"/>
                <a:gd name="connsiteY7751" fmla="*/ 3086597 h 9250612"/>
                <a:gd name="connsiteX7752" fmla="*/ 6933679 w 6942639"/>
                <a:gd name="connsiteY7752" fmla="*/ 3095559 h 9250612"/>
                <a:gd name="connsiteX7753" fmla="*/ 6924718 w 6942639"/>
                <a:gd name="connsiteY7753" fmla="*/ 3086597 h 9250612"/>
                <a:gd name="connsiteX7754" fmla="*/ 6933679 w 6942639"/>
                <a:gd name="connsiteY7754" fmla="*/ 3077635 h 9250612"/>
                <a:gd name="connsiteX7755" fmla="*/ 6763357 w 6942639"/>
                <a:gd name="connsiteY7755" fmla="*/ 3077635 h 9250612"/>
                <a:gd name="connsiteX7756" fmla="*/ 6772318 w 6942639"/>
                <a:gd name="connsiteY7756" fmla="*/ 3086597 h 9250612"/>
                <a:gd name="connsiteX7757" fmla="*/ 6763357 w 6942639"/>
                <a:gd name="connsiteY7757" fmla="*/ 3095560 h 9250612"/>
                <a:gd name="connsiteX7758" fmla="*/ 6754397 w 6942639"/>
                <a:gd name="connsiteY7758" fmla="*/ 3086597 h 9250612"/>
                <a:gd name="connsiteX7759" fmla="*/ 6763357 w 6942639"/>
                <a:gd name="connsiteY7759" fmla="*/ 3077635 h 9250612"/>
                <a:gd name="connsiteX7760" fmla="*/ 6593035 w 6942639"/>
                <a:gd name="connsiteY7760" fmla="*/ 3077635 h 9250612"/>
                <a:gd name="connsiteX7761" fmla="*/ 6601996 w 6942639"/>
                <a:gd name="connsiteY7761" fmla="*/ 3086597 h 9250612"/>
                <a:gd name="connsiteX7762" fmla="*/ 6593035 w 6942639"/>
                <a:gd name="connsiteY7762" fmla="*/ 3095560 h 9250612"/>
                <a:gd name="connsiteX7763" fmla="*/ 6584075 w 6942639"/>
                <a:gd name="connsiteY7763" fmla="*/ 3086597 h 9250612"/>
                <a:gd name="connsiteX7764" fmla="*/ 6593035 w 6942639"/>
                <a:gd name="connsiteY7764" fmla="*/ 3077635 h 9250612"/>
                <a:gd name="connsiteX7765" fmla="*/ 6424294 w 6942639"/>
                <a:gd name="connsiteY7765" fmla="*/ 3077635 h 9250612"/>
                <a:gd name="connsiteX7766" fmla="*/ 6433255 w 6942639"/>
                <a:gd name="connsiteY7766" fmla="*/ 3086598 h 9250612"/>
                <a:gd name="connsiteX7767" fmla="*/ 6424294 w 6942639"/>
                <a:gd name="connsiteY7767" fmla="*/ 3095560 h 9250612"/>
                <a:gd name="connsiteX7768" fmla="*/ 6415334 w 6942639"/>
                <a:gd name="connsiteY7768" fmla="*/ 3086598 h 9250612"/>
                <a:gd name="connsiteX7769" fmla="*/ 6424294 w 6942639"/>
                <a:gd name="connsiteY7769" fmla="*/ 3077635 h 9250612"/>
                <a:gd name="connsiteX7770" fmla="*/ 1024720 w 6942639"/>
                <a:gd name="connsiteY7770" fmla="*/ 2906631 h 9250612"/>
                <a:gd name="connsiteX7771" fmla="*/ 1033688 w 6942639"/>
                <a:gd name="connsiteY7771" fmla="*/ 2915593 h 9250612"/>
                <a:gd name="connsiteX7772" fmla="*/ 1024720 w 6942639"/>
                <a:gd name="connsiteY7772" fmla="*/ 2924555 h 9250612"/>
                <a:gd name="connsiteX7773" fmla="*/ 1015762 w 6942639"/>
                <a:gd name="connsiteY7773" fmla="*/ 2915593 h 9250612"/>
                <a:gd name="connsiteX7774" fmla="*/ 1024720 w 6942639"/>
                <a:gd name="connsiteY7774" fmla="*/ 2906631 h 9250612"/>
                <a:gd name="connsiteX7775" fmla="*/ 855995 w 6942639"/>
                <a:gd name="connsiteY7775" fmla="*/ 2906631 h 9250612"/>
                <a:gd name="connsiteX7776" fmla="*/ 864955 w 6942639"/>
                <a:gd name="connsiteY7776" fmla="*/ 2915593 h 9250612"/>
                <a:gd name="connsiteX7777" fmla="*/ 855995 w 6942639"/>
                <a:gd name="connsiteY7777" fmla="*/ 2924555 h 9250612"/>
                <a:gd name="connsiteX7778" fmla="*/ 847035 w 6942639"/>
                <a:gd name="connsiteY7778" fmla="*/ 2915593 h 9250612"/>
                <a:gd name="connsiteX7779" fmla="*/ 855995 w 6942639"/>
                <a:gd name="connsiteY7779" fmla="*/ 2906631 h 9250612"/>
                <a:gd name="connsiteX7780" fmla="*/ 687256 w 6942639"/>
                <a:gd name="connsiteY7780" fmla="*/ 2906631 h 9250612"/>
                <a:gd name="connsiteX7781" fmla="*/ 696217 w 6942639"/>
                <a:gd name="connsiteY7781" fmla="*/ 2915593 h 9250612"/>
                <a:gd name="connsiteX7782" fmla="*/ 687256 w 6942639"/>
                <a:gd name="connsiteY7782" fmla="*/ 2924555 h 9250612"/>
                <a:gd name="connsiteX7783" fmla="*/ 678298 w 6942639"/>
                <a:gd name="connsiteY7783" fmla="*/ 2915593 h 9250612"/>
                <a:gd name="connsiteX7784" fmla="*/ 687256 w 6942639"/>
                <a:gd name="connsiteY7784" fmla="*/ 2906631 h 9250612"/>
                <a:gd name="connsiteX7785" fmla="*/ 518485 w 6942639"/>
                <a:gd name="connsiteY7785" fmla="*/ 2906631 h 9250612"/>
                <a:gd name="connsiteX7786" fmla="*/ 527445 w 6942639"/>
                <a:gd name="connsiteY7786" fmla="*/ 2915593 h 9250612"/>
                <a:gd name="connsiteX7787" fmla="*/ 518485 w 6942639"/>
                <a:gd name="connsiteY7787" fmla="*/ 2924555 h 9250612"/>
                <a:gd name="connsiteX7788" fmla="*/ 509524 w 6942639"/>
                <a:gd name="connsiteY7788" fmla="*/ 2915593 h 9250612"/>
                <a:gd name="connsiteX7789" fmla="*/ 518485 w 6942639"/>
                <a:gd name="connsiteY7789" fmla="*/ 2906631 h 9250612"/>
                <a:gd name="connsiteX7790" fmla="*/ 349747 w 6942639"/>
                <a:gd name="connsiteY7790" fmla="*/ 2906631 h 9250612"/>
                <a:gd name="connsiteX7791" fmla="*/ 358707 w 6942639"/>
                <a:gd name="connsiteY7791" fmla="*/ 2915594 h 9250612"/>
                <a:gd name="connsiteX7792" fmla="*/ 349747 w 6942639"/>
                <a:gd name="connsiteY7792" fmla="*/ 2924556 h 9250612"/>
                <a:gd name="connsiteX7793" fmla="*/ 340787 w 6942639"/>
                <a:gd name="connsiteY7793" fmla="*/ 2915594 h 9250612"/>
                <a:gd name="connsiteX7794" fmla="*/ 349747 w 6942639"/>
                <a:gd name="connsiteY7794" fmla="*/ 2906631 h 9250612"/>
                <a:gd name="connsiteX7795" fmla="*/ 179429 w 6942639"/>
                <a:gd name="connsiteY7795" fmla="*/ 2906631 h 9250612"/>
                <a:gd name="connsiteX7796" fmla="*/ 188390 w 6942639"/>
                <a:gd name="connsiteY7796" fmla="*/ 2915594 h 9250612"/>
                <a:gd name="connsiteX7797" fmla="*/ 179429 w 6942639"/>
                <a:gd name="connsiteY7797" fmla="*/ 2924555 h 9250612"/>
                <a:gd name="connsiteX7798" fmla="*/ 170469 w 6942639"/>
                <a:gd name="connsiteY7798" fmla="*/ 2915594 h 9250612"/>
                <a:gd name="connsiteX7799" fmla="*/ 179429 w 6942639"/>
                <a:gd name="connsiteY7799" fmla="*/ 2906631 h 9250612"/>
                <a:gd name="connsiteX7800" fmla="*/ 9113 w 6942639"/>
                <a:gd name="connsiteY7800" fmla="*/ 2906631 h 9250612"/>
                <a:gd name="connsiteX7801" fmla="*/ 18072 w 6942639"/>
                <a:gd name="connsiteY7801" fmla="*/ 2915593 h 9250612"/>
                <a:gd name="connsiteX7802" fmla="*/ 9113 w 6942639"/>
                <a:gd name="connsiteY7802" fmla="*/ 2924555 h 9250612"/>
                <a:gd name="connsiteX7803" fmla="*/ 153 w 6942639"/>
                <a:gd name="connsiteY7803" fmla="*/ 2915593 h 9250612"/>
                <a:gd name="connsiteX7804" fmla="*/ 9113 w 6942639"/>
                <a:gd name="connsiteY7804" fmla="*/ 2906631 h 9250612"/>
                <a:gd name="connsiteX7805" fmla="*/ 2037163 w 6942639"/>
                <a:gd name="connsiteY7805" fmla="*/ 2906629 h 9250612"/>
                <a:gd name="connsiteX7806" fmla="*/ 2046111 w 6942639"/>
                <a:gd name="connsiteY7806" fmla="*/ 2915592 h 9250612"/>
                <a:gd name="connsiteX7807" fmla="*/ 2037163 w 6942639"/>
                <a:gd name="connsiteY7807" fmla="*/ 2924554 h 9250612"/>
                <a:gd name="connsiteX7808" fmla="*/ 2028233 w 6942639"/>
                <a:gd name="connsiteY7808" fmla="*/ 2915592 h 9250612"/>
                <a:gd name="connsiteX7809" fmla="*/ 2037163 w 6942639"/>
                <a:gd name="connsiteY7809" fmla="*/ 2906629 h 9250612"/>
                <a:gd name="connsiteX7810" fmla="*/ 1868463 w 6942639"/>
                <a:gd name="connsiteY7810" fmla="*/ 2906629 h 9250612"/>
                <a:gd name="connsiteX7811" fmla="*/ 1877411 w 6942639"/>
                <a:gd name="connsiteY7811" fmla="*/ 2915592 h 9250612"/>
                <a:gd name="connsiteX7812" fmla="*/ 1868463 w 6942639"/>
                <a:gd name="connsiteY7812" fmla="*/ 2924554 h 9250612"/>
                <a:gd name="connsiteX7813" fmla="*/ 1859486 w 6942639"/>
                <a:gd name="connsiteY7813" fmla="*/ 2915592 h 9250612"/>
                <a:gd name="connsiteX7814" fmla="*/ 1868463 w 6942639"/>
                <a:gd name="connsiteY7814" fmla="*/ 2906629 h 9250612"/>
                <a:gd name="connsiteX7815" fmla="*/ 1699712 w 6942639"/>
                <a:gd name="connsiteY7815" fmla="*/ 2906629 h 9250612"/>
                <a:gd name="connsiteX7816" fmla="*/ 1708680 w 6942639"/>
                <a:gd name="connsiteY7816" fmla="*/ 2915592 h 9250612"/>
                <a:gd name="connsiteX7817" fmla="*/ 1699712 w 6942639"/>
                <a:gd name="connsiteY7817" fmla="*/ 2924554 h 9250612"/>
                <a:gd name="connsiteX7818" fmla="*/ 1690743 w 6942639"/>
                <a:gd name="connsiteY7818" fmla="*/ 2915592 h 9250612"/>
                <a:gd name="connsiteX7819" fmla="*/ 1699712 w 6942639"/>
                <a:gd name="connsiteY7819" fmla="*/ 2906629 h 9250612"/>
                <a:gd name="connsiteX7820" fmla="*/ 1530969 w 6942639"/>
                <a:gd name="connsiteY7820" fmla="*/ 2906629 h 9250612"/>
                <a:gd name="connsiteX7821" fmla="*/ 1539931 w 6942639"/>
                <a:gd name="connsiteY7821" fmla="*/ 2915592 h 9250612"/>
                <a:gd name="connsiteX7822" fmla="*/ 1530969 w 6942639"/>
                <a:gd name="connsiteY7822" fmla="*/ 2924554 h 9250612"/>
                <a:gd name="connsiteX7823" fmla="*/ 1522007 w 6942639"/>
                <a:gd name="connsiteY7823" fmla="*/ 2915592 h 9250612"/>
                <a:gd name="connsiteX7824" fmla="*/ 1530969 w 6942639"/>
                <a:gd name="connsiteY7824" fmla="*/ 2906629 h 9250612"/>
                <a:gd name="connsiteX7825" fmla="*/ 1362218 w 6942639"/>
                <a:gd name="connsiteY7825" fmla="*/ 2906629 h 9250612"/>
                <a:gd name="connsiteX7826" fmla="*/ 1371180 w 6942639"/>
                <a:gd name="connsiteY7826" fmla="*/ 2915592 h 9250612"/>
                <a:gd name="connsiteX7827" fmla="*/ 1362218 w 6942639"/>
                <a:gd name="connsiteY7827" fmla="*/ 2924555 h 9250612"/>
                <a:gd name="connsiteX7828" fmla="*/ 1353256 w 6942639"/>
                <a:gd name="connsiteY7828" fmla="*/ 2915592 h 9250612"/>
                <a:gd name="connsiteX7829" fmla="*/ 1362218 w 6942639"/>
                <a:gd name="connsiteY7829" fmla="*/ 2906629 h 9250612"/>
                <a:gd name="connsiteX7830" fmla="*/ 1193475 w 6942639"/>
                <a:gd name="connsiteY7830" fmla="*/ 2906629 h 9250612"/>
                <a:gd name="connsiteX7831" fmla="*/ 1202436 w 6942639"/>
                <a:gd name="connsiteY7831" fmla="*/ 2915593 h 9250612"/>
                <a:gd name="connsiteX7832" fmla="*/ 1193475 w 6942639"/>
                <a:gd name="connsiteY7832" fmla="*/ 2924555 h 9250612"/>
                <a:gd name="connsiteX7833" fmla="*/ 1184517 w 6942639"/>
                <a:gd name="connsiteY7833" fmla="*/ 2915593 h 9250612"/>
                <a:gd name="connsiteX7834" fmla="*/ 1193475 w 6942639"/>
                <a:gd name="connsiteY7834" fmla="*/ 2906629 h 9250612"/>
                <a:gd name="connsiteX7835" fmla="*/ 4061912 w 6942639"/>
                <a:gd name="connsiteY7835" fmla="*/ 2906628 h 9250612"/>
                <a:gd name="connsiteX7836" fmla="*/ 4070873 w 6942639"/>
                <a:gd name="connsiteY7836" fmla="*/ 2915589 h 9250612"/>
                <a:gd name="connsiteX7837" fmla="*/ 4061912 w 6942639"/>
                <a:gd name="connsiteY7837" fmla="*/ 2924553 h 9250612"/>
                <a:gd name="connsiteX7838" fmla="*/ 4052952 w 6942639"/>
                <a:gd name="connsiteY7838" fmla="*/ 2915589 h 9250612"/>
                <a:gd name="connsiteX7839" fmla="*/ 4061912 w 6942639"/>
                <a:gd name="connsiteY7839" fmla="*/ 2906628 h 9250612"/>
                <a:gd name="connsiteX7840" fmla="*/ 3893170 w 6942639"/>
                <a:gd name="connsiteY7840" fmla="*/ 2906628 h 9250612"/>
                <a:gd name="connsiteX7841" fmla="*/ 3902131 w 6942639"/>
                <a:gd name="connsiteY7841" fmla="*/ 2915589 h 9250612"/>
                <a:gd name="connsiteX7842" fmla="*/ 3893170 w 6942639"/>
                <a:gd name="connsiteY7842" fmla="*/ 2924553 h 9250612"/>
                <a:gd name="connsiteX7843" fmla="*/ 3884210 w 6942639"/>
                <a:gd name="connsiteY7843" fmla="*/ 2915589 h 9250612"/>
                <a:gd name="connsiteX7844" fmla="*/ 3893170 w 6942639"/>
                <a:gd name="connsiteY7844" fmla="*/ 2906628 h 9250612"/>
                <a:gd name="connsiteX7845" fmla="*/ 3724429 w 6942639"/>
                <a:gd name="connsiteY7845" fmla="*/ 2906628 h 9250612"/>
                <a:gd name="connsiteX7846" fmla="*/ 3733390 w 6942639"/>
                <a:gd name="connsiteY7846" fmla="*/ 2915590 h 9250612"/>
                <a:gd name="connsiteX7847" fmla="*/ 3724429 w 6942639"/>
                <a:gd name="connsiteY7847" fmla="*/ 2924553 h 9250612"/>
                <a:gd name="connsiteX7848" fmla="*/ 3715469 w 6942639"/>
                <a:gd name="connsiteY7848" fmla="*/ 2915590 h 9250612"/>
                <a:gd name="connsiteX7849" fmla="*/ 3724429 w 6942639"/>
                <a:gd name="connsiteY7849" fmla="*/ 2906628 h 9250612"/>
                <a:gd name="connsiteX7850" fmla="*/ 3555688 w 6942639"/>
                <a:gd name="connsiteY7850" fmla="*/ 2906628 h 9250612"/>
                <a:gd name="connsiteX7851" fmla="*/ 3564649 w 6942639"/>
                <a:gd name="connsiteY7851" fmla="*/ 2915590 h 9250612"/>
                <a:gd name="connsiteX7852" fmla="*/ 3555688 w 6942639"/>
                <a:gd name="connsiteY7852" fmla="*/ 2924553 h 9250612"/>
                <a:gd name="connsiteX7853" fmla="*/ 3546728 w 6942639"/>
                <a:gd name="connsiteY7853" fmla="*/ 2915590 h 9250612"/>
                <a:gd name="connsiteX7854" fmla="*/ 3555688 w 6942639"/>
                <a:gd name="connsiteY7854" fmla="*/ 2906628 h 9250612"/>
                <a:gd name="connsiteX7855" fmla="*/ 3387053 w 6942639"/>
                <a:gd name="connsiteY7855" fmla="*/ 2906628 h 9250612"/>
                <a:gd name="connsiteX7856" fmla="*/ 3396019 w 6942639"/>
                <a:gd name="connsiteY7856" fmla="*/ 2915590 h 9250612"/>
                <a:gd name="connsiteX7857" fmla="*/ 3387053 w 6942639"/>
                <a:gd name="connsiteY7857" fmla="*/ 2924554 h 9250612"/>
                <a:gd name="connsiteX7858" fmla="*/ 3378042 w 6942639"/>
                <a:gd name="connsiteY7858" fmla="*/ 2915590 h 9250612"/>
                <a:gd name="connsiteX7859" fmla="*/ 3387053 w 6942639"/>
                <a:gd name="connsiteY7859" fmla="*/ 2906628 h 9250612"/>
                <a:gd name="connsiteX7860" fmla="*/ 3218296 w 6942639"/>
                <a:gd name="connsiteY7860" fmla="*/ 2906628 h 9250612"/>
                <a:gd name="connsiteX7861" fmla="*/ 3227270 w 6942639"/>
                <a:gd name="connsiteY7861" fmla="*/ 2915590 h 9250612"/>
                <a:gd name="connsiteX7862" fmla="*/ 3218296 w 6942639"/>
                <a:gd name="connsiteY7862" fmla="*/ 2924554 h 9250612"/>
                <a:gd name="connsiteX7863" fmla="*/ 3209326 w 6942639"/>
                <a:gd name="connsiteY7863" fmla="*/ 2915590 h 9250612"/>
                <a:gd name="connsiteX7864" fmla="*/ 3218296 w 6942639"/>
                <a:gd name="connsiteY7864" fmla="*/ 2906628 h 9250612"/>
                <a:gd name="connsiteX7865" fmla="*/ 3049591 w 6942639"/>
                <a:gd name="connsiteY7865" fmla="*/ 2906628 h 9250612"/>
                <a:gd name="connsiteX7866" fmla="*/ 3058538 w 6942639"/>
                <a:gd name="connsiteY7866" fmla="*/ 2915590 h 9250612"/>
                <a:gd name="connsiteX7867" fmla="*/ 3049591 w 6942639"/>
                <a:gd name="connsiteY7867" fmla="*/ 2924554 h 9250612"/>
                <a:gd name="connsiteX7868" fmla="*/ 3040621 w 6942639"/>
                <a:gd name="connsiteY7868" fmla="*/ 2915590 h 9250612"/>
                <a:gd name="connsiteX7869" fmla="*/ 3049591 w 6942639"/>
                <a:gd name="connsiteY7869" fmla="*/ 2906628 h 9250612"/>
                <a:gd name="connsiteX7870" fmla="*/ 2880864 w 6942639"/>
                <a:gd name="connsiteY7870" fmla="*/ 2906628 h 9250612"/>
                <a:gd name="connsiteX7871" fmla="*/ 2889823 w 6942639"/>
                <a:gd name="connsiteY7871" fmla="*/ 2915590 h 9250612"/>
                <a:gd name="connsiteX7872" fmla="*/ 2880864 w 6942639"/>
                <a:gd name="connsiteY7872" fmla="*/ 2924554 h 9250612"/>
                <a:gd name="connsiteX7873" fmla="*/ 2871908 w 6942639"/>
                <a:gd name="connsiteY7873" fmla="*/ 2915590 h 9250612"/>
                <a:gd name="connsiteX7874" fmla="*/ 2880864 w 6942639"/>
                <a:gd name="connsiteY7874" fmla="*/ 2906628 h 9250612"/>
                <a:gd name="connsiteX7875" fmla="*/ 2712097 w 6942639"/>
                <a:gd name="connsiteY7875" fmla="*/ 2906628 h 9250612"/>
                <a:gd name="connsiteX7876" fmla="*/ 2721080 w 6942639"/>
                <a:gd name="connsiteY7876" fmla="*/ 2915592 h 9250612"/>
                <a:gd name="connsiteX7877" fmla="*/ 2712097 w 6942639"/>
                <a:gd name="connsiteY7877" fmla="*/ 2924554 h 9250612"/>
                <a:gd name="connsiteX7878" fmla="*/ 2703141 w 6942639"/>
                <a:gd name="connsiteY7878" fmla="*/ 2915592 h 9250612"/>
                <a:gd name="connsiteX7879" fmla="*/ 2712097 w 6942639"/>
                <a:gd name="connsiteY7879" fmla="*/ 2906628 h 9250612"/>
                <a:gd name="connsiteX7880" fmla="*/ 2543414 w 6942639"/>
                <a:gd name="connsiteY7880" fmla="*/ 2906628 h 9250612"/>
                <a:gd name="connsiteX7881" fmla="*/ 2552377 w 6942639"/>
                <a:gd name="connsiteY7881" fmla="*/ 2915592 h 9250612"/>
                <a:gd name="connsiteX7882" fmla="*/ 2543414 w 6942639"/>
                <a:gd name="connsiteY7882" fmla="*/ 2924554 h 9250612"/>
                <a:gd name="connsiteX7883" fmla="*/ 2534440 w 6942639"/>
                <a:gd name="connsiteY7883" fmla="*/ 2915592 h 9250612"/>
                <a:gd name="connsiteX7884" fmla="*/ 2543414 w 6942639"/>
                <a:gd name="connsiteY7884" fmla="*/ 2906628 h 9250612"/>
                <a:gd name="connsiteX7885" fmla="*/ 2374616 w 6942639"/>
                <a:gd name="connsiteY7885" fmla="*/ 2906628 h 9250612"/>
                <a:gd name="connsiteX7886" fmla="*/ 2383624 w 6942639"/>
                <a:gd name="connsiteY7886" fmla="*/ 2915592 h 9250612"/>
                <a:gd name="connsiteX7887" fmla="*/ 2374616 w 6942639"/>
                <a:gd name="connsiteY7887" fmla="*/ 2924554 h 9250612"/>
                <a:gd name="connsiteX7888" fmla="*/ 2365652 w 6942639"/>
                <a:gd name="connsiteY7888" fmla="*/ 2915592 h 9250612"/>
                <a:gd name="connsiteX7889" fmla="*/ 2374616 w 6942639"/>
                <a:gd name="connsiteY7889" fmla="*/ 2906628 h 9250612"/>
                <a:gd name="connsiteX7890" fmla="*/ 2205915 w 6942639"/>
                <a:gd name="connsiteY7890" fmla="*/ 2906628 h 9250612"/>
                <a:gd name="connsiteX7891" fmla="*/ 2214871 w 6942639"/>
                <a:gd name="connsiteY7891" fmla="*/ 2915592 h 9250612"/>
                <a:gd name="connsiteX7892" fmla="*/ 2205915 w 6942639"/>
                <a:gd name="connsiteY7892" fmla="*/ 2924554 h 9250612"/>
                <a:gd name="connsiteX7893" fmla="*/ 2196919 w 6942639"/>
                <a:gd name="connsiteY7893" fmla="*/ 2915592 h 9250612"/>
                <a:gd name="connsiteX7894" fmla="*/ 2205915 w 6942639"/>
                <a:gd name="connsiteY7894" fmla="*/ 2906628 h 9250612"/>
                <a:gd name="connsiteX7895" fmla="*/ 5074362 w 6942639"/>
                <a:gd name="connsiteY7895" fmla="*/ 2906627 h 9250612"/>
                <a:gd name="connsiteX7896" fmla="*/ 5083323 w 6942639"/>
                <a:gd name="connsiteY7896" fmla="*/ 2915589 h 9250612"/>
                <a:gd name="connsiteX7897" fmla="*/ 5074362 w 6942639"/>
                <a:gd name="connsiteY7897" fmla="*/ 2924551 h 9250612"/>
                <a:gd name="connsiteX7898" fmla="*/ 5065402 w 6942639"/>
                <a:gd name="connsiteY7898" fmla="*/ 2915589 h 9250612"/>
                <a:gd name="connsiteX7899" fmla="*/ 5074362 w 6942639"/>
                <a:gd name="connsiteY7899" fmla="*/ 2906627 h 9250612"/>
                <a:gd name="connsiteX7900" fmla="*/ 4905620 w 6942639"/>
                <a:gd name="connsiteY7900" fmla="*/ 2906627 h 9250612"/>
                <a:gd name="connsiteX7901" fmla="*/ 4914581 w 6942639"/>
                <a:gd name="connsiteY7901" fmla="*/ 2915589 h 9250612"/>
                <a:gd name="connsiteX7902" fmla="*/ 4905620 w 6942639"/>
                <a:gd name="connsiteY7902" fmla="*/ 2924551 h 9250612"/>
                <a:gd name="connsiteX7903" fmla="*/ 4896660 w 6942639"/>
                <a:gd name="connsiteY7903" fmla="*/ 2915589 h 9250612"/>
                <a:gd name="connsiteX7904" fmla="*/ 4905620 w 6942639"/>
                <a:gd name="connsiteY7904" fmla="*/ 2906627 h 9250612"/>
                <a:gd name="connsiteX7905" fmla="*/ 4736878 w 6942639"/>
                <a:gd name="connsiteY7905" fmla="*/ 2906627 h 9250612"/>
                <a:gd name="connsiteX7906" fmla="*/ 4745839 w 6942639"/>
                <a:gd name="connsiteY7906" fmla="*/ 2915589 h 9250612"/>
                <a:gd name="connsiteX7907" fmla="*/ 4736878 w 6942639"/>
                <a:gd name="connsiteY7907" fmla="*/ 2924551 h 9250612"/>
                <a:gd name="connsiteX7908" fmla="*/ 4727918 w 6942639"/>
                <a:gd name="connsiteY7908" fmla="*/ 2915589 h 9250612"/>
                <a:gd name="connsiteX7909" fmla="*/ 4736878 w 6942639"/>
                <a:gd name="connsiteY7909" fmla="*/ 2906627 h 9250612"/>
                <a:gd name="connsiteX7910" fmla="*/ 4568137 w 6942639"/>
                <a:gd name="connsiteY7910" fmla="*/ 2906627 h 9250612"/>
                <a:gd name="connsiteX7911" fmla="*/ 4577098 w 6942639"/>
                <a:gd name="connsiteY7911" fmla="*/ 2915589 h 9250612"/>
                <a:gd name="connsiteX7912" fmla="*/ 4568137 w 6942639"/>
                <a:gd name="connsiteY7912" fmla="*/ 2924551 h 9250612"/>
                <a:gd name="connsiteX7913" fmla="*/ 4559177 w 6942639"/>
                <a:gd name="connsiteY7913" fmla="*/ 2915589 h 9250612"/>
                <a:gd name="connsiteX7914" fmla="*/ 4568137 w 6942639"/>
                <a:gd name="connsiteY7914" fmla="*/ 2906627 h 9250612"/>
                <a:gd name="connsiteX7915" fmla="*/ 4399396 w 6942639"/>
                <a:gd name="connsiteY7915" fmla="*/ 2906627 h 9250612"/>
                <a:gd name="connsiteX7916" fmla="*/ 4408357 w 6942639"/>
                <a:gd name="connsiteY7916" fmla="*/ 2915589 h 9250612"/>
                <a:gd name="connsiteX7917" fmla="*/ 4399396 w 6942639"/>
                <a:gd name="connsiteY7917" fmla="*/ 2924551 h 9250612"/>
                <a:gd name="connsiteX7918" fmla="*/ 4390436 w 6942639"/>
                <a:gd name="connsiteY7918" fmla="*/ 2915589 h 9250612"/>
                <a:gd name="connsiteX7919" fmla="*/ 4399396 w 6942639"/>
                <a:gd name="connsiteY7919" fmla="*/ 2906627 h 9250612"/>
                <a:gd name="connsiteX7920" fmla="*/ 4230654 w 6942639"/>
                <a:gd name="connsiteY7920" fmla="*/ 2906627 h 9250612"/>
                <a:gd name="connsiteX7921" fmla="*/ 4239615 w 6942639"/>
                <a:gd name="connsiteY7921" fmla="*/ 2915589 h 9250612"/>
                <a:gd name="connsiteX7922" fmla="*/ 4230654 w 6942639"/>
                <a:gd name="connsiteY7922" fmla="*/ 2924553 h 9250612"/>
                <a:gd name="connsiteX7923" fmla="*/ 4221694 w 6942639"/>
                <a:gd name="connsiteY7923" fmla="*/ 2915589 h 9250612"/>
                <a:gd name="connsiteX7924" fmla="*/ 4230654 w 6942639"/>
                <a:gd name="connsiteY7924" fmla="*/ 2906627 h 9250612"/>
                <a:gd name="connsiteX7925" fmla="*/ 6593035 w 6942639"/>
                <a:gd name="connsiteY7925" fmla="*/ 2906625 h 9250612"/>
                <a:gd name="connsiteX7926" fmla="*/ 6601996 w 6942639"/>
                <a:gd name="connsiteY7926" fmla="*/ 2915587 h 9250612"/>
                <a:gd name="connsiteX7927" fmla="*/ 6593035 w 6942639"/>
                <a:gd name="connsiteY7927" fmla="*/ 2924550 h 9250612"/>
                <a:gd name="connsiteX7928" fmla="*/ 6584075 w 6942639"/>
                <a:gd name="connsiteY7928" fmla="*/ 2915587 h 9250612"/>
                <a:gd name="connsiteX7929" fmla="*/ 6593035 w 6942639"/>
                <a:gd name="connsiteY7929" fmla="*/ 2906625 h 9250612"/>
                <a:gd name="connsiteX7930" fmla="*/ 6424294 w 6942639"/>
                <a:gd name="connsiteY7930" fmla="*/ 2906625 h 9250612"/>
                <a:gd name="connsiteX7931" fmla="*/ 6433255 w 6942639"/>
                <a:gd name="connsiteY7931" fmla="*/ 2915587 h 9250612"/>
                <a:gd name="connsiteX7932" fmla="*/ 6424294 w 6942639"/>
                <a:gd name="connsiteY7932" fmla="*/ 2924550 h 9250612"/>
                <a:gd name="connsiteX7933" fmla="*/ 6415334 w 6942639"/>
                <a:gd name="connsiteY7933" fmla="*/ 2915587 h 9250612"/>
                <a:gd name="connsiteX7934" fmla="*/ 6424294 w 6942639"/>
                <a:gd name="connsiteY7934" fmla="*/ 2906625 h 9250612"/>
                <a:gd name="connsiteX7935" fmla="*/ 6255553 w 6942639"/>
                <a:gd name="connsiteY7935" fmla="*/ 2906625 h 9250612"/>
                <a:gd name="connsiteX7936" fmla="*/ 6264514 w 6942639"/>
                <a:gd name="connsiteY7936" fmla="*/ 2915587 h 9250612"/>
                <a:gd name="connsiteX7937" fmla="*/ 6255553 w 6942639"/>
                <a:gd name="connsiteY7937" fmla="*/ 2924551 h 9250612"/>
                <a:gd name="connsiteX7938" fmla="*/ 6246593 w 6942639"/>
                <a:gd name="connsiteY7938" fmla="*/ 2915587 h 9250612"/>
                <a:gd name="connsiteX7939" fmla="*/ 6255553 w 6942639"/>
                <a:gd name="connsiteY7939" fmla="*/ 2906625 h 9250612"/>
                <a:gd name="connsiteX7940" fmla="*/ 6086811 w 6942639"/>
                <a:gd name="connsiteY7940" fmla="*/ 2906625 h 9250612"/>
                <a:gd name="connsiteX7941" fmla="*/ 6095772 w 6942639"/>
                <a:gd name="connsiteY7941" fmla="*/ 2915587 h 9250612"/>
                <a:gd name="connsiteX7942" fmla="*/ 6086811 w 6942639"/>
                <a:gd name="connsiteY7942" fmla="*/ 2924551 h 9250612"/>
                <a:gd name="connsiteX7943" fmla="*/ 6077851 w 6942639"/>
                <a:gd name="connsiteY7943" fmla="*/ 2915587 h 9250612"/>
                <a:gd name="connsiteX7944" fmla="*/ 6086811 w 6942639"/>
                <a:gd name="connsiteY7944" fmla="*/ 2906625 h 9250612"/>
                <a:gd name="connsiteX7945" fmla="*/ 5918069 w 6942639"/>
                <a:gd name="connsiteY7945" fmla="*/ 2906625 h 9250612"/>
                <a:gd name="connsiteX7946" fmla="*/ 5927030 w 6942639"/>
                <a:gd name="connsiteY7946" fmla="*/ 2915587 h 9250612"/>
                <a:gd name="connsiteX7947" fmla="*/ 5918069 w 6942639"/>
                <a:gd name="connsiteY7947" fmla="*/ 2924551 h 9250612"/>
                <a:gd name="connsiteX7948" fmla="*/ 5909109 w 6942639"/>
                <a:gd name="connsiteY7948" fmla="*/ 2915587 h 9250612"/>
                <a:gd name="connsiteX7949" fmla="*/ 5918069 w 6942639"/>
                <a:gd name="connsiteY7949" fmla="*/ 2906625 h 9250612"/>
                <a:gd name="connsiteX7950" fmla="*/ 5749328 w 6942639"/>
                <a:gd name="connsiteY7950" fmla="*/ 2906625 h 9250612"/>
                <a:gd name="connsiteX7951" fmla="*/ 5758289 w 6942639"/>
                <a:gd name="connsiteY7951" fmla="*/ 2915587 h 9250612"/>
                <a:gd name="connsiteX7952" fmla="*/ 5749328 w 6942639"/>
                <a:gd name="connsiteY7952" fmla="*/ 2924551 h 9250612"/>
                <a:gd name="connsiteX7953" fmla="*/ 5740368 w 6942639"/>
                <a:gd name="connsiteY7953" fmla="*/ 2915587 h 9250612"/>
                <a:gd name="connsiteX7954" fmla="*/ 5749328 w 6942639"/>
                <a:gd name="connsiteY7954" fmla="*/ 2906625 h 9250612"/>
                <a:gd name="connsiteX7955" fmla="*/ 5580586 w 6942639"/>
                <a:gd name="connsiteY7955" fmla="*/ 2906625 h 9250612"/>
                <a:gd name="connsiteX7956" fmla="*/ 5589547 w 6942639"/>
                <a:gd name="connsiteY7956" fmla="*/ 2915589 h 9250612"/>
                <a:gd name="connsiteX7957" fmla="*/ 5580586 w 6942639"/>
                <a:gd name="connsiteY7957" fmla="*/ 2924551 h 9250612"/>
                <a:gd name="connsiteX7958" fmla="*/ 5571626 w 6942639"/>
                <a:gd name="connsiteY7958" fmla="*/ 2915589 h 9250612"/>
                <a:gd name="connsiteX7959" fmla="*/ 5580586 w 6942639"/>
                <a:gd name="connsiteY7959" fmla="*/ 2906625 h 9250612"/>
                <a:gd name="connsiteX7960" fmla="*/ 5411845 w 6942639"/>
                <a:gd name="connsiteY7960" fmla="*/ 2906625 h 9250612"/>
                <a:gd name="connsiteX7961" fmla="*/ 5420806 w 6942639"/>
                <a:gd name="connsiteY7961" fmla="*/ 2915589 h 9250612"/>
                <a:gd name="connsiteX7962" fmla="*/ 5411845 w 6942639"/>
                <a:gd name="connsiteY7962" fmla="*/ 2924551 h 9250612"/>
                <a:gd name="connsiteX7963" fmla="*/ 5402885 w 6942639"/>
                <a:gd name="connsiteY7963" fmla="*/ 2915589 h 9250612"/>
                <a:gd name="connsiteX7964" fmla="*/ 5411845 w 6942639"/>
                <a:gd name="connsiteY7964" fmla="*/ 2906625 h 9250612"/>
                <a:gd name="connsiteX7965" fmla="*/ 5243103 w 6942639"/>
                <a:gd name="connsiteY7965" fmla="*/ 2906625 h 9250612"/>
                <a:gd name="connsiteX7966" fmla="*/ 5252064 w 6942639"/>
                <a:gd name="connsiteY7966" fmla="*/ 2915589 h 9250612"/>
                <a:gd name="connsiteX7967" fmla="*/ 5243103 w 6942639"/>
                <a:gd name="connsiteY7967" fmla="*/ 2924551 h 9250612"/>
                <a:gd name="connsiteX7968" fmla="*/ 5234143 w 6942639"/>
                <a:gd name="connsiteY7968" fmla="*/ 2915589 h 9250612"/>
                <a:gd name="connsiteX7969" fmla="*/ 5243103 w 6942639"/>
                <a:gd name="connsiteY7969" fmla="*/ 2906625 h 9250612"/>
                <a:gd name="connsiteX7970" fmla="*/ 6933679 w 6942639"/>
                <a:gd name="connsiteY7970" fmla="*/ 2906624 h 9250612"/>
                <a:gd name="connsiteX7971" fmla="*/ 6942639 w 6942639"/>
                <a:gd name="connsiteY7971" fmla="*/ 2915586 h 9250612"/>
                <a:gd name="connsiteX7972" fmla="*/ 6933679 w 6942639"/>
                <a:gd name="connsiteY7972" fmla="*/ 2924550 h 9250612"/>
                <a:gd name="connsiteX7973" fmla="*/ 6924718 w 6942639"/>
                <a:gd name="connsiteY7973" fmla="*/ 2915586 h 9250612"/>
                <a:gd name="connsiteX7974" fmla="*/ 6933679 w 6942639"/>
                <a:gd name="connsiteY7974" fmla="*/ 2906624 h 9250612"/>
                <a:gd name="connsiteX7975" fmla="*/ 6763357 w 6942639"/>
                <a:gd name="connsiteY7975" fmla="*/ 2906624 h 9250612"/>
                <a:gd name="connsiteX7976" fmla="*/ 6772318 w 6942639"/>
                <a:gd name="connsiteY7976" fmla="*/ 2915587 h 9250612"/>
                <a:gd name="connsiteX7977" fmla="*/ 6763357 w 6942639"/>
                <a:gd name="connsiteY7977" fmla="*/ 2924550 h 9250612"/>
                <a:gd name="connsiteX7978" fmla="*/ 6754397 w 6942639"/>
                <a:gd name="connsiteY7978" fmla="*/ 2915587 h 9250612"/>
                <a:gd name="connsiteX7979" fmla="*/ 6763357 w 6942639"/>
                <a:gd name="connsiteY7979" fmla="*/ 2906624 h 9250612"/>
                <a:gd name="connsiteX7980" fmla="*/ 1362222 w 6942639"/>
                <a:gd name="connsiteY7980" fmla="*/ 2735676 h 9250612"/>
                <a:gd name="connsiteX7981" fmla="*/ 1371184 w 6942639"/>
                <a:gd name="connsiteY7981" fmla="*/ 2744613 h 9250612"/>
                <a:gd name="connsiteX7982" fmla="*/ 1362222 w 6942639"/>
                <a:gd name="connsiteY7982" fmla="*/ 2753579 h 9250612"/>
                <a:gd name="connsiteX7983" fmla="*/ 1353261 w 6942639"/>
                <a:gd name="connsiteY7983" fmla="*/ 2744613 h 9250612"/>
                <a:gd name="connsiteX7984" fmla="*/ 1362222 w 6942639"/>
                <a:gd name="connsiteY7984" fmla="*/ 2735676 h 9250612"/>
                <a:gd name="connsiteX7985" fmla="*/ 1193480 w 6942639"/>
                <a:gd name="connsiteY7985" fmla="*/ 2735676 h 9250612"/>
                <a:gd name="connsiteX7986" fmla="*/ 1202440 w 6942639"/>
                <a:gd name="connsiteY7986" fmla="*/ 2744613 h 9250612"/>
                <a:gd name="connsiteX7987" fmla="*/ 1193480 w 6942639"/>
                <a:gd name="connsiteY7987" fmla="*/ 2753579 h 9250612"/>
                <a:gd name="connsiteX7988" fmla="*/ 1184522 w 6942639"/>
                <a:gd name="connsiteY7988" fmla="*/ 2744613 h 9250612"/>
                <a:gd name="connsiteX7989" fmla="*/ 1193480 w 6942639"/>
                <a:gd name="connsiteY7989" fmla="*/ 2735676 h 9250612"/>
                <a:gd name="connsiteX7990" fmla="*/ 1024725 w 6942639"/>
                <a:gd name="connsiteY7990" fmla="*/ 2735676 h 9250612"/>
                <a:gd name="connsiteX7991" fmla="*/ 1033692 w 6942639"/>
                <a:gd name="connsiteY7991" fmla="*/ 2744613 h 9250612"/>
                <a:gd name="connsiteX7992" fmla="*/ 1024725 w 6942639"/>
                <a:gd name="connsiteY7992" fmla="*/ 2753579 h 9250612"/>
                <a:gd name="connsiteX7993" fmla="*/ 1015766 w 6942639"/>
                <a:gd name="connsiteY7993" fmla="*/ 2744613 h 9250612"/>
                <a:gd name="connsiteX7994" fmla="*/ 1024725 w 6942639"/>
                <a:gd name="connsiteY7994" fmla="*/ 2735676 h 9250612"/>
                <a:gd name="connsiteX7995" fmla="*/ 856000 w 6942639"/>
                <a:gd name="connsiteY7995" fmla="*/ 2735676 h 9250612"/>
                <a:gd name="connsiteX7996" fmla="*/ 864960 w 6942639"/>
                <a:gd name="connsiteY7996" fmla="*/ 2744613 h 9250612"/>
                <a:gd name="connsiteX7997" fmla="*/ 856000 w 6942639"/>
                <a:gd name="connsiteY7997" fmla="*/ 2753579 h 9250612"/>
                <a:gd name="connsiteX7998" fmla="*/ 847039 w 6942639"/>
                <a:gd name="connsiteY7998" fmla="*/ 2744613 h 9250612"/>
                <a:gd name="connsiteX7999" fmla="*/ 856000 w 6942639"/>
                <a:gd name="connsiteY7999" fmla="*/ 2735676 h 9250612"/>
                <a:gd name="connsiteX8000" fmla="*/ 687261 w 6942639"/>
                <a:gd name="connsiteY8000" fmla="*/ 2735676 h 9250612"/>
                <a:gd name="connsiteX8001" fmla="*/ 696221 w 6942639"/>
                <a:gd name="connsiteY8001" fmla="*/ 2744613 h 9250612"/>
                <a:gd name="connsiteX8002" fmla="*/ 687261 w 6942639"/>
                <a:gd name="connsiteY8002" fmla="*/ 2753581 h 9250612"/>
                <a:gd name="connsiteX8003" fmla="*/ 678302 w 6942639"/>
                <a:gd name="connsiteY8003" fmla="*/ 2744613 h 9250612"/>
                <a:gd name="connsiteX8004" fmla="*/ 687261 w 6942639"/>
                <a:gd name="connsiteY8004" fmla="*/ 2735676 h 9250612"/>
                <a:gd name="connsiteX8005" fmla="*/ 518488 w 6942639"/>
                <a:gd name="connsiteY8005" fmla="*/ 2735676 h 9250612"/>
                <a:gd name="connsiteX8006" fmla="*/ 527449 w 6942639"/>
                <a:gd name="connsiteY8006" fmla="*/ 2744614 h 9250612"/>
                <a:gd name="connsiteX8007" fmla="*/ 518488 w 6942639"/>
                <a:gd name="connsiteY8007" fmla="*/ 2753581 h 9250612"/>
                <a:gd name="connsiteX8008" fmla="*/ 509528 w 6942639"/>
                <a:gd name="connsiteY8008" fmla="*/ 2744614 h 9250612"/>
                <a:gd name="connsiteX8009" fmla="*/ 518488 w 6942639"/>
                <a:gd name="connsiteY8009" fmla="*/ 2735676 h 9250612"/>
                <a:gd name="connsiteX8010" fmla="*/ 349751 w 6942639"/>
                <a:gd name="connsiteY8010" fmla="*/ 2735676 h 9250612"/>
                <a:gd name="connsiteX8011" fmla="*/ 358711 w 6942639"/>
                <a:gd name="connsiteY8011" fmla="*/ 2744614 h 9250612"/>
                <a:gd name="connsiteX8012" fmla="*/ 349751 w 6942639"/>
                <a:gd name="connsiteY8012" fmla="*/ 2753581 h 9250612"/>
                <a:gd name="connsiteX8013" fmla="*/ 340791 w 6942639"/>
                <a:gd name="connsiteY8013" fmla="*/ 2744614 h 9250612"/>
                <a:gd name="connsiteX8014" fmla="*/ 349751 w 6942639"/>
                <a:gd name="connsiteY8014" fmla="*/ 2735676 h 9250612"/>
                <a:gd name="connsiteX8015" fmla="*/ 179433 w 6942639"/>
                <a:gd name="connsiteY8015" fmla="*/ 2735676 h 9250612"/>
                <a:gd name="connsiteX8016" fmla="*/ 188394 w 6942639"/>
                <a:gd name="connsiteY8016" fmla="*/ 2744614 h 9250612"/>
                <a:gd name="connsiteX8017" fmla="*/ 179433 w 6942639"/>
                <a:gd name="connsiteY8017" fmla="*/ 2753581 h 9250612"/>
                <a:gd name="connsiteX8018" fmla="*/ 170473 w 6942639"/>
                <a:gd name="connsiteY8018" fmla="*/ 2744614 h 9250612"/>
                <a:gd name="connsiteX8019" fmla="*/ 179433 w 6942639"/>
                <a:gd name="connsiteY8019" fmla="*/ 2735676 h 9250612"/>
                <a:gd name="connsiteX8020" fmla="*/ 9117 w 6942639"/>
                <a:gd name="connsiteY8020" fmla="*/ 2735676 h 9250612"/>
                <a:gd name="connsiteX8021" fmla="*/ 18076 w 6942639"/>
                <a:gd name="connsiteY8021" fmla="*/ 2744614 h 9250612"/>
                <a:gd name="connsiteX8022" fmla="*/ 9117 w 6942639"/>
                <a:gd name="connsiteY8022" fmla="*/ 2753581 h 9250612"/>
                <a:gd name="connsiteX8023" fmla="*/ 157 w 6942639"/>
                <a:gd name="connsiteY8023" fmla="*/ 2744614 h 9250612"/>
                <a:gd name="connsiteX8024" fmla="*/ 9117 w 6942639"/>
                <a:gd name="connsiteY8024" fmla="*/ 2735676 h 9250612"/>
                <a:gd name="connsiteX8025" fmla="*/ 3049594 w 6942639"/>
                <a:gd name="connsiteY8025" fmla="*/ 2735675 h 9250612"/>
                <a:gd name="connsiteX8026" fmla="*/ 3058541 w 6942639"/>
                <a:gd name="connsiteY8026" fmla="*/ 2744611 h 9250612"/>
                <a:gd name="connsiteX8027" fmla="*/ 3049594 w 6942639"/>
                <a:gd name="connsiteY8027" fmla="*/ 2753578 h 9250612"/>
                <a:gd name="connsiteX8028" fmla="*/ 3040624 w 6942639"/>
                <a:gd name="connsiteY8028" fmla="*/ 2744611 h 9250612"/>
                <a:gd name="connsiteX8029" fmla="*/ 3049594 w 6942639"/>
                <a:gd name="connsiteY8029" fmla="*/ 2735675 h 9250612"/>
                <a:gd name="connsiteX8030" fmla="*/ 2880868 w 6942639"/>
                <a:gd name="connsiteY8030" fmla="*/ 2735675 h 9250612"/>
                <a:gd name="connsiteX8031" fmla="*/ 2889827 w 6942639"/>
                <a:gd name="connsiteY8031" fmla="*/ 2744611 h 9250612"/>
                <a:gd name="connsiteX8032" fmla="*/ 2880868 w 6942639"/>
                <a:gd name="connsiteY8032" fmla="*/ 2753578 h 9250612"/>
                <a:gd name="connsiteX8033" fmla="*/ 2871912 w 6942639"/>
                <a:gd name="connsiteY8033" fmla="*/ 2744611 h 9250612"/>
                <a:gd name="connsiteX8034" fmla="*/ 2880868 w 6942639"/>
                <a:gd name="connsiteY8034" fmla="*/ 2735675 h 9250612"/>
                <a:gd name="connsiteX8035" fmla="*/ 2712100 w 6942639"/>
                <a:gd name="connsiteY8035" fmla="*/ 2735675 h 9250612"/>
                <a:gd name="connsiteX8036" fmla="*/ 2721083 w 6942639"/>
                <a:gd name="connsiteY8036" fmla="*/ 2744611 h 9250612"/>
                <a:gd name="connsiteX8037" fmla="*/ 2712100 w 6942639"/>
                <a:gd name="connsiteY8037" fmla="*/ 2753578 h 9250612"/>
                <a:gd name="connsiteX8038" fmla="*/ 2703144 w 6942639"/>
                <a:gd name="connsiteY8038" fmla="*/ 2744611 h 9250612"/>
                <a:gd name="connsiteX8039" fmla="*/ 2712100 w 6942639"/>
                <a:gd name="connsiteY8039" fmla="*/ 2735675 h 9250612"/>
                <a:gd name="connsiteX8040" fmla="*/ 2543418 w 6942639"/>
                <a:gd name="connsiteY8040" fmla="*/ 2735675 h 9250612"/>
                <a:gd name="connsiteX8041" fmla="*/ 2552381 w 6942639"/>
                <a:gd name="connsiteY8041" fmla="*/ 2744611 h 9250612"/>
                <a:gd name="connsiteX8042" fmla="*/ 2543418 w 6942639"/>
                <a:gd name="connsiteY8042" fmla="*/ 2753578 h 9250612"/>
                <a:gd name="connsiteX8043" fmla="*/ 2534443 w 6942639"/>
                <a:gd name="connsiteY8043" fmla="*/ 2744611 h 9250612"/>
                <a:gd name="connsiteX8044" fmla="*/ 2543418 w 6942639"/>
                <a:gd name="connsiteY8044" fmla="*/ 2735675 h 9250612"/>
                <a:gd name="connsiteX8045" fmla="*/ 2374619 w 6942639"/>
                <a:gd name="connsiteY8045" fmla="*/ 2735675 h 9250612"/>
                <a:gd name="connsiteX8046" fmla="*/ 2383628 w 6942639"/>
                <a:gd name="connsiteY8046" fmla="*/ 2744611 h 9250612"/>
                <a:gd name="connsiteX8047" fmla="*/ 2374619 w 6942639"/>
                <a:gd name="connsiteY8047" fmla="*/ 2753578 h 9250612"/>
                <a:gd name="connsiteX8048" fmla="*/ 2365655 w 6942639"/>
                <a:gd name="connsiteY8048" fmla="*/ 2744611 h 9250612"/>
                <a:gd name="connsiteX8049" fmla="*/ 2374619 w 6942639"/>
                <a:gd name="connsiteY8049" fmla="*/ 2735675 h 9250612"/>
                <a:gd name="connsiteX8050" fmla="*/ 2205918 w 6942639"/>
                <a:gd name="connsiteY8050" fmla="*/ 2735675 h 9250612"/>
                <a:gd name="connsiteX8051" fmla="*/ 2214875 w 6942639"/>
                <a:gd name="connsiteY8051" fmla="*/ 2744611 h 9250612"/>
                <a:gd name="connsiteX8052" fmla="*/ 2205918 w 6942639"/>
                <a:gd name="connsiteY8052" fmla="*/ 2753579 h 9250612"/>
                <a:gd name="connsiteX8053" fmla="*/ 2196922 w 6942639"/>
                <a:gd name="connsiteY8053" fmla="*/ 2744611 h 9250612"/>
                <a:gd name="connsiteX8054" fmla="*/ 2205918 w 6942639"/>
                <a:gd name="connsiteY8054" fmla="*/ 2735675 h 9250612"/>
                <a:gd name="connsiteX8055" fmla="*/ 2037168 w 6942639"/>
                <a:gd name="connsiteY8055" fmla="*/ 2735675 h 9250612"/>
                <a:gd name="connsiteX8056" fmla="*/ 2046114 w 6942639"/>
                <a:gd name="connsiteY8056" fmla="*/ 2744613 h 9250612"/>
                <a:gd name="connsiteX8057" fmla="*/ 2037168 w 6942639"/>
                <a:gd name="connsiteY8057" fmla="*/ 2753579 h 9250612"/>
                <a:gd name="connsiteX8058" fmla="*/ 2028237 w 6942639"/>
                <a:gd name="connsiteY8058" fmla="*/ 2744613 h 9250612"/>
                <a:gd name="connsiteX8059" fmla="*/ 2037168 w 6942639"/>
                <a:gd name="connsiteY8059" fmla="*/ 2735675 h 9250612"/>
                <a:gd name="connsiteX8060" fmla="*/ 1868469 w 6942639"/>
                <a:gd name="connsiteY8060" fmla="*/ 2735675 h 9250612"/>
                <a:gd name="connsiteX8061" fmla="*/ 1877416 w 6942639"/>
                <a:gd name="connsiteY8061" fmla="*/ 2744613 h 9250612"/>
                <a:gd name="connsiteX8062" fmla="*/ 1868469 w 6942639"/>
                <a:gd name="connsiteY8062" fmla="*/ 2753579 h 9250612"/>
                <a:gd name="connsiteX8063" fmla="*/ 1859491 w 6942639"/>
                <a:gd name="connsiteY8063" fmla="*/ 2744613 h 9250612"/>
                <a:gd name="connsiteX8064" fmla="*/ 1868469 w 6942639"/>
                <a:gd name="connsiteY8064" fmla="*/ 2735675 h 9250612"/>
                <a:gd name="connsiteX8065" fmla="*/ 1699717 w 6942639"/>
                <a:gd name="connsiteY8065" fmla="*/ 2735675 h 9250612"/>
                <a:gd name="connsiteX8066" fmla="*/ 1708684 w 6942639"/>
                <a:gd name="connsiteY8066" fmla="*/ 2744613 h 9250612"/>
                <a:gd name="connsiteX8067" fmla="*/ 1699717 w 6942639"/>
                <a:gd name="connsiteY8067" fmla="*/ 2753579 h 9250612"/>
                <a:gd name="connsiteX8068" fmla="*/ 1690748 w 6942639"/>
                <a:gd name="connsiteY8068" fmla="*/ 2744613 h 9250612"/>
                <a:gd name="connsiteX8069" fmla="*/ 1699717 w 6942639"/>
                <a:gd name="connsiteY8069" fmla="*/ 2735675 h 9250612"/>
                <a:gd name="connsiteX8070" fmla="*/ 1530974 w 6942639"/>
                <a:gd name="connsiteY8070" fmla="*/ 2735675 h 9250612"/>
                <a:gd name="connsiteX8071" fmla="*/ 1539936 w 6942639"/>
                <a:gd name="connsiteY8071" fmla="*/ 2744613 h 9250612"/>
                <a:gd name="connsiteX8072" fmla="*/ 1530974 w 6942639"/>
                <a:gd name="connsiteY8072" fmla="*/ 2753579 h 9250612"/>
                <a:gd name="connsiteX8073" fmla="*/ 1522012 w 6942639"/>
                <a:gd name="connsiteY8073" fmla="*/ 2744613 h 9250612"/>
                <a:gd name="connsiteX8074" fmla="*/ 1530974 w 6942639"/>
                <a:gd name="connsiteY8074" fmla="*/ 2735675 h 9250612"/>
                <a:gd name="connsiteX8075" fmla="*/ 4061912 w 6942639"/>
                <a:gd name="connsiteY8075" fmla="*/ 2735670 h 9250612"/>
                <a:gd name="connsiteX8076" fmla="*/ 4070873 w 6942639"/>
                <a:gd name="connsiteY8076" fmla="*/ 2744609 h 9250612"/>
                <a:gd name="connsiteX8077" fmla="*/ 4061912 w 6942639"/>
                <a:gd name="connsiteY8077" fmla="*/ 2753578 h 9250612"/>
                <a:gd name="connsiteX8078" fmla="*/ 4052952 w 6942639"/>
                <a:gd name="connsiteY8078" fmla="*/ 2744609 h 9250612"/>
                <a:gd name="connsiteX8079" fmla="*/ 4061912 w 6942639"/>
                <a:gd name="connsiteY8079" fmla="*/ 2735670 h 9250612"/>
                <a:gd name="connsiteX8080" fmla="*/ 3893170 w 6942639"/>
                <a:gd name="connsiteY8080" fmla="*/ 2735670 h 9250612"/>
                <a:gd name="connsiteX8081" fmla="*/ 3902131 w 6942639"/>
                <a:gd name="connsiteY8081" fmla="*/ 2744609 h 9250612"/>
                <a:gd name="connsiteX8082" fmla="*/ 3893170 w 6942639"/>
                <a:gd name="connsiteY8082" fmla="*/ 2753578 h 9250612"/>
                <a:gd name="connsiteX8083" fmla="*/ 3884210 w 6942639"/>
                <a:gd name="connsiteY8083" fmla="*/ 2744609 h 9250612"/>
                <a:gd name="connsiteX8084" fmla="*/ 3893170 w 6942639"/>
                <a:gd name="connsiteY8084" fmla="*/ 2735670 h 9250612"/>
                <a:gd name="connsiteX8085" fmla="*/ 3724429 w 6942639"/>
                <a:gd name="connsiteY8085" fmla="*/ 2735670 h 9250612"/>
                <a:gd name="connsiteX8086" fmla="*/ 3733390 w 6942639"/>
                <a:gd name="connsiteY8086" fmla="*/ 2744609 h 9250612"/>
                <a:gd name="connsiteX8087" fmla="*/ 3724429 w 6942639"/>
                <a:gd name="connsiteY8087" fmla="*/ 2753578 h 9250612"/>
                <a:gd name="connsiteX8088" fmla="*/ 3715469 w 6942639"/>
                <a:gd name="connsiteY8088" fmla="*/ 2744609 h 9250612"/>
                <a:gd name="connsiteX8089" fmla="*/ 3724429 w 6942639"/>
                <a:gd name="connsiteY8089" fmla="*/ 2735670 h 9250612"/>
                <a:gd name="connsiteX8090" fmla="*/ 3555688 w 6942639"/>
                <a:gd name="connsiteY8090" fmla="*/ 2735670 h 9250612"/>
                <a:gd name="connsiteX8091" fmla="*/ 3564649 w 6942639"/>
                <a:gd name="connsiteY8091" fmla="*/ 2744609 h 9250612"/>
                <a:gd name="connsiteX8092" fmla="*/ 3555688 w 6942639"/>
                <a:gd name="connsiteY8092" fmla="*/ 2753578 h 9250612"/>
                <a:gd name="connsiteX8093" fmla="*/ 3546728 w 6942639"/>
                <a:gd name="connsiteY8093" fmla="*/ 2744609 h 9250612"/>
                <a:gd name="connsiteX8094" fmla="*/ 3555688 w 6942639"/>
                <a:gd name="connsiteY8094" fmla="*/ 2735670 h 9250612"/>
                <a:gd name="connsiteX8095" fmla="*/ 3387055 w 6942639"/>
                <a:gd name="connsiteY8095" fmla="*/ 2735670 h 9250612"/>
                <a:gd name="connsiteX8096" fmla="*/ 3396022 w 6942639"/>
                <a:gd name="connsiteY8096" fmla="*/ 2744609 h 9250612"/>
                <a:gd name="connsiteX8097" fmla="*/ 3387055 w 6942639"/>
                <a:gd name="connsiteY8097" fmla="*/ 2753578 h 9250612"/>
                <a:gd name="connsiteX8098" fmla="*/ 3378044 w 6942639"/>
                <a:gd name="connsiteY8098" fmla="*/ 2744609 h 9250612"/>
                <a:gd name="connsiteX8099" fmla="*/ 3387055 w 6942639"/>
                <a:gd name="connsiteY8099" fmla="*/ 2735670 h 9250612"/>
                <a:gd name="connsiteX8100" fmla="*/ 3218298 w 6942639"/>
                <a:gd name="connsiteY8100" fmla="*/ 2735670 h 9250612"/>
                <a:gd name="connsiteX8101" fmla="*/ 3227273 w 6942639"/>
                <a:gd name="connsiteY8101" fmla="*/ 2744611 h 9250612"/>
                <a:gd name="connsiteX8102" fmla="*/ 3218298 w 6942639"/>
                <a:gd name="connsiteY8102" fmla="*/ 2753578 h 9250612"/>
                <a:gd name="connsiteX8103" fmla="*/ 3209327 w 6942639"/>
                <a:gd name="connsiteY8103" fmla="*/ 2744611 h 9250612"/>
                <a:gd name="connsiteX8104" fmla="*/ 3218298 w 6942639"/>
                <a:gd name="connsiteY8104" fmla="*/ 2735670 h 9250612"/>
                <a:gd name="connsiteX8105" fmla="*/ 6933679 w 6942639"/>
                <a:gd name="connsiteY8105" fmla="*/ 2735668 h 9250612"/>
                <a:gd name="connsiteX8106" fmla="*/ 6942639 w 6942639"/>
                <a:gd name="connsiteY8106" fmla="*/ 2744603 h 9250612"/>
                <a:gd name="connsiteX8107" fmla="*/ 6933679 w 6942639"/>
                <a:gd name="connsiteY8107" fmla="*/ 2753575 h 9250612"/>
                <a:gd name="connsiteX8108" fmla="*/ 6924718 w 6942639"/>
                <a:gd name="connsiteY8108" fmla="*/ 2744603 h 9250612"/>
                <a:gd name="connsiteX8109" fmla="*/ 6933679 w 6942639"/>
                <a:gd name="connsiteY8109" fmla="*/ 2735668 h 9250612"/>
                <a:gd name="connsiteX8110" fmla="*/ 6763357 w 6942639"/>
                <a:gd name="connsiteY8110" fmla="*/ 2735668 h 9250612"/>
                <a:gd name="connsiteX8111" fmla="*/ 6772318 w 6942639"/>
                <a:gd name="connsiteY8111" fmla="*/ 2744603 h 9250612"/>
                <a:gd name="connsiteX8112" fmla="*/ 6763357 w 6942639"/>
                <a:gd name="connsiteY8112" fmla="*/ 2753575 h 9250612"/>
                <a:gd name="connsiteX8113" fmla="*/ 6754397 w 6942639"/>
                <a:gd name="connsiteY8113" fmla="*/ 2744603 h 9250612"/>
                <a:gd name="connsiteX8114" fmla="*/ 6763357 w 6942639"/>
                <a:gd name="connsiteY8114" fmla="*/ 2735668 h 9250612"/>
                <a:gd name="connsiteX8115" fmla="*/ 6593035 w 6942639"/>
                <a:gd name="connsiteY8115" fmla="*/ 2735668 h 9250612"/>
                <a:gd name="connsiteX8116" fmla="*/ 6601996 w 6942639"/>
                <a:gd name="connsiteY8116" fmla="*/ 2744603 h 9250612"/>
                <a:gd name="connsiteX8117" fmla="*/ 6593035 w 6942639"/>
                <a:gd name="connsiteY8117" fmla="*/ 2753575 h 9250612"/>
                <a:gd name="connsiteX8118" fmla="*/ 6584075 w 6942639"/>
                <a:gd name="connsiteY8118" fmla="*/ 2744603 h 9250612"/>
                <a:gd name="connsiteX8119" fmla="*/ 6593035 w 6942639"/>
                <a:gd name="connsiteY8119" fmla="*/ 2735668 h 9250612"/>
                <a:gd name="connsiteX8120" fmla="*/ 6424294 w 6942639"/>
                <a:gd name="connsiteY8120" fmla="*/ 2735668 h 9250612"/>
                <a:gd name="connsiteX8121" fmla="*/ 6433255 w 6942639"/>
                <a:gd name="connsiteY8121" fmla="*/ 2744603 h 9250612"/>
                <a:gd name="connsiteX8122" fmla="*/ 6424294 w 6942639"/>
                <a:gd name="connsiteY8122" fmla="*/ 2753575 h 9250612"/>
                <a:gd name="connsiteX8123" fmla="*/ 6415334 w 6942639"/>
                <a:gd name="connsiteY8123" fmla="*/ 2744603 h 9250612"/>
                <a:gd name="connsiteX8124" fmla="*/ 6424294 w 6942639"/>
                <a:gd name="connsiteY8124" fmla="*/ 2735668 h 9250612"/>
                <a:gd name="connsiteX8125" fmla="*/ 6255553 w 6942639"/>
                <a:gd name="connsiteY8125" fmla="*/ 2735668 h 9250612"/>
                <a:gd name="connsiteX8126" fmla="*/ 6264514 w 6942639"/>
                <a:gd name="connsiteY8126" fmla="*/ 2744603 h 9250612"/>
                <a:gd name="connsiteX8127" fmla="*/ 6255553 w 6942639"/>
                <a:gd name="connsiteY8127" fmla="*/ 2753575 h 9250612"/>
                <a:gd name="connsiteX8128" fmla="*/ 6246593 w 6942639"/>
                <a:gd name="connsiteY8128" fmla="*/ 2744603 h 9250612"/>
                <a:gd name="connsiteX8129" fmla="*/ 6255553 w 6942639"/>
                <a:gd name="connsiteY8129" fmla="*/ 2735668 h 9250612"/>
                <a:gd name="connsiteX8130" fmla="*/ 6086811 w 6942639"/>
                <a:gd name="connsiteY8130" fmla="*/ 2735668 h 9250612"/>
                <a:gd name="connsiteX8131" fmla="*/ 6095772 w 6942639"/>
                <a:gd name="connsiteY8131" fmla="*/ 2744603 h 9250612"/>
                <a:gd name="connsiteX8132" fmla="*/ 6086811 w 6942639"/>
                <a:gd name="connsiteY8132" fmla="*/ 2753575 h 9250612"/>
                <a:gd name="connsiteX8133" fmla="*/ 6077851 w 6942639"/>
                <a:gd name="connsiteY8133" fmla="*/ 2744603 h 9250612"/>
                <a:gd name="connsiteX8134" fmla="*/ 6086811 w 6942639"/>
                <a:gd name="connsiteY8134" fmla="*/ 2735668 h 9250612"/>
                <a:gd name="connsiteX8135" fmla="*/ 5918069 w 6942639"/>
                <a:gd name="connsiteY8135" fmla="*/ 2735668 h 9250612"/>
                <a:gd name="connsiteX8136" fmla="*/ 5927030 w 6942639"/>
                <a:gd name="connsiteY8136" fmla="*/ 2744607 h 9250612"/>
                <a:gd name="connsiteX8137" fmla="*/ 5918069 w 6942639"/>
                <a:gd name="connsiteY8137" fmla="*/ 2753575 h 9250612"/>
                <a:gd name="connsiteX8138" fmla="*/ 5909109 w 6942639"/>
                <a:gd name="connsiteY8138" fmla="*/ 2744607 h 9250612"/>
                <a:gd name="connsiteX8139" fmla="*/ 5918069 w 6942639"/>
                <a:gd name="connsiteY8139" fmla="*/ 2735668 h 9250612"/>
                <a:gd name="connsiteX8140" fmla="*/ 5749328 w 6942639"/>
                <a:gd name="connsiteY8140" fmla="*/ 2735668 h 9250612"/>
                <a:gd name="connsiteX8141" fmla="*/ 5758289 w 6942639"/>
                <a:gd name="connsiteY8141" fmla="*/ 2744607 h 9250612"/>
                <a:gd name="connsiteX8142" fmla="*/ 5749328 w 6942639"/>
                <a:gd name="connsiteY8142" fmla="*/ 2753575 h 9250612"/>
                <a:gd name="connsiteX8143" fmla="*/ 5740368 w 6942639"/>
                <a:gd name="connsiteY8143" fmla="*/ 2744607 h 9250612"/>
                <a:gd name="connsiteX8144" fmla="*/ 5749328 w 6942639"/>
                <a:gd name="connsiteY8144" fmla="*/ 2735668 h 9250612"/>
                <a:gd name="connsiteX8145" fmla="*/ 5580586 w 6942639"/>
                <a:gd name="connsiteY8145" fmla="*/ 2735668 h 9250612"/>
                <a:gd name="connsiteX8146" fmla="*/ 5589547 w 6942639"/>
                <a:gd name="connsiteY8146" fmla="*/ 2744607 h 9250612"/>
                <a:gd name="connsiteX8147" fmla="*/ 5580586 w 6942639"/>
                <a:gd name="connsiteY8147" fmla="*/ 2753575 h 9250612"/>
                <a:gd name="connsiteX8148" fmla="*/ 5571626 w 6942639"/>
                <a:gd name="connsiteY8148" fmla="*/ 2744607 h 9250612"/>
                <a:gd name="connsiteX8149" fmla="*/ 5580586 w 6942639"/>
                <a:gd name="connsiteY8149" fmla="*/ 2735668 h 9250612"/>
                <a:gd name="connsiteX8150" fmla="*/ 5411845 w 6942639"/>
                <a:gd name="connsiteY8150" fmla="*/ 2735668 h 9250612"/>
                <a:gd name="connsiteX8151" fmla="*/ 5420806 w 6942639"/>
                <a:gd name="connsiteY8151" fmla="*/ 2744607 h 9250612"/>
                <a:gd name="connsiteX8152" fmla="*/ 5411845 w 6942639"/>
                <a:gd name="connsiteY8152" fmla="*/ 2753577 h 9250612"/>
                <a:gd name="connsiteX8153" fmla="*/ 5402885 w 6942639"/>
                <a:gd name="connsiteY8153" fmla="*/ 2744607 h 9250612"/>
                <a:gd name="connsiteX8154" fmla="*/ 5411845 w 6942639"/>
                <a:gd name="connsiteY8154" fmla="*/ 2735668 h 9250612"/>
                <a:gd name="connsiteX8155" fmla="*/ 5243103 w 6942639"/>
                <a:gd name="connsiteY8155" fmla="*/ 2735668 h 9250612"/>
                <a:gd name="connsiteX8156" fmla="*/ 5252064 w 6942639"/>
                <a:gd name="connsiteY8156" fmla="*/ 2744609 h 9250612"/>
                <a:gd name="connsiteX8157" fmla="*/ 5243103 w 6942639"/>
                <a:gd name="connsiteY8157" fmla="*/ 2753577 h 9250612"/>
                <a:gd name="connsiteX8158" fmla="*/ 5234143 w 6942639"/>
                <a:gd name="connsiteY8158" fmla="*/ 2744609 h 9250612"/>
                <a:gd name="connsiteX8159" fmla="*/ 5243103 w 6942639"/>
                <a:gd name="connsiteY8159" fmla="*/ 2735668 h 9250612"/>
                <a:gd name="connsiteX8160" fmla="*/ 5074362 w 6942639"/>
                <a:gd name="connsiteY8160" fmla="*/ 2735668 h 9250612"/>
                <a:gd name="connsiteX8161" fmla="*/ 5083323 w 6942639"/>
                <a:gd name="connsiteY8161" fmla="*/ 2744609 h 9250612"/>
                <a:gd name="connsiteX8162" fmla="*/ 5074362 w 6942639"/>
                <a:gd name="connsiteY8162" fmla="*/ 2753577 h 9250612"/>
                <a:gd name="connsiteX8163" fmla="*/ 5065402 w 6942639"/>
                <a:gd name="connsiteY8163" fmla="*/ 2744609 h 9250612"/>
                <a:gd name="connsiteX8164" fmla="*/ 5074362 w 6942639"/>
                <a:gd name="connsiteY8164" fmla="*/ 2735668 h 9250612"/>
                <a:gd name="connsiteX8165" fmla="*/ 4905620 w 6942639"/>
                <a:gd name="connsiteY8165" fmla="*/ 2735668 h 9250612"/>
                <a:gd name="connsiteX8166" fmla="*/ 4914581 w 6942639"/>
                <a:gd name="connsiteY8166" fmla="*/ 2744609 h 9250612"/>
                <a:gd name="connsiteX8167" fmla="*/ 4905620 w 6942639"/>
                <a:gd name="connsiteY8167" fmla="*/ 2753577 h 9250612"/>
                <a:gd name="connsiteX8168" fmla="*/ 4896660 w 6942639"/>
                <a:gd name="connsiteY8168" fmla="*/ 2744609 h 9250612"/>
                <a:gd name="connsiteX8169" fmla="*/ 4905620 w 6942639"/>
                <a:gd name="connsiteY8169" fmla="*/ 2735668 h 9250612"/>
                <a:gd name="connsiteX8170" fmla="*/ 4736878 w 6942639"/>
                <a:gd name="connsiteY8170" fmla="*/ 2735668 h 9250612"/>
                <a:gd name="connsiteX8171" fmla="*/ 4745839 w 6942639"/>
                <a:gd name="connsiteY8171" fmla="*/ 2744609 h 9250612"/>
                <a:gd name="connsiteX8172" fmla="*/ 4736878 w 6942639"/>
                <a:gd name="connsiteY8172" fmla="*/ 2753577 h 9250612"/>
                <a:gd name="connsiteX8173" fmla="*/ 4727918 w 6942639"/>
                <a:gd name="connsiteY8173" fmla="*/ 2744609 h 9250612"/>
                <a:gd name="connsiteX8174" fmla="*/ 4736878 w 6942639"/>
                <a:gd name="connsiteY8174" fmla="*/ 2735668 h 9250612"/>
                <a:gd name="connsiteX8175" fmla="*/ 4568137 w 6942639"/>
                <a:gd name="connsiteY8175" fmla="*/ 2735668 h 9250612"/>
                <a:gd name="connsiteX8176" fmla="*/ 4577098 w 6942639"/>
                <a:gd name="connsiteY8176" fmla="*/ 2744609 h 9250612"/>
                <a:gd name="connsiteX8177" fmla="*/ 4568137 w 6942639"/>
                <a:gd name="connsiteY8177" fmla="*/ 2753577 h 9250612"/>
                <a:gd name="connsiteX8178" fmla="*/ 4559177 w 6942639"/>
                <a:gd name="connsiteY8178" fmla="*/ 2744609 h 9250612"/>
                <a:gd name="connsiteX8179" fmla="*/ 4568137 w 6942639"/>
                <a:gd name="connsiteY8179" fmla="*/ 2735668 h 9250612"/>
                <a:gd name="connsiteX8180" fmla="*/ 4399396 w 6942639"/>
                <a:gd name="connsiteY8180" fmla="*/ 2735668 h 9250612"/>
                <a:gd name="connsiteX8181" fmla="*/ 4408357 w 6942639"/>
                <a:gd name="connsiteY8181" fmla="*/ 2744609 h 9250612"/>
                <a:gd name="connsiteX8182" fmla="*/ 4399396 w 6942639"/>
                <a:gd name="connsiteY8182" fmla="*/ 2753577 h 9250612"/>
                <a:gd name="connsiteX8183" fmla="*/ 4390436 w 6942639"/>
                <a:gd name="connsiteY8183" fmla="*/ 2744609 h 9250612"/>
                <a:gd name="connsiteX8184" fmla="*/ 4399396 w 6942639"/>
                <a:gd name="connsiteY8184" fmla="*/ 2735668 h 9250612"/>
                <a:gd name="connsiteX8185" fmla="*/ 4230654 w 6942639"/>
                <a:gd name="connsiteY8185" fmla="*/ 2735668 h 9250612"/>
                <a:gd name="connsiteX8186" fmla="*/ 4239615 w 6942639"/>
                <a:gd name="connsiteY8186" fmla="*/ 2744609 h 9250612"/>
                <a:gd name="connsiteX8187" fmla="*/ 4230654 w 6942639"/>
                <a:gd name="connsiteY8187" fmla="*/ 2753578 h 9250612"/>
                <a:gd name="connsiteX8188" fmla="*/ 4221694 w 6942639"/>
                <a:gd name="connsiteY8188" fmla="*/ 2744609 h 9250612"/>
                <a:gd name="connsiteX8189" fmla="*/ 4230654 w 6942639"/>
                <a:gd name="connsiteY8189" fmla="*/ 2735668 h 9250612"/>
                <a:gd name="connsiteX8190" fmla="*/ 1530979 w 6942639"/>
                <a:gd name="connsiteY8190" fmla="*/ 2564703 h 9250612"/>
                <a:gd name="connsiteX8191" fmla="*/ 1539941 w 6942639"/>
                <a:gd name="connsiteY8191" fmla="*/ 2573653 h 9250612"/>
                <a:gd name="connsiteX8192" fmla="*/ 1530979 w 6942639"/>
                <a:gd name="connsiteY8192" fmla="*/ 2582620 h 9250612"/>
                <a:gd name="connsiteX8193" fmla="*/ 1522017 w 6942639"/>
                <a:gd name="connsiteY8193" fmla="*/ 2573653 h 9250612"/>
                <a:gd name="connsiteX8194" fmla="*/ 1530979 w 6942639"/>
                <a:gd name="connsiteY8194" fmla="*/ 2564703 h 9250612"/>
                <a:gd name="connsiteX8195" fmla="*/ 1362227 w 6942639"/>
                <a:gd name="connsiteY8195" fmla="*/ 2564703 h 9250612"/>
                <a:gd name="connsiteX8196" fmla="*/ 1371189 w 6942639"/>
                <a:gd name="connsiteY8196" fmla="*/ 2573653 h 9250612"/>
                <a:gd name="connsiteX8197" fmla="*/ 1362227 w 6942639"/>
                <a:gd name="connsiteY8197" fmla="*/ 2582620 h 9250612"/>
                <a:gd name="connsiteX8198" fmla="*/ 1353265 w 6942639"/>
                <a:gd name="connsiteY8198" fmla="*/ 2573653 h 9250612"/>
                <a:gd name="connsiteX8199" fmla="*/ 1362227 w 6942639"/>
                <a:gd name="connsiteY8199" fmla="*/ 2564703 h 9250612"/>
                <a:gd name="connsiteX8200" fmla="*/ 1193484 w 6942639"/>
                <a:gd name="connsiteY8200" fmla="*/ 2564703 h 9250612"/>
                <a:gd name="connsiteX8201" fmla="*/ 1202445 w 6942639"/>
                <a:gd name="connsiteY8201" fmla="*/ 2573653 h 9250612"/>
                <a:gd name="connsiteX8202" fmla="*/ 1193484 w 6942639"/>
                <a:gd name="connsiteY8202" fmla="*/ 2582620 h 9250612"/>
                <a:gd name="connsiteX8203" fmla="*/ 1184526 w 6942639"/>
                <a:gd name="connsiteY8203" fmla="*/ 2573653 h 9250612"/>
                <a:gd name="connsiteX8204" fmla="*/ 1193484 w 6942639"/>
                <a:gd name="connsiteY8204" fmla="*/ 2564703 h 9250612"/>
                <a:gd name="connsiteX8205" fmla="*/ 1024729 w 6942639"/>
                <a:gd name="connsiteY8205" fmla="*/ 2564703 h 9250612"/>
                <a:gd name="connsiteX8206" fmla="*/ 1033696 w 6942639"/>
                <a:gd name="connsiteY8206" fmla="*/ 2573653 h 9250612"/>
                <a:gd name="connsiteX8207" fmla="*/ 1024729 w 6942639"/>
                <a:gd name="connsiteY8207" fmla="*/ 2582621 h 9250612"/>
                <a:gd name="connsiteX8208" fmla="*/ 1015769 w 6942639"/>
                <a:gd name="connsiteY8208" fmla="*/ 2573653 h 9250612"/>
                <a:gd name="connsiteX8209" fmla="*/ 1024729 w 6942639"/>
                <a:gd name="connsiteY8209" fmla="*/ 2564703 h 9250612"/>
                <a:gd name="connsiteX8210" fmla="*/ 856004 w 6942639"/>
                <a:gd name="connsiteY8210" fmla="*/ 2564703 h 9250612"/>
                <a:gd name="connsiteX8211" fmla="*/ 864964 w 6942639"/>
                <a:gd name="connsiteY8211" fmla="*/ 2573653 h 9250612"/>
                <a:gd name="connsiteX8212" fmla="*/ 856004 w 6942639"/>
                <a:gd name="connsiteY8212" fmla="*/ 2582621 h 9250612"/>
                <a:gd name="connsiteX8213" fmla="*/ 847043 w 6942639"/>
                <a:gd name="connsiteY8213" fmla="*/ 2573653 h 9250612"/>
                <a:gd name="connsiteX8214" fmla="*/ 856004 w 6942639"/>
                <a:gd name="connsiteY8214" fmla="*/ 2564703 h 9250612"/>
                <a:gd name="connsiteX8215" fmla="*/ 687266 w 6942639"/>
                <a:gd name="connsiteY8215" fmla="*/ 2564703 h 9250612"/>
                <a:gd name="connsiteX8216" fmla="*/ 696226 w 6942639"/>
                <a:gd name="connsiteY8216" fmla="*/ 2573653 h 9250612"/>
                <a:gd name="connsiteX8217" fmla="*/ 687266 w 6942639"/>
                <a:gd name="connsiteY8217" fmla="*/ 2582621 h 9250612"/>
                <a:gd name="connsiteX8218" fmla="*/ 678307 w 6942639"/>
                <a:gd name="connsiteY8218" fmla="*/ 2573653 h 9250612"/>
                <a:gd name="connsiteX8219" fmla="*/ 687266 w 6942639"/>
                <a:gd name="connsiteY8219" fmla="*/ 2564703 h 9250612"/>
                <a:gd name="connsiteX8220" fmla="*/ 518492 w 6942639"/>
                <a:gd name="connsiteY8220" fmla="*/ 2564703 h 9250612"/>
                <a:gd name="connsiteX8221" fmla="*/ 527453 w 6942639"/>
                <a:gd name="connsiteY8221" fmla="*/ 2573653 h 9250612"/>
                <a:gd name="connsiteX8222" fmla="*/ 518492 w 6942639"/>
                <a:gd name="connsiteY8222" fmla="*/ 2582621 h 9250612"/>
                <a:gd name="connsiteX8223" fmla="*/ 509532 w 6942639"/>
                <a:gd name="connsiteY8223" fmla="*/ 2573653 h 9250612"/>
                <a:gd name="connsiteX8224" fmla="*/ 518492 w 6942639"/>
                <a:gd name="connsiteY8224" fmla="*/ 2564703 h 9250612"/>
                <a:gd name="connsiteX8225" fmla="*/ 349754 w 6942639"/>
                <a:gd name="connsiteY8225" fmla="*/ 2564703 h 9250612"/>
                <a:gd name="connsiteX8226" fmla="*/ 358715 w 6942639"/>
                <a:gd name="connsiteY8226" fmla="*/ 2573653 h 9250612"/>
                <a:gd name="connsiteX8227" fmla="*/ 349754 w 6942639"/>
                <a:gd name="connsiteY8227" fmla="*/ 2582622 h 9250612"/>
                <a:gd name="connsiteX8228" fmla="*/ 340795 w 6942639"/>
                <a:gd name="connsiteY8228" fmla="*/ 2573653 h 9250612"/>
                <a:gd name="connsiteX8229" fmla="*/ 349754 w 6942639"/>
                <a:gd name="connsiteY8229" fmla="*/ 2564703 h 9250612"/>
                <a:gd name="connsiteX8230" fmla="*/ 179437 w 6942639"/>
                <a:gd name="connsiteY8230" fmla="*/ 2564703 h 9250612"/>
                <a:gd name="connsiteX8231" fmla="*/ 188398 w 6942639"/>
                <a:gd name="connsiteY8231" fmla="*/ 2573653 h 9250612"/>
                <a:gd name="connsiteX8232" fmla="*/ 179437 w 6942639"/>
                <a:gd name="connsiteY8232" fmla="*/ 2582622 h 9250612"/>
                <a:gd name="connsiteX8233" fmla="*/ 170477 w 6942639"/>
                <a:gd name="connsiteY8233" fmla="*/ 2573653 h 9250612"/>
                <a:gd name="connsiteX8234" fmla="*/ 179437 w 6942639"/>
                <a:gd name="connsiteY8234" fmla="*/ 2564703 h 9250612"/>
                <a:gd name="connsiteX8235" fmla="*/ 9121 w 6942639"/>
                <a:gd name="connsiteY8235" fmla="*/ 2564703 h 9250612"/>
                <a:gd name="connsiteX8236" fmla="*/ 18081 w 6942639"/>
                <a:gd name="connsiteY8236" fmla="*/ 2573653 h 9250612"/>
                <a:gd name="connsiteX8237" fmla="*/ 9121 w 6942639"/>
                <a:gd name="connsiteY8237" fmla="*/ 2582622 h 9250612"/>
                <a:gd name="connsiteX8238" fmla="*/ 161 w 6942639"/>
                <a:gd name="connsiteY8238" fmla="*/ 2573653 h 9250612"/>
                <a:gd name="connsiteX8239" fmla="*/ 9121 w 6942639"/>
                <a:gd name="connsiteY8239" fmla="*/ 2564703 h 9250612"/>
                <a:gd name="connsiteX8240" fmla="*/ 3218299 w 6942639"/>
                <a:gd name="connsiteY8240" fmla="*/ 2564697 h 9250612"/>
                <a:gd name="connsiteX8241" fmla="*/ 3227276 w 6942639"/>
                <a:gd name="connsiteY8241" fmla="*/ 2573651 h 9250612"/>
                <a:gd name="connsiteX8242" fmla="*/ 3218299 w 6942639"/>
                <a:gd name="connsiteY8242" fmla="*/ 2582618 h 9250612"/>
                <a:gd name="connsiteX8243" fmla="*/ 3209329 w 6942639"/>
                <a:gd name="connsiteY8243" fmla="*/ 2573651 h 9250612"/>
                <a:gd name="connsiteX8244" fmla="*/ 3218299 w 6942639"/>
                <a:gd name="connsiteY8244" fmla="*/ 2564697 h 9250612"/>
                <a:gd name="connsiteX8245" fmla="*/ 3049597 w 6942639"/>
                <a:gd name="connsiteY8245" fmla="*/ 2564697 h 9250612"/>
                <a:gd name="connsiteX8246" fmla="*/ 3058544 w 6942639"/>
                <a:gd name="connsiteY8246" fmla="*/ 2573651 h 9250612"/>
                <a:gd name="connsiteX8247" fmla="*/ 3049597 w 6942639"/>
                <a:gd name="connsiteY8247" fmla="*/ 2582618 h 9250612"/>
                <a:gd name="connsiteX8248" fmla="*/ 3040627 w 6942639"/>
                <a:gd name="connsiteY8248" fmla="*/ 2573651 h 9250612"/>
                <a:gd name="connsiteX8249" fmla="*/ 3049597 w 6942639"/>
                <a:gd name="connsiteY8249" fmla="*/ 2564697 h 9250612"/>
                <a:gd name="connsiteX8250" fmla="*/ 2880872 w 6942639"/>
                <a:gd name="connsiteY8250" fmla="*/ 2564697 h 9250612"/>
                <a:gd name="connsiteX8251" fmla="*/ 2889831 w 6942639"/>
                <a:gd name="connsiteY8251" fmla="*/ 2573651 h 9250612"/>
                <a:gd name="connsiteX8252" fmla="*/ 2880872 w 6942639"/>
                <a:gd name="connsiteY8252" fmla="*/ 2582620 h 9250612"/>
                <a:gd name="connsiteX8253" fmla="*/ 2871916 w 6942639"/>
                <a:gd name="connsiteY8253" fmla="*/ 2573651 h 9250612"/>
                <a:gd name="connsiteX8254" fmla="*/ 2880872 w 6942639"/>
                <a:gd name="connsiteY8254" fmla="*/ 2564697 h 9250612"/>
                <a:gd name="connsiteX8255" fmla="*/ 2712103 w 6942639"/>
                <a:gd name="connsiteY8255" fmla="*/ 2564697 h 9250612"/>
                <a:gd name="connsiteX8256" fmla="*/ 2721086 w 6942639"/>
                <a:gd name="connsiteY8256" fmla="*/ 2573651 h 9250612"/>
                <a:gd name="connsiteX8257" fmla="*/ 2712103 w 6942639"/>
                <a:gd name="connsiteY8257" fmla="*/ 2582620 h 9250612"/>
                <a:gd name="connsiteX8258" fmla="*/ 2703147 w 6942639"/>
                <a:gd name="connsiteY8258" fmla="*/ 2573651 h 9250612"/>
                <a:gd name="connsiteX8259" fmla="*/ 2712103 w 6942639"/>
                <a:gd name="connsiteY8259" fmla="*/ 2564697 h 9250612"/>
                <a:gd name="connsiteX8260" fmla="*/ 2543423 w 6942639"/>
                <a:gd name="connsiteY8260" fmla="*/ 2564697 h 9250612"/>
                <a:gd name="connsiteX8261" fmla="*/ 2552386 w 6942639"/>
                <a:gd name="connsiteY8261" fmla="*/ 2573651 h 9250612"/>
                <a:gd name="connsiteX8262" fmla="*/ 2543423 w 6942639"/>
                <a:gd name="connsiteY8262" fmla="*/ 2582620 h 9250612"/>
                <a:gd name="connsiteX8263" fmla="*/ 2534447 w 6942639"/>
                <a:gd name="connsiteY8263" fmla="*/ 2573651 h 9250612"/>
                <a:gd name="connsiteX8264" fmla="*/ 2543423 w 6942639"/>
                <a:gd name="connsiteY8264" fmla="*/ 2564697 h 9250612"/>
                <a:gd name="connsiteX8265" fmla="*/ 2374622 w 6942639"/>
                <a:gd name="connsiteY8265" fmla="*/ 2564697 h 9250612"/>
                <a:gd name="connsiteX8266" fmla="*/ 2383633 w 6942639"/>
                <a:gd name="connsiteY8266" fmla="*/ 2573651 h 9250612"/>
                <a:gd name="connsiteX8267" fmla="*/ 2374622 w 6942639"/>
                <a:gd name="connsiteY8267" fmla="*/ 2582620 h 9250612"/>
                <a:gd name="connsiteX8268" fmla="*/ 2365658 w 6942639"/>
                <a:gd name="connsiteY8268" fmla="*/ 2573651 h 9250612"/>
                <a:gd name="connsiteX8269" fmla="*/ 2374622 w 6942639"/>
                <a:gd name="connsiteY8269" fmla="*/ 2564697 h 9250612"/>
                <a:gd name="connsiteX8270" fmla="*/ 2205922 w 6942639"/>
                <a:gd name="connsiteY8270" fmla="*/ 2564697 h 9250612"/>
                <a:gd name="connsiteX8271" fmla="*/ 2214879 w 6942639"/>
                <a:gd name="connsiteY8271" fmla="*/ 2573651 h 9250612"/>
                <a:gd name="connsiteX8272" fmla="*/ 2205922 w 6942639"/>
                <a:gd name="connsiteY8272" fmla="*/ 2582620 h 9250612"/>
                <a:gd name="connsiteX8273" fmla="*/ 2196925 w 6942639"/>
                <a:gd name="connsiteY8273" fmla="*/ 2573651 h 9250612"/>
                <a:gd name="connsiteX8274" fmla="*/ 2205922 w 6942639"/>
                <a:gd name="connsiteY8274" fmla="*/ 2564697 h 9250612"/>
                <a:gd name="connsiteX8275" fmla="*/ 2037173 w 6942639"/>
                <a:gd name="connsiteY8275" fmla="*/ 2564697 h 9250612"/>
                <a:gd name="connsiteX8276" fmla="*/ 2046118 w 6942639"/>
                <a:gd name="connsiteY8276" fmla="*/ 2573651 h 9250612"/>
                <a:gd name="connsiteX8277" fmla="*/ 2037173 w 6942639"/>
                <a:gd name="connsiteY8277" fmla="*/ 2582620 h 9250612"/>
                <a:gd name="connsiteX8278" fmla="*/ 2028242 w 6942639"/>
                <a:gd name="connsiteY8278" fmla="*/ 2573651 h 9250612"/>
                <a:gd name="connsiteX8279" fmla="*/ 2037173 w 6942639"/>
                <a:gd name="connsiteY8279" fmla="*/ 2564697 h 9250612"/>
                <a:gd name="connsiteX8280" fmla="*/ 1868473 w 6942639"/>
                <a:gd name="connsiteY8280" fmla="*/ 2564697 h 9250612"/>
                <a:gd name="connsiteX8281" fmla="*/ 1877420 w 6942639"/>
                <a:gd name="connsiteY8281" fmla="*/ 2573651 h 9250612"/>
                <a:gd name="connsiteX8282" fmla="*/ 1868473 w 6942639"/>
                <a:gd name="connsiteY8282" fmla="*/ 2582620 h 9250612"/>
                <a:gd name="connsiteX8283" fmla="*/ 1859496 w 6942639"/>
                <a:gd name="connsiteY8283" fmla="*/ 2573651 h 9250612"/>
                <a:gd name="connsiteX8284" fmla="*/ 1868473 w 6942639"/>
                <a:gd name="connsiteY8284" fmla="*/ 2564697 h 9250612"/>
                <a:gd name="connsiteX8285" fmla="*/ 1699721 w 6942639"/>
                <a:gd name="connsiteY8285" fmla="*/ 2564697 h 9250612"/>
                <a:gd name="connsiteX8286" fmla="*/ 1708690 w 6942639"/>
                <a:gd name="connsiteY8286" fmla="*/ 2573653 h 9250612"/>
                <a:gd name="connsiteX8287" fmla="*/ 1699721 w 6942639"/>
                <a:gd name="connsiteY8287" fmla="*/ 2582620 h 9250612"/>
                <a:gd name="connsiteX8288" fmla="*/ 1690752 w 6942639"/>
                <a:gd name="connsiteY8288" fmla="*/ 2573653 h 9250612"/>
                <a:gd name="connsiteX8289" fmla="*/ 1699721 w 6942639"/>
                <a:gd name="connsiteY8289" fmla="*/ 2564697 h 9250612"/>
                <a:gd name="connsiteX8290" fmla="*/ 6933679 w 6942639"/>
                <a:gd name="connsiteY8290" fmla="*/ 2564692 h 9250612"/>
                <a:gd name="connsiteX8291" fmla="*/ 6942639 w 6942639"/>
                <a:gd name="connsiteY8291" fmla="*/ 2573647 h 9250612"/>
                <a:gd name="connsiteX8292" fmla="*/ 6933679 w 6942639"/>
                <a:gd name="connsiteY8292" fmla="*/ 2582615 h 9250612"/>
                <a:gd name="connsiteX8293" fmla="*/ 6924718 w 6942639"/>
                <a:gd name="connsiteY8293" fmla="*/ 2573647 h 9250612"/>
                <a:gd name="connsiteX8294" fmla="*/ 6933679 w 6942639"/>
                <a:gd name="connsiteY8294" fmla="*/ 2564692 h 9250612"/>
                <a:gd name="connsiteX8295" fmla="*/ 6763357 w 6942639"/>
                <a:gd name="connsiteY8295" fmla="*/ 2564692 h 9250612"/>
                <a:gd name="connsiteX8296" fmla="*/ 6772318 w 6942639"/>
                <a:gd name="connsiteY8296" fmla="*/ 2573647 h 9250612"/>
                <a:gd name="connsiteX8297" fmla="*/ 6763357 w 6942639"/>
                <a:gd name="connsiteY8297" fmla="*/ 2582616 h 9250612"/>
                <a:gd name="connsiteX8298" fmla="*/ 6754397 w 6942639"/>
                <a:gd name="connsiteY8298" fmla="*/ 2573647 h 9250612"/>
                <a:gd name="connsiteX8299" fmla="*/ 6763357 w 6942639"/>
                <a:gd name="connsiteY8299" fmla="*/ 2564692 h 9250612"/>
                <a:gd name="connsiteX8300" fmla="*/ 6593035 w 6942639"/>
                <a:gd name="connsiteY8300" fmla="*/ 2564692 h 9250612"/>
                <a:gd name="connsiteX8301" fmla="*/ 6601996 w 6942639"/>
                <a:gd name="connsiteY8301" fmla="*/ 2573647 h 9250612"/>
                <a:gd name="connsiteX8302" fmla="*/ 6593035 w 6942639"/>
                <a:gd name="connsiteY8302" fmla="*/ 2582616 h 9250612"/>
                <a:gd name="connsiteX8303" fmla="*/ 6584075 w 6942639"/>
                <a:gd name="connsiteY8303" fmla="*/ 2573647 h 9250612"/>
                <a:gd name="connsiteX8304" fmla="*/ 6593035 w 6942639"/>
                <a:gd name="connsiteY8304" fmla="*/ 2564692 h 9250612"/>
                <a:gd name="connsiteX8305" fmla="*/ 6424294 w 6942639"/>
                <a:gd name="connsiteY8305" fmla="*/ 2564692 h 9250612"/>
                <a:gd name="connsiteX8306" fmla="*/ 6433255 w 6942639"/>
                <a:gd name="connsiteY8306" fmla="*/ 2573647 h 9250612"/>
                <a:gd name="connsiteX8307" fmla="*/ 6424294 w 6942639"/>
                <a:gd name="connsiteY8307" fmla="*/ 2582616 h 9250612"/>
                <a:gd name="connsiteX8308" fmla="*/ 6415334 w 6942639"/>
                <a:gd name="connsiteY8308" fmla="*/ 2573647 h 9250612"/>
                <a:gd name="connsiteX8309" fmla="*/ 6424294 w 6942639"/>
                <a:gd name="connsiteY8309" fmla="*/ 2564692 h 9250612"/>
                <a:gd name="connsiteX8310" fmla="*/ 6255553 w 6942639"/>
                <a:gd name="connsiteY8310" fmla="*/ 2564692 h 9250612"/>
                <a:gd name="connsiteX8311" fmla="*/ 6264514 w 6942639"/>
                <a:gd name="connsiteY8311" fmla="*/ 2573647 h 9250612"/>
                <a:gd name="connsiteX8312" fmla="*/ 6255553 w 6942639"/>
                <a:gd name="connsiteY8312" fmla="*/ 2582616 h 9250612"/>
                <a:gd name="connsiteX8313" fmla="*/ 6246593 w 6942639"/>
                <a:gd name="connsiteY8313" fmla="*/ 2573647 h 9250612"/>
                <a:gd name="connsiteX8314" fmla="*/ 6255553 w 6942639"/>
                <a:gd name="connsiteY8314" fmla="*/ 2564692 h 9250612"/>
                <a:gd name="connsiteX8315" fmla="*/ 6086811 w 6942639"/>
                <a:gd name="connsiteY8315" fmla="*/ 2564692 h 9250612"/>
                <a:gd name="connsiteX8316" fmla="*/ 6095772 w 6942639"/>
                <a:gd name="connsiteY8316" fmla="*/ 2573649 h 9250612"/>
                <a:gd name="connsiteX8317" fmla="*/ 6086811 w 6942639"/>
                <a:gd name="connsiteY8317" fmla="*/ 2582616 h 9250612"/>
                <a:gd name="connsiteX8318" fmla="*/ 6077851 w 6942639"/>
                <a:gd name="connsiteY8318" fmla="*/ 2573649 h 9250612"/>
                <a:gd name="connsiteX8319" fmla="*/ 6086811 w 6942639"/>
                <a:gd name="connsiteY8319" fmla="*/ 2564692 h 9250612"/>
                <a:gd name="connsiteX8320" fmla="*/ 5918069 w 6942639"/>
                <a:gd name="connsiteY8320" fmla="*/ 2564692 h 9250612"/>
                <a:gd name="connsiteX8321" fmla="*/ 5927030 w 6942639"/>
                <a:gd name="connsiteY8321" fmla="*/ 2573649 h 9250612"/>
                <a:gd name="connsiteX8322" fmla="*/ 5918069 w 6942639"/>
                <a:gd name="connsiteY8322" fmla="*/ 2582616 h 9250612"/>
                <a:gd name="connsiteX8323" fmla="*/ 5909109 w 6942639"/>
                <a:gd name="connsiteY8323" fmla="*/ 2573649 h 9250612"/>
                <a:gd name="connsiteX8324" fmla="*/ 5918069 w 6942639"/>
                <a:gd name="connsiteY8324" fmla="*/ 2564692 h 9250612"/>
                <a:gd name="connsiteX8325" fmla="*/ 5749328 w 6942639"/>
                <a:gd name="connsiteY8325" fmla="*/ 2564692 h 9250612"/>
                <a:gd name="connsiteX8326" fmla="*/ 5758289 w 6942639"/>
                <a:gd name="connsiteY8326" fmla="*/ 2573649 h 9250612"/>
                <a:gd name="connsiteX8327" fmla="*/ 5749328 w 6942639"/>
                <a:gd name="connsiteY8327" fmla="*/ 2582616 h 9250612"/>
                <a:gd name="connsiteX8328" fmla="*/ 5740368 w 6942639"/>
                <a:gd name="connsiteY8328" fmla="*/ 2573649 h 9250612"/>
                <a:gd name="connsiteX8329" fmla="*/ 5749328 w 6942639"/>
                <a:gd name="connsiteY8329" fmla="*/ 2564692 h 9250612"/>
                <a:gd name="connsiteX8330" fmla="*/ 5580586 w 6942639"/>
                <a:gd name="connsiteY8330" fmla="*/ 2564692 h 9250612"/>
                <a:gd name="connsiteX8331" fmla="*/ 5589547 w 6942639"/>
                <a:gd name="connsiteY8331" fmla="*/ 2573649 h 9250612"/>
                <a:gd name="connsiteX8332" fmla="*/ 5580586 w 6942639"/>
                <a:gd name="connsiteY8332" fmla="*/ 2582616 h 9250612"/>
                <a:gd name="connsiteX8333" fmla="*/ 5571626 w 6942639"/>
                <a:gd name="connsiteY8333" fmla="*/ 2573649 h 9250612"/>
                <a:gd name="connsiteX8334" fmla="*/ 5580586 w 6942639"/>
                <a:gd name="connsiteY8334" fmla="*/ 2564692 h 9250612"/>
                <a:gd name="connsiteX8335" fmla="*/ 5411845 w 6942639"/>
                <a:gd name="connsiteY8335" fmla="*/ 2564692 h 9250612"/>
                <a:gd name="connsiteX8336" fmla="*/ 5420806 w 6942639"/>
                <a:gd name="connsiteY8336" fmla="*/ 2573649 h 9250612"/>
                <a:gd name="connsiteX8337" fmla="*/ 5411845 w 6942639"/>
                <a:gd name="connsiteY8337" fmla="*/ 2582616 h 9250612"/>
                <a:gd name="connsiteX8338" fmla="*/ 5402885 w 6942639"/>
                <a:gd name="connsiteY8338" fmla="*/ 2573649 h 9250612"/>
                <a:gd name="connsiteX8339" fmla="*/ 5411845 w 6942639"/>
                <a:gd name="connsiteY8339" fmla="*/ 2564692 h 9250612"/>
                <a:gd name="connsiteX8340" fmla="*/ 5243103 w 6942639"/>
                <a:gd name="connsiteY8340" fmla="*/ 2564692 h 9250612"/>
                <a:gd name="connsiteX8341" fmla="*/ 5252064 w 6942639"/>
                <a:gd name="connsiteY8341" fmla="*/ 2573649 h 9250612"/>
                <a:gd name="connsiteX8342" fmla="*/ 5243103 w 6942639"/>
                <a:gd name="connsiteY8342" fmla="*/ 2582617 h 9250612"/>
                <a:gd name="connsiteX8343" fmla="*/ 5234143 w 6942639"/>
                <a:gd name="connsiteY8343" fmla="*/ 2573649 h 9250612"/>
                <a:gd name="connsiteX8344" fmla="*/ 5243103 w 6942639"/>
                <a:gd name="connsiteY8344" fmla="*/ 2564692 h 9250612"/>
                <a:gd name="connsiteX8345" fmla="*/ 5074362 w 6942639"/>
                <a:gd name="connsiteY8345" fmla="*/ 2564692 h 9250612"/>
                <a:gd name="connsiteX8346" fmla="*/ 5083323 w 6942639"/>
                <a:gd name="connsiteY8346" fmla="*/ 2573649 h 9250612"/>
                <a:gd name="connsiteX8347" fmla="*/ 5074362 w 6942639"/>
                <a:gd name="connsiteY8347" fmla="*/ 2582617 h 9250612"/>
                <a:gd name="connsiteX8348" fmla="*/ 5065402 w 6942639"/>
                <a:gd name="connsiteY8348" fmla="*/ 2573649 h 9250612"/>
                <a:gd name="connsiteX8349" fmla="*/ 5074362 w 6942639"/>
                <a:gd name="connsiteY8349" fmla="*/ 2564692 h 9250612"/>
                <a:gd name="connsiteX8350" fmla="*/ 4905620 w 6942639"/>
                <a:gd name="connsiteY8350" fmla="*/ 2564692 h 9250612"/>
                <a:gd name="connsiteX8351" fmla="*/ 4914581 w 6942639"/>
                <a:gd name="connsiteY8351" fmla="*/ 2573649 h 9250612"/>
                <a:gd name="connsiteX8352" fmla="*/ 4905620 w 6942639"/>
                <a:gd name="connsiteY8352" fmla="*/ 2582617 h 9250612"/>
                <a:gd name="connsiteX8353" fmla="*/ 4896660 w 6942639"/>
                <a:gd name="connsiteY8353" fmla="*/ 2573649 h 9250612"/>
                <a:gd name="connsiteX8354" fmla="*/ 4905620 w 6942639"/>
                <a:gd name="connsiteY8354" fmla="*/ 2564692 h 9250612"/>
                <a:gd name="connsiteX8355" fmla="*/ 4736878 w 6942639"/>
                <a:gd name="connsiteY8355" fmla="*/ 2564692 h 9250612"/>
                <a:gd name="connsiteX8356" fmla="*/ 4745839 w 6942639"/>
                <a:gd name="connsiteY8356" fmla="*/ 2573649 h 9250612"/>
                <a:gd name="connsiteX8357" fmla="*/ 4736878 w 6942639"/>
                <a:gd name="connsiteY8357" fmla="*/ 2582617 h 9250612"/>
                <a:gd name="connsiteX8358" fmla="*/ 4727918 w 6942639"/>
                <a:gd name="connsiteY8358" fmla="*/ 2573649 h 9250612"/>
                <a:gd name="connsiteX8359" fmla="*/ 4736878 w 6942639"/>
                <a:gd name="connsiteY8359" fmla="*/ 2564692 h 9250612"/>
                <a:gd name="connsiteX8360" fmla="*/ 4568137 w 6942639"/>
                <a:gd name="connsiteY8360" fmla="*/ 2564692 h 9250612"/>
                <a:gd name="connsiteX8361" fmla="*/ 4577098 w 6942639"/>
                <a:gd name="connsiteY8361" fmla="*/ 2573649 h 9250612"/>
                <a:gd name="connsiteX8362" fmla="*/ 4568137 w 6942639"/>
                <a:gd name="connsiteY8362" fmla="*/ 2582618 h 9250612"/>
                <a:gd name="connsiteX8363" fmla="*/ 4559177 w 6942639"/>
                <a:gd name="connsiteY8363" fmla="*/ 2573649 h 9250612"/>
                <a:gd name="connsiteX8364" fmla="*/ 4568137 w 6942639"/>
                <a:gd name="connsiteY8364" fmla="*/ 2564692 h 9250612"/>
                <a:gd name="connsiteX8365" fmla="*/ 4399396 w 6942639"/>
                <a:gd name="connsiteY8365" fmla="*/ 2564692 h 9250612"/>
                <a:gd name="connsiteX8366" fmla="*/ 4408357 w 6942639"/>
                <a:gd name="connsiteY8366" fmla="*/ 2573649 h 9250612"/>
                <a:gd name="connsiteX8367" fmla="*/ 4399396 w 6942639"/>
                <a:gd name="connsiteY8367" fmla="*/ 2582618 h 9250612"/>
                <a:gd name="connsiteX8368" fmla="*/ 4390436 w 6942639"/>
                <a:gd name="connsiteY8368" fmla="*/ 2573649 h 9250612"/>
                <a:gd name="connsiteX8369" fmla="*/ 4399396 w 6942639"/>
                <a:gd name="connsiteY8369" fmla="*/ 2564692 h 9250612"/>
                <a:gd name="connsiteX8370" fmla="*/ 4230654 w 6942639"/>
                <a:gd name="connsiteY8370" fmla="*/ 2564692 h 9250612"/>
                <a:gd name="connsiteX8371" fmla="*/ 4239615 w 6942639"/>
                <a:gd name="connsiteY8371" fmla="*/ 2573649 h 9250612"/>
                <a:gd name="connsiteX8372" fmla="*/ 4230654 w 6942639"/>
                <a:gd name="connsiteY8372" fmla="*/ 2582618 h 9250612"/>
                <a:gd name="connsiteX8373" fmla="*/ 4221694 w 6942639"/>
                <a:gd name="connsiteY8373" fmla="*/ 2573649 h 9250612"/>
                <a:gd name="connsiteX8374" fmla="*/ 4230654 w 6942639"/>
                <a:gd name="connsiteY8374" fmla="*/ 2564692 h 9250612"/>
                <a:gd name="connsiteX8375" fmla="*/ 4061912 w 6942639"/>
                <a:gd name="connsiteY8375" fmla="*/ 2564692 h 9250612"/>
                <a:gd name="connsiteX8376" fmla="*/ 4070873 w 6942639"/>
                <a:gd name="connsiteY8376" fmla="*/ 2573649 h 9250612"/>
                <a:gd name="connsiteX8377" fmla="*/ 4061912 w 6942639"/>
                <a:gd name="connsiteY8377" fmla="*/ 2582618 h 9250612"/>
                <a:gd name="connsiteX8378" fmla="*/ 4052952 w 6942639"/>
                <a:gd name="connsiteY8378" fmla="*/ 2573649 h 9250612"/>
                <a:gd name="connsiteX8379" fmla="*/ 4061912 w 6942639"/>
                <a:gd name="connsiteY8379" fmla="*/ 2564692 h 9250612"/>
                <a:gd name="connsiteX8380" fmla="*/ 3893170 w 6942639"/>
                <a:gd name="connsiteY8380" fmla="*/ 2564692 h 9250612"/>
                <a:gd name="connsiteX8381" fmla="*/ 3902131 w 6942639"/>
                <a:gd name="connsiteY8381" fmla="*/ 2573651 h 9250612"/>
                <a:gd name="connsiteX8382" fmla="*/ 3893170 w 6942639"/>
                <a:gd name="connsiteY8382" fmla="*/ 2582618 h 9250612"/>
                <a:gd name="connsiteX8383" fmla="*/ 3884210 w 6942639"/>
                <a:gd name="connsiteY8383" fmla="*/ 2573651 h 9250612"/>
                <a:gd name="connsiteX8384" fmla="*/ 3893170 w 6942639"/>
                <a:gd name="connsiteY8384" fmla="*/ 2564692 h 9250612"/>
                <a:gd name="connsiteX8385" fmla="*/ 3724429 w 6942639"/>
                <a:gd name="connsiteY8385" fmla="*/ 2564692 h 9250612"/>
                <a:gd name="connsiteX8386" fmla="*/ 3733390 w 6942639"/>
                <a:gd name="connsiteY8386" fmla="*/ 2573651 h 9250612"/>
                <a:gd name="connsiteX8387" fmla="*/ 3724429 w 6942639"/>
                <a:gd name="connsiteY8387" fmla="*/ 2582618 h 9250612"/>
                <a:gd name="connsiteX8388" fmla="*/ 3715469 w 6942639"/>
                <a:gd name="connsiteY8388" fmla="*/ 2573651 h 9250612"/>
                <a:gd name="connsiteX8389" fmla="*/ 3724429 w 6942639"/>
                <a:gd name="connsiteY8389" fmla="*/ 2564692 h 9250612"/>
                <a:gd name="connsiteX8390" fmla="*/ 3555688 w 6942639"/>
                <a:gd name="connsiteY8390" fmla="*/ 2564692 h 9250612"/>
                <a:gd name="connsiteX8391" fmla="*/ 3564649 w 6942639"/>
                <a:gd name="connsiteY8391" fmla="*/ 2573651 h 9250612"/>
                <a:gd name="connsiteX8392" fmla="*/ 3555688 w 6942639"/>
                <a:gd name="connsiteY8392" fmla="*/ 2582618 h 9250612"/>
                <a:gd name="connsiteX8393" fmla="*/ 3546728 w 6942639"/>
                <a:gd name="connsiteY8393" fmla="*/ 2573651 h 9250612"/>
                <a:gd name="connsiteX8394" fmla="*/ 3555688 w 6942639"/>
                <a:gd name="connsiteY8394" fmla="*/ 2564692 h 9250612"/>
                <a:gd name="connsiteX8395" fmla="*/ 3387056 w 6942639"/>
                <a:gd name="connsiteY8395" fmla="*/ 2564692 h 9250612"/>
                <a:gd name="connsiteX8396" fmla="*/ 3396025 w 6942639"/>
                <a:gd name="connsiteY8396" fmla="*/ 2573651 h 9250612"/>
                <a:gd name="connsiteX8397" fmla="*/ 3387056 w 6942639"/>
                <a:gd name="connsiteY8397" fmla="*/ 2582618 h 9250612"/>
                <a:gd name="connsiteX8398" fmla="*/ 3378045 w 6942639"/>
                <a:gd name="connsiteY8398" fmla="*/ 2573651 h 9250612"/>
                <a:gd name="connsiteX8399" fmla="*/ 3387056 w 6942639"/>
                <a:gd name="connsiteY8399" fmla="*/ 2564692 h 9250612"/>
                <a:gd name="connsiteX8400" fmla="*/ 1193489 w 6942639"/>
                <a:gd name="connsiteY8400" fmla="*/ 2393749 h 9250612"/>
                <a:gd name="connsiteX8401" fmla="*/ 1202449 w 6942639"/>
                <a:gd name="connsiteY8401" fmla="*/ 2402691 h 9250612"/>
                <a:gd name="connsiteX8402" fmla="*/ 1193489 w 6942639"/>
                <a:gd name="connsiteY8402" fmla="*/ 2411655 h 9250612"/>
                <a:gd name="connsiteX8403" fmla="*/ 1184531 w 6942639"/>
                <a:gd name="connsiteY8403" fmla="*/ 2402691 h 9250612"/>
                <a:gd name="connsiteX8404" fmla="*/ 1193489 w 6942639"/>
                <a:gd name="connsiteY8404" fmla="*/ 2393749 h 9250612"/>
                <a:gd name="connsiteX8405" fmla="*/ 1024733 w 6942639"/>
                <a:gd name="connsiteY8405" fmla="*/ 2393749 h 9250612"/>
                <a:gd name="connsiteX8406" fmla="*/ 1033700 w 6942639"/>
                <a:gd name="connsiteY8406" fmla="*/ 2402691 h 9250612"/>
                <a:gd name="connsiteX8407" fmla="*/ 1024733 w 6942639"/>
                <a:gd name="connsiteY8407" fmla="*/ 2411655 h 9250612"/>
                <a:gd name="connsiteX8408" fmla="*/ 1015774 w 6942639"/>
                <a:gd name="connsiteY8408" fmla="*/ 2402691 h 9250612"/>
                <a:gd name="connsiteX8409" fmla="*/ 1024733 w 6942639"/>
                <a:gd name="connsiteY8409" fmla="*/ 2393749 h 9250612"/>
                <a:gd name="connsiteX8410" fmla="*/ 856009 w 6942639"/>
                <a:gd name="connsiteY8410" fmla="*/ 2393749 h 9250612"/>
                <a:gd name="connsiteX8411" fmla="*/ 864969 w 6942639"/>
                <a:gd name="connsiteY8411" fmla="*/ 2402691 h 9250612"/>
                <a:gd name="connsiteX8412" fmla="*/ 856009 w 6942639"/>
                <a:gd name="connsiteY8412" fmla="*/ 2411657 h 9250612"/>
                <a:gd name="connsiteX8413" fmla="*/ 847048 w 6942639"/>
                <a:gd name="connsiteY8413" fmla="*/ 2402691 h 9250612"/>
                <a:gd name="connsiteX8414" fmla="*/ 856009 w 6942639"/>
                <a:gd name="connsiteY8414" fmla="*/ 2393749 h 9250612"/>
                <a:gd name="connsiteX8415" fmla="*/ 687270 w 6942639"/>
                <a:gd name="connsiteY8415" fmla="*/ 2393749 h 9250612"/>
                <a:gd name="connsiteX8416" fmla="*/ 696230 w 6942639"/>
                <a:gd name="connsiteY8416" fmla="*/ 2402691 h 9250612"/>
                <a:gd name="connsiteX8417" fmla="*/ 687270 w 6942639"/>
                <a:gd name="connsiteY8417" fmla="*/ 2411657 h 9250612"/>
                <a:gd name="connsiteX8418" fmla="*/ 678312 w 6942639"/>
                <a:gd name="connsiteY8418" fmla="*/ 2402691 h 9250612"/>
                <a:gd name="connsiteX8419" fmla="*/ 687270 w 6942639"/>
                <a:gd name="connsiteY8419" fmla="*/ 2393749 h 9250612"/>
                <a:gd name="connsiteX8420" fmla="*/ 518496 w 6942639"/>
                <a:gd name="connsiteY8420" fmla="*/ 2393749 h 9250612"/>
                <a:gd name="connsiteX8421" fmla="*/ 527456 w 6942639"/>
                <a:gd name="connsiteY8421" fmla="*/ 2402693 h 9250612"/>
                <a:gd name="connsiteX8422" fmla="*/ 518496 w 6942639"/>
                <a:gd name="connsiteY8422" fmla="*/ 2411657 h 9250612"/>
                <a:gd name="connsiteX8423" fmla="*/ 509536 w 6942639"/>
                <a:gd name="connsiteY8423" fmla="*/ 2402693 h 9250612"/>
                <a:gd name="connsiteX8424" fmla="*/ 518496 w 6942639"/>
                <a:gd name="connsiteY8424" fmla="*/ 2393749 h 9250612"/>
                <a:gd name="connsiteX8425" fmla="*/ 349758 w 6942639"/>
                <a:gd name="connsiteY8425" fmla="*/ 2393749 h 9250612"/>
                <a:gd name="connsiteX8426" fmla="*/ 358719 w 6942639"/>
                <a:gd name="connsiteY8426" fmla="*/ 2402693 h 9250612"/>
                <a:gd name="connsiteX8427" fmla="*/ 349758 w 6942639"/>
                <a:gd name="connsiteY8427" fmla="*/ 2411657 h 9250612"/>
                <a:gd name="connsiteX8428" fmla="*/ 340799 w 6942639"/>
                <a:gd name="connsiteY8428" fmla="*/ 2402693 h 9250612"/>
                <a:gd name="connsiteX8429" fmla="*/ 349758 w 6942639"/>
                <a:gd name="connsiteY8429" fmla="*/ 2393749 h 9250612"/>
                <a:gd name="connsiteX8430" fmla="*/ 179441 w 6942639"/>
                <a:gd name="connsiteY8430" fmla="*/ 2393749 h 9250612"/>
                <a:gd name="connsiteX8431" fmla="*/ 188402 w 6942639"/>
                <a:gd name="connsiteY8431" fmla="*/ 2402693 h 9250612"/>
                <a:gd name="connsiteX8432" fmla="*/ 179441 w 6942639"/>
                <a:gd name="connsiteY8432" fmla="*/ 2411657 h 9250612"/>
                <a:gd name="connsiteX8433" fmla="*/ 170481 w 6942639"/>
                <a:gd name="connsiteY8433" fmla="*/ 2402693 h 9250612"/>
                <a:gd name="connsiteX8434" fmla="*/ 179441 w 6942639"/>
                <a:gd name="connsiteY8434" fmla="*/ 2393749 h 9250612"/>
                <a:gd name="connsiteX8435" fmla="*/ 9126 w 6942639"/>
                <a:gd name="connsiteY8435" fmla="*/ 2393749 h 9250612"/>
                <a:gd name="connsiteX8436" fmla="*/ 18085 w 6942639"/>
                <a:gd name="connsiteY8436" fmla="*/ 2402693 h 9250612"/>
                <a:gd name="connsiteX8437" fmla="*/ 9126 w 6942639"/>
                <a:gd name="connsiteY8437" fmla="*/ 2411657 h 9250612"/>
                <a:gd name="connsiteX8438" fmla="*/ 165 w 6942639"/>
                <a:gd name="connsiteY8438" fmla="*/ 2402693 h 9250612"/>
                <a:gd name="connsiteX8439" fmla="*/ 9126 w 6942639"/>
                <a:gd name="connsiteY8439" fmla="*/ 2393749 h 9250612"/>
                <a:gd name="connsiteX8440" fmla="*/ 2712106 w 6942639"/>
                <a:gd name="connsiteY8440" fmla="*/ 2393747 h 9250612"/>
                <a:gd name="connsiteX8441" fmla="*/ 2721089 w 6942639"/>
                <a:gd name="connsiteY8441" fmla="*/ 2402689 h 9250612"/>
                <a:gd name="connsiteX8442" fmla="*/ 2712106 w 6942639"/>
                <a:gd name="connsiteY8442" fmla="*/ 2411652 h 9250612"/>
                <a:gd name="connsiteX8443" fmla="*/ 2703150 w 6942639"/>
                <a:gd name="connsiteY8443" fmla="*/ 2402689 h 9250612"/>
                <a:gd name="connsiteX8444" fmla="*/ 2712106 w 6942639"/>
                <a:gd name="connsiteY8444" fmla="*/ 2393747 h 9250612"/>
                <a:gd name="connsiteX8445" fmla="*/ 2543427 w 6942639"/>
                <a:gd name="connsiteY8445" fmla="*/ 2393747 h 9250612"/>
                <a:gd name="connsiteX8446" fmla="*/ 2552390 w 6942639"/>
                <a:gd name="connsiteY8446" fmla="*/ 2402689 h 9250612"/>
                <a:gd name="connsiteX8447" fmla="*/ 2543427 w 6942639"/>
                <a:gd name="connsiteY8447" fmla="*/ 2411652 h 9250612"/>
                <a:gd name="connsiteX8448" fmla="*/ 2534452 w 6942639"/>
                <a:gd name="connsiteY8448" fmla="*/ 2402689 h 9250612"/>
                <a:gd name="connsiteX8449" fmla="*/ 2543427 w 6942639"/>
                <a:gd name="connsiteY8449" fmla="*/ 2393747 h 9250612"/>
                <a:gd name="connsiteX8450" fmla="*/ 2374625 w 6942639"/>
                <a:gd name="connsiteY8450" fmla="*/ 2393747 h 9250612"/>
                <a:gd name="connsiteX8451" fmla="*/ 2383637 w 6942639"/>
                <a:gd name="connsiteY8451" fmla="*/ 2402691 h 9250612"/>
                <a:gd name="connsiteX8452" fmla="*/ 2374625 w 6942639"/>
                <a:gd name="connsiteY8452" fmla="*/ 2411652 h 9250612"/>
                <a:gd name="connsiteX8453" fmla="*/ 2365661 w 6942639"/>
                <a:gd name="connsiteY8453" fmla="*/ 2402691 h 9250612"/>
                <a:gd name="connsiteX8454" fmla="*/ 2374625 w 6942639"/>
                <a:gd name="connsiteY8454" fmla="*/ 2393747 h 9250612"/>
                <a:gd name="connsiteX8455" fmla="*/ 2205927 w 6942639"/>
                <a:gd name="connsiteY8455" fmla="*/ 2393747 h 9250612"/>
                <a:gd name="connsiteX8456" fmla="*/ 2214883 w 6942639"/>
                <a:gd name="connsiteY8456" fmla="*/ 2402691 h 9250612"/>
                <a:gd name="connsiteX8457" fmla="*/ 2205927 w 6942639"/>
                <a:gd name="connsiteY8457" fmla="*/ 2411652 h 9250612"/>
                <a:gd name="connsiteX8458" fmla="*/ 2196929 w 6942639"/>
                <a:gd name="connsiteY8458" fmla="*/ 2402691 h 9250612"/>
                <a:gd name="connsiteX8459" fmla="*/ 2205927 w 6942639"/>
                <a:gd name="connsiteY8459" fmla="*/ 2393747 h 9250612"/>
                <a:gd name="connsiteX8460" fmla="*/ 2037178 w 6942639"/>
                <a:gd name="connsiteY8460" fmla="*/ 2393747 h 9250612"/>
                <a:gd name="connsiteX8461" fmla="*/ 2046122 w 6942639"/>
                <a:gd name="connsiteY8461" fmla="*/ 2402691 h 9250612"/>
                <a:gd name="connsiteX8462" fmla="*/ 2037178 w 6942639"/>
                <a:gd name="connsiteY8462" fmla="*/ 2411655 h 9250612"/>
                <a:gd name="connsiteX8463" fmla="*/ 2028246 w 6942639"/>
                <a:gd name="connsiteY8463" fmla="*/ 2402691 h 9250612"/>
                <a:gd name="connsiteX8464" fmla="*/ 2037178 w 6942639"/>
                <a:gd name="connsiteY8464" fmla="*/ 2393747 h 9250612"/>
                <a:gd name="connsiteX8465" fmla="*/ 1868478 w 6942639"/>
                <a:gd name="connsiteY8465" fmla="*/ 2393747 h 9250612"/>
                <a:gd name="connsiteX8466" fmla="*/ 1877426 w 6942639"/>
                <a:gd name="connsiteY8466" fmla="*/ 2402691 h 9250612"/>
                <a:gd name="connsiteX8467" fmla="*/ 1868478 w 6942639"/>
                <a:gd name="connsiteY8467" fmla="*/ 2411655 h 9250612"/>
                <a:gd name="connsiteX8468" fmla="*/ 1859501 w 6942639"/>
                <a:gd name="connsiteY8468" fmla="*/ 2402691 h 9250612"/>
                <a:gd name="connsiteX8469" fmla="*/ 1868478 w 6942639"/>
                <a:gd name="connsiteY8469" fmla="*/ 2393747 h 9250612"/>
                <a:gd name="connsiteX8470" fmla="*/ 1699727 w 6942639"/>
                <a:gd name="connsiteY8470" fmla="*/ 2393747 h 9250612"/>
                <a:gd name="connsiteX8471" fmla="*/ 1708695 w 6942639"/>
                <a:gd name="connsiteY8471" fmla="*/ 2402691 h 9250612"/>
                <a:gd name="connsiteX8472" fmla="*/ 1699727 w 6942639"/>
                <a:gd name="connsiteY8472" fmla="*/ 2411655 h 9250612"/>
                <a:gd name="connsiteX8473" fmla="*/ 1690757 w 6942639"/>
                <a:gd name="connsiteY8473" fmla="*/ 2402691 h 9250612"/>
                <a:gd name="connsiteX8474" fmla="*/ 1699727 w 6942639"/>
                <a:gd name="connsiteY8474" fmla="*/ 2393747 h 9250612"/>
                <a:gd name="connsiteX8475" fmla="*/ 1530983 w 6942639"/>
                <a:gd name="connsiteY8475" fmla="*/ 2393747 h 9250612"/>
                <a:gd name="connsiteX8476" fmla="*/ 1539946 w 6942639"/>
                <a:gd name="connsiteY8476" fmla="*/ 2402691 h 9250612"/>
                <a:gd name="connsiteX8477" fmla="*/ 1530983 w 6942639"/>
                <a:gd name="connsiteY8477" fmla="*/ 2411655 h 9250612"/>
                <a:gd name="connsiteX8478" fmla="*/ 1522021 w 6942639"/>
                <a:gd name="connsiteY8478" fmla="*/ 2402691 h 9250612"/>
                <a:gd name="connsiteX8479" fmla="*/ 1530983 w 6942639"/>
                <a:gd name="connsiteY8479" fmla="*/ 2393747 h 9250612"/>
                <a:gd name="connsiteX8480" fmla="*/ 1362231 w 6942639"/>
                <a:gd name="connsiteY8480" fmla="*/ 2393747 h 9250612"/>
                <a:gd name="connsiteX8481" fmla="*/ 1371193 w 6942639"/>
                <a:gd name="connsiteY8481" fmla="*/ 2402691 h 9250612"/>
                <a:gd name="connsiteX8482" fmla="*/ 1362231 w 6942639"/>
                <a:gd name="connsiteY8482" fmla="*/ 2411655 h 9250612"/>
                <a:gd name="connsiteX8483" fmla="*/ 1353270 w 6942639"/>
                <a:gd name="connsiteY8483" fmla="*/ 2402691 h 9250612"/>
                <a:gd name="connsiteX8484" fmla="*/ 1362231 w 6942639"/>
                <a:gd name="connsiteY8484" fmla="*/ 2393747 h 9250612"/>
                <a:gd name="connsiteX8485" fmla="*/ 4568137 w 6942639"/>
                <a:gd name="connsiteY8485" fmla="*/ 2393745 h 9250612"/>
                <a:gd name="connsiteX8486" fmla="*/ 4577098 w 6942639"/>
                <a:gd name="connsiteY8486" fmla="*/ 2402687 h 9250612"/>
                <a:gd name="connsiteX8487" fmla="*/ 4568137 w 6942639"/>
                <a:gd name="connsiteY8487" fmla="*/ 2411650 h 9250612"/>
                <a:gd name="connsiteX8488" fmla="*/ 4559177 w 6942639"/>
                <a:gd name="connsiteY8488" fmla="*/ 2402687 h 9250612"/>
                <a:gd name="connsiteX8489" fmla="*/ 4568137 w 6942639"/>
                <a:gd name="connsiteY8489" fmla="*/ 2393745 h 9250612"/>
                <a:gd name="connsiteX8490" fmla="*/ 4399396 w 6942639"/>
                <a:gd name="connsiteY8490" fmla="*/ 2393745 h 9250612"/>
                <a:gd name="connsiteX8491" fmla="*/ 4408357 w 6942639"/>
                <a:gd name="connsiteY8491" fmla="*/ 2402687 h 9250612"/>
                <a:gd name="connsiteX8492" fmla="*/ 4399396 w 6942639"/>
                <a:gd name="connsiteY8492" fmla="*/ 2411650 h 9250612"/>
                <a:gd name="connsiteX8493" fmla="*/ 4390436 w 6942639"/>
                <a:gd name="connsiteY8493" fmla="*/ 2402687 h 9250612"/>
                <a:gd name="connsiteX8494" fmla="*/ 4399396 w 6942639"/>
                <a:gd name="connsiteY8494" fmla="*/ 2393745 h 9250612"/>
                <a:gd name="connsiteX8495" fmla="*/ 4230654 w 6942639"/>
                <a:gd name="connsiteY8495" fmla="*/ 2393745 h 9250612"/>
                <a:gd name="connsiteX8496" fmla="*/ 4239615 w 6942639"/>
                <a:gd name="connsiteY8496" fmla="*/ 2402687 h 9250612"/>
                <a:gd name="connsiteX8497" fmla="*/ 4230654 w 6942639"/>
                <a:gd name="connsiteY8497" fmla="*/ 2411651 h 9250612"/>
                <a:gd name="connsiteX8498" fmla="*/ 4221694 w 6942639"/>
                <a:gd name="connsiteY8498" fmla="*/ 2402687 h 9250612"/>
                <a:gd name="connsiteX8499" fmla="*/ 4230654 w 6942639"/>
                <a:gd name="connsiteY8499" fmla="*/ 2393745 h 9250612"/>
                <a:gd name="connsiteX8500" fmla="*/ 4061912 w 6942639"/>
                <a:gd name="connsiteY8500" fmla="*/ 2393745 h 9250612"/>
                <a:gd name="connsiteX8501" fmla="*/ 4070873 w 6942639"/>
                <a:gd name="connsiteY8501" fmla="*/ 2402689 h 9250612"/>
                <a:gd name="connsiteX8502" fmla="*/ 4061912 w 6942639"/>
                <a:gd name="connsiteY8502" fmla="*/ 2411651 h 9250612"/>
                <a:gd name="connsiteX8503" fmla="*/ 4052952 w 6942639"/>
                <a:gd name="connsiteY8503" fmla="*/ 2402689 h 9250612"/>
                <a:gd name="connsiteX8504" fmla="*/ 4061912 w 6942639"/>
                <a:gd name="connsiteY8504" fmla="*/ 2393745 h 9250612"/>
                <a:gd name="connsiteX8505" fmla="*/ 3893170 w 6942639"/>
                <a:gd name="connsiteY8505" fmla="*/ 2393745 h 9250612"/>
                <a:gd name="connsiteX8506" fmla="*/ 3902131 w 6942639"/>
                <a:gd name="connsiteY8506" fmla="*/ 2402689 h 9250612"/>
                <a:gd name="connsiteX8507" fmla="*/ 3893170 w 6942639"/>
                <a:gd name="connsiteY8507" fmla="*/ 2411651 h 9250612"/>
                <a:gd name="connsiteX8508" fmla="*/ 3884210 w 6942639"/>
                <a:gd name="connsiteY8508" fmla="*/ 2402689 h 9250612"/>
                <a:gd name="connsiteX8509" fmla="*/ 3893170 w 6942639"/>
                <a:gd name="connsiteY8509" fmla="*/ 2393745 h 9250612"/>
                <a:gd name="connsiteX8510" fmla="*/ 3724429 w 6942639"/>
                <a:gd name="connsiteY8510" fmla="*/ 2393745 h 9250612"/>
                <a:gd name="connsiteX8511" fmla="*/ 3733390 w 6942639"/>
                <a:gd name="connsiteY8511" fmla="*/ 2402689 h 9250612"/>
                <a:gd name="connsiteX8512" fmla="*/ 3724429 w 6942639"/>
                <a:gd name="connsiteY8512" fmla="*/ 2411651 h 9250612"/>
                <a:gd name="connsiteX8513" fmla="*/ 3715469 w 6942639"/>
                <a:gd name="connsiteY8513" fmla="*/ 2402689 h 9250612"/>
                <a:gd name="connsiteX8514" fmla="*/ 3724429 w 6942639"/>
                <a:gd name="connsiteY8514" fmla="*/ 2393745 h 9250612"/>
                <a:gd name="connsiteX8515" fmla="*/ 3555688 w 6942639"/>
                <a:gd name="connsiteY8515" fmla="*/ 2393745 h 9250612"/>
                <a:gd name="connsiteX8516" fmla="*/ 3564649 w 6942639"/>
                <a:gd name="connsiteY8516" fmla="*/ 2402689 h 9250612"/>
                <a:gd name="connsiteX8517" fmla="*/ 3555688 w 6942639"/>
                <a:gd name="connsiteY8517" fmla="*/ 2411651 h 9250612"/>
                <a:gd name="connsiteX8518" fmla="*/ 3546728 w 6942639"/>
                <a:gd name="connsiteY8518" fmla="*/ 2402689 h 9250612"/>
                <a:gd name="connsiteX8519" fmla="*/ 3555688 w 6942639"/>
                <a:gd name="connsiteY8519" fmla="*/ 2393745 h 9250612"/>
                <a:gd name="connsiteX8520" fmla="*/ 3387058 w 6942639"/>
                <a:gd name="connsiteY8520" fmla="*/ 2393745 h 9250612"/>
                <a:gd name="connsiteX8521" fmla="*/ 3396028 w 6942639"/>
                <a:gd name="connsiteY8521" fmla="*/ 2402689 h 9250612"/>
                <a:gd name="connsiteX8522" fmla="*/ 3387058 w 6942639"/>
                <a:gd name="connsiteY8522" fmla="*/ 2411651 h 9250612"/>
                <a:gd name="connsiteX8523" fmla="*/ 3378047 w 6942639"/>
                <a:gd name="connsiteY8523" fmla="*/ 2402689 h 9250612"/>
                <a:gd name="connsiteX8524" fmla="*/ 3387058 w 6942639"/>
                <a:gd name="connsiteY8524" fmla="*/ 2393745 h 9250612"/>
                <a:gd name="connsiteX8525" fmla="*/ 3218301 w 6942639"/>
                <a:gd name="connsiteY8525" fmla="*/ 2393745 h 9250612"/>
                <a:gd name="connsiteX8526" fmla="*/ 3227279 w 6942639"/>
                <a:gd name="connsiteY8526" fmla="*/ 2402689 h 9250612"/>
                <a:gd name="connsiteX8527" fmla="*/ 3218301 w 6942639"/>
                <a:gd name="connsiteY8527" fmla="*/ 2411652 h 9250612"/>
                <a:gd name="connsiteX8528" fmla="*/ 3209330 w 6942639"/>
                <a:gd name="connsiteY8528" fmla="*/ 2402689 h 9250612"/>
                <a:gd name="connsiteX8529" fmla="*/ 3218301 w 6942639"/>
                <a:gd name="connsiteY8529" fmla="*/ 2393745 h 9250612"/>
                <a:gd name="connsiteX8530" fmla="*/ 3049600 w 6942639"/>
                <a:gd name="connsiteY8530" fmla="*/ 2393745 h 9250612"/>
                <a:gd name="connsiteX8531" fmla="*/ 3058549 w 6942639"/>
                <a:gd name="connsiteY8531" fmla="*/ 2402689 h 9250612"/>
                <a:gd name="connsiteX8532" fmla="*/ 3049600 w 6942639"/>
                <a:gd name="connsiteY8532" fmla="*/ 2411652 h 9250612"/>
                <a:gd name="connsiteX8533" fmla="*/ 3040630 w 6942639"/>
                <a:gd name="connsiteY8533" fmla="*/ 2402689 h 9250612"/>
                <a:gd name="connsiteX8534" fmla="*/ 3049600 w 6942639"/>
                <a:gd name="connsiteY8534" fmla="*/ 2393745 h 9250612"/>
                <a:gd name="connsiteX8535" fmla="*/ 2880876 w 6942639"/>
                <a:gd name="connsiteY8535" fmla="*/ 2393745 h 9250612"/>
                <a:gd name="connsiteX8536" fmla="*/ 2889834 w 6942639"/>
                <a:gd name="connsiteY8536" fmla="*/ 2402689 h 9250612"/>
                <a:gd name="connsiteX8537" fmla="*/ 2880876 w 6942639"/>
                <a:gd name="connsiteY8537" fmla="*/ 2411652 h 9250612"/>
                <a:gd name="connsiteX8538" fmla="*/ 2871920 w 6942639"/>
                <a:gd name="connsiteY8538" fmla="*/ 2402689 h 9250612"/>
                <a:gd name="connsiteX8539" fmla="*/ 2880876 w 6942639"/>
                <a:gd name="connsiteY8539" fmla="*/ 2393745 h 9250612"/>
                <a:gd name="connsiteX8540" fmla="*/ 6086811 w 6942639"/>
                <a:gd name="connsiteY8540" fmla="*/ 2393744 h 9250612"/>
                <a:gd name="connsiteX8541" fmla="*/ 6095772 w 6942639"/>
                <a:gd name="connsiteY8541" fmla="*/ 2402685 h 9250612"/>
                <a:gd name="connsiteX8542" fmla="*/ 6086811 w 6942639"/>
                <a:gd name="connsiteY8542" fmla="*/ 2411648 h 9250612"/>
                <a:gd name="connsiteX8543" fmla="*/ 6077851 w 6942639"/>
                <a:gd name="connsiteY8543" fmla="*/ 2402685 h 9250612"/>
                <a:gd name="connsiteX8544" fmla="*/ 6086811 w 6942639"/>
                <a:gd name="connsiteY8544" fmla="*/ 2393744 h 9250612"/>
                <a:gd name="connsiteX8545" fmla="*/ 5918069 w 6942639"/>
                <a:gd name="connsiteY8545" fmla="*/ 2393744 h 9250612"/>
                <a:gd name="connsiteX8546" fmla="*/ 5927030 w 6942639"/>
                <a:gd name="connsiteY8546" fmla="*/ 2402685 h 9250612"/>
                <a:gd name="connsiteX8547" fmla="*/ 5918069 w 6942639"/>
                <a:gd name="connsiteY8547" fmla="*/ 2411648 h 9250612"/>
                <a:gd name="connsiteX8548" fmla="*/ 5909109 w 6942639"/>
                <a:gd name="connsiteY8548" fmla="*/ 2402685 h 9250612"/>
                <a:gd name="connsiteX8549" fmla="*/ 5918069 w 6942639"/>
                <a:gd name="connsiteY8549" fmla="*/ 2393744 h 9250612"/>
                <a:gd name="connsiteX8550" fmla="*/ 5749328 w 6942639"/>
                <a:gd name="connsiteY8550" fmla="*/ 2393744 h 9250612"/>
                <a:gd name="connsiteX8551" fmla="*/ 5758289 w 6942639"/>
                <a:gd name="connsiteY8551" fmla="*/ 2402687 h 9250612"/>
                <a:gd name="connsiteX8552" fmla="*/ 5749328 w 6942639"/>
                <a:gd name="connsiteY8552" fmla="*/ 2411648 h 9250612"/>
                <a:gd name="connsiteX8553" fmla="*/ 5740368 w 6942639"/>
                <a:gd name="connsiteY8553" fmla="*/ 2402687 h 9250612"/>
                <a:gd name="connsiteX8554" fmla="*/ 5749328 w 6942639"/>
                <a:gd name="connsiteY8554" fmla="*/ 2393744 h 9250612"/>
                <a:gd name="connsiteX8555" fmla="*/ 5580586 w 6942639"/>
                <a:gd name="connsiteY8555" fmla="*/ 2393744 h 9250612"/>
                <a:gd name="connsiteX8556" fmla="*/ 5589547 w 6942639"/>
                <a:gd name="connsiteY8556" fmla="*/ 2402687 h 9250612"/>
                <a:gd name="connsiteX8557" fmla="*/ 5580586 w 6942639"/>
                <a:gd name="connsiteY8557" fmla="*/ 2411648 h 9250612"/>
                <a:gd name="connsiteX8558" fmla="*/ 5571626 w 6942639"/>
                <a:gd name="connsiteY8558" fmla="*/ 2402687 h 9250612"/>
                <a:gd name="connsiteX8559" fmla="*/ 5580586 w 6942639"/>
                <a:gd name="connsiteY8559" fmla="*/ 2393744 h 9250612"/>
                <a:gd name="connsiteX8560" fmla="*/ 5411845 w 6942639"/>
                <a:gd name="connsiteY8560" fmla="*/ 2393744 h 9250612"/>
                <a:gd name="connsiteX8561" fmla="*/ 5420806 w 6942639"/>
                <a:gd name="connsiteY8561" fmla="*/ 2402687 h 9250612"/>
                <a:gd name="connsiteX8562" fmla="*/ 5411845 w 6942639"/>
                <a:gd name="connsiteY8562" fmla="*/ 2411650 h 9250612"/>
                <a:gd name="connsiteX8563" fmla="*/ 5402885 w 6942639"/>
                <a:gd name="connsiteY8563" fmla="*/ 2402687 h 9250612"/>
                <a:gd name="connsiteX8564" fmla="*/ 5411845 w 6942639"/>
                <a:gd name="connsiteY8564" fmla="*/ 2393744 h 9250612"/>
                <a:gd name="connsiteX8565" fmla="*/ 5243103 w 6942639"/>
                <a:gd name="connsiteY8565" fmla="*/ 2393744 h 9250612"/>
                <a:gd name="connsiteX8566" fmla="*/ 5252064 w 6942639"/>
                <a:gd name="connsiteY8566" fmla="*/ 2402687 h 9250612"/>
                <a:gd name="connsiteX8567" fmla="*/ 5243103 w 6942639"/>
                <a:gd name="connsiteY8567" fmla="*/ 2411650 h 9250612"/>
                <a:gd name="connsiteX8568" fmla="*/ 5234143 w 6942639"/>
                <a:gd name="connsiteY8568" fmla="*/ 2402687 h 9250612"/>
                <a:gd name="connsiteX8569" fmla="*/ 5243103 w 6942639"/>
                <a:gd name="connsiteY8569" fmla="*/ 2393744 h 9250612"/>
                <a:gd name="connsiteX8570" fmla="*/ 5074362 w 6942639"/>
                <a:gd name="connsiteY8570" fmla="*/ 2393744 h 9250612"/>
                <a:gd name="connsiteX8571" fmla="*/ 5083323 w 6942639"/>
                <a:gd name="connsiteY8571" fmla="*/ 2402687 h 9250612"/>
                <a:gd name="connsiteX8572" fmla="*/ 5074362 w 6942639"/>
                <a:gd name="connsiteY8572" fmla="*/ 2411650 h 9250612"/>
                <a:gd name="connsiteX8573" fmla="*/ 5065402 w 6942639"/>
                <a:gd name="connsiteY8573" fmla="*/ 2402687 h 9250612"/>
                <a:gd name="connsiteX8574" fmla="*/ 5074362 w 6942639"/>
                <a:gd name="connsiteY8574" fmla="*/ 2393744 h 9250612"/>
                <a:gd name="connsiteX8575" fmla="*/ 4905620 w 6942639"/>
                <a:gd name="connsiteY8575" fmla="*/ 2393744 h 9250612"/>
                <a:gd name="connsiteX8576" fmla="*/ 4914581 w 6942639"/>
                <a:gd name="connsiteY8576" fmla="*/ 2402687 h 9250612"/>
                <a:gd name="connsiteX8577" fmla="*/ 4905620 w 6942639"/>
                <a:gd name="connsiteY8577" fmla="*/ 2411650 h 9250612"/>
                <a:gd name="connsiteX8578" fmla="*/ 4896660 w 6942639"/>
                <a:gd name="connsiteY8578" fmla="*/ 2402687 h 9250612"/>
                <a:gd name="connsiteX8579" fmla="*/ 4905620 w 6942639"/>
                <a:gd name="connsiteY8579" fmla="*/ 2393744 h 9250612"/>
                <a:gd name="connsiteX8580" fmla="*/ 4736878 w 6942639"/>
                <a:gd name="connsiteY8580" fmla="*/ 2393744 h 9250612"/>
                <a:gd name="connsiteX8581" fmla="*/ 4745839 w 6942639"/>
                <a:gd name="connsiteY8581" fmla="*/ 2402687 h 9250612"/>
                <a:gd name="connsiteX8582" fmla="*/ 4736878 w 6942639"/>
                <a:gd name="connsiteY8582" fmla="*/ 2411650 h 9250612"/>
                <a:gd name="connsiteX8583" fmla="*/ 4727918 w 6942639"/>
                <a:gd name="connsiteY8583" fmla="*/ 2402687 h 9250612"/>
                <a:gd name="connsiteX8584" fmla="*/ 4736878 w 6942639"/>
                <a:gd name="connsiteY8584" fmla="*/ 2393744 h 9250612"/>
                <a:gd name="connsiteX8585" fmla="*/ 6933679 w 6942639"/>
                <a:gd name="connsiteY8585" fmla="*/ 2393742 h 9250612"/>
                <a:gd name="connsiteX8586" fmla="*/ 6942639 w 6942639"/>
                <a:gd name="connsiteY8586" fmla="*/ 2402685 h 9250612"/>
                <a:gd name="connsiteX8587" fmla="*/ 6933679 w 6942639"/>
                <a:gd name="connsiteY8587" fmla="*/ 2411648 h 9250612"/>
                <a:gd name="connsiteX8588" fmla="*/ 6924718 w 6942639"/>
                <a:gd name="connsiteY8588" fmla="*/ 2402685 h 9250612"/>
                <a:gd name="connsiteX8589" fmla="*/ 6933679 w 6942639"/>
                <a:gd name="connsiteY8589" fmla="*/ 2393742 h 9250612"/>
                <a:gd name="connsiteX8590" fmla="*/ 6763357 w 6942639"/>
                <a:gd name="connsiteY8590" fmla="*/ 2393742 h 9250612"/>
                <a:gd name="connsiteX8591" fmla="*/ 6772318 w 6942639"/>
                <a:gd name="connsiteY8591" fmla="*/ 2402685 h 9250612"/>
                <a:gd name="connsiteX8592" fmla="*/ 6763357 w 6942639"/>
                <a:gd name="connsiteY8592" fmla="*/ 2411648 h 9250612"/>
                <a:gd name="connsiteX8593" fmla="*/ 6754397 w 6942639"/>
                <a:gd name="connsiteY8593" fmla="*/ 2402685 h 9250612"/>
                <a:gd name="connsiteX8594" fmla="*/ 6763357 w 6942639"/>
                <a:gd name="connsiteY8594" fmla="*/ 2393742 h 9250612"/>
                <a:gd name="connsiteX8595" fmla="*/ 6593035 w 6942639"/>
                <a:gd name="connsiteY8595" fmla="*/ 2393742 h 9250612"/>
                <a:gd name="connsiteX8596" fmla="*/ 6601996 w 6942639"/>
                <a:gd name="connsiteY8596" fmla="*/ 2402685 h 9250612"/>
                <a:gd name="connsiteX8597" fmla="*/ 6593035 w 6942639"/>
                <a:gd name="connsiteY8597" fmla="*/ 2411648 h 9250612"/>
                <a:gd name="connsiteX8598" fmla="*/ 6584075 w 6942639"/>
                <a:gd name="connsiteY8598" fmla="*/ 2402685 h 9250612"/>
                <a:gd name="connsiteX8599" fmla="*/ 6593035 w 6942639"/>
                <a:gd name="connsiteY8599" fmla="*/ 2393742 h 9250612"/>
                <a:gd name="connsiteX8600" fmla="*/ 6424294 w 6942639"/>
                <a:gd name="connsiteY8600" fmla="*/ 2393742 h 9250612"/>
                <a:gd name="connsiteX8601" fmla="*/ 6433255 w 6942639"/>
                <a:gd name="connsiteY8601" fmla="*/ 2402685 h 9250612"/>
                <a:gd name="connsiteX8602" fmla="*/ 6424294 w 6942639"/>
                <a:gd name="connsiteY8602" fmla="*/ 2411648 h 9250612"/>
                <a:gd name="connsiteX8603" fmla="*/ 6415334 w 6942639"/>
                <a:gd name="connsiteY8603" fmla="*/ 2402685 h 9250612"/>
                <a:gd name="connsiteX8604" fmla="*/ 6424294 w 6942639"/>
                <a:gd name="connsiteY8604" fmla="*/ 2393742 h 9250612"/>
                <a:gd name="connsiteX8605" fmla="*/ 6255553 w 6942639"/>
                <a:gd name="connsiteY8605" fmla="*/ 2393742 h 9250612"/>
                <a:gd name="connsiteX8606" fmla="*/ 6264514 w 6942639"/>
                <a:gd name="connsiteY8606" fmla="*/ 2402685 h 9250612"/>
                <a:gd name="connsiteX8607" fmla="*/ 6255553 w 6942639"/>
                <a:gd name="connsiteY8607" fmla="*/ 2411648 h 9250612"/>
                <a:gd name="connsiteX8608" fmla="*/ 6246593 w 6942639"/>
                <a:gd name="connsiteY8608" fmla="*/ 2402685 h 9250612"/>
                <a:gd name="connsiteX8609" fmla="*/ 6255553 w 6942639"/>
                <a:gd name="connsiteY8609" fmla="*/ 2393742 h 9250612"/>
                <a:gd name="connsiteX8610" fmla="*/ 349762 w 6942639"/>
                <a:gd name="connsiteY8610" fmla="*/ 2222777 h 9250612"/>
                <a:gd name="connsiteX8611" fmla="*/ 358723 w 6942639"/>
                <a:gd name="connsiteY8611" fmla="*/ 2231737 h 9250612"/>
                <a:gd name="connsiteX8612" fmla="*/ 349762 w 6942639"/>
                <a:gd name="connsiteY8612" fmla="*/ 2240696 h 9250612"/>
                <a:gd name="connsiteX8613" fmla="*/ 340803 w 6942639"/>
                <a:gd name="connsiteY8613" fmla="*/ 2231737 h 9250612"/>
                <a:gd name="connsiteX8614" fmla="*/ 349762 w 6942639"/>
                <a:gd name="connsiteY8614" fmla="*/ 2222777 h 9250612"/>
                <a:gd name="connsiteX8615" fmla="*/ 518500 w 6942639"/>
                <a:gd name="connsiteY8615" fmla="*/ 2222777 h 9250612"/>
                <a:gd name="connsiteX8616" fmla="*/ 527460 w 6942639"/>
                <a:gd name="connsiteY8616" fmla="*/ 2231736 h 9250612"/>
                <a:gd name="connsiteX8617" fmla="*/ 518500 w 6942639"/>
                <a:gd name="connsiteY8617" fmla="*/ 2240695 h 9250612"/>
                <a:gd name="connsiteX8618" fmla="*/ 509539 w 6942639"/>
                <a:gd name="connsiteY8618" fmla="*/ 2231736 h 9250612"/>
                <a:gd name="connsiteX8619" fmla="*/ 518500 w 6942639"/>
                <a:gd name="connsiteY8619" fmla="*/ 2222777 h 9250612"/>
                <a:gd name="connsiteX8620" fmla="*/ 179445 w 6942639"/>
                <a:gd name="connsiteY8620" fmla="*/ 2222777 h 9250612"/>
                <a:gd name="connsiteX8621" fmla="*/ 188406 w 6942639"/>
                <a:gd name="connsiteY8621" fmla="*/ 2231736 h 9250612"/>
                <a:gd name="connsiteX8622" fmla="*/ 179445 w 6942639"/>
                <a:gd name="connsiteY8622" fmla="*/ 2240696 h 9250612"/>
                <a:gd name="connsiteX8623" fmla="*/ 170485 w 6942639"/>
                <a:gd name="connsiteY8623" fmla="*/ 2231736 h 9250612"/>
                <a:gd name="connsiteX8624" fmla="*/ 179445 w 6942639"/>
                <a:gd name="connsiteY8624" fmla="*/ 2222777 h 9250612"/>
                <a:gd name="connsiteX8625" fmla="*/ 9130 w 6942639"/>
                <a:gd name="connsiteY8625" fmla="*/ 2222777 h 9250612"/>
                <a:gd name="connsiteX8626" fmla="*/ 18089 w 6942639"/>
                <a:gd name="connsiteY8626" fmla="*/ 2231736 h 9250612"/>
                <a:gd name="connsiteX8627" fmla="*/ 9130 w 6942639"/>
                <a:gd name="connsiteY8627" fmla="*/ 2240696 h 9250612"/>
                <a:gd name="connsiteX8628" fmla="*/ 169 w 6942639"/>
                <a:gd name="connsiteY8628" fmla="*/ 2231736 h 9250612"/>
                <a:gd name="connsiteX8629" fmla="*/ 9130 w 6942639"/>
                <a:gd name="connsiteY8629" fmla="*/ 2222777 h 9250612"/>
                <a:gd name="connsiteX8630" fmla="*/ 1024737 w 6942639"/>
                <a:gd name="connsiteY8630" fmla="*/ 2222776 h 9250612"/>
                <a:gd name="connsiteX8631" fmla="*/ 1033705 w 6942639"/>
                <a:gd name="connsiteY8631" fmla="*/ 2231735 h 9250612"/>
                <a:gd name="connsiteX8632" fmla="*/ 1024737 w 6942639"/>
                <a:gd name="connsiteY8632" fmla="*/ 2240695 h 9250612"/>
                <a:gd name="connsiteX8633" fmla="*/ 1015778 w 6942639"/>
                <a:gd name="connsiteY8633" fmla="*/ 2231735 h 9250612"/>
                <a:gd name="connsiteX8634" fmla="*/ 1024737 w 6942639"/>
                <a:gd name="connsiteY8634" fmla="*/ 2222776 h 9250612"/>
                <a:gd name="connsiteX8635" fmla="*/ 856013 w 6942639"/>
                <a:gd name="connsiteY8635" fmla="*/ 2222776 h 9250612"/>
                <a:gd name="connsiteX8636" fmla="*/ 864973 w 6942639"/>
                <a:gd name="connsiteY8636" fmla="*/ 2231735 h 9250612"/>
                <a:gd name="connsiteX8637" fmla="*/ 856013 w 6942639"/>
                <a:gd name="connsiteY8637" fmla="*/ 2240695 h 9250612"/>
                <a:gd name="connsiteX8638" fmla="*/ 847052 w 6942639"/>
                <a:gd name="connsiteY8638" fmla="*/ 2231735 h 9250612"/>
                <a:gd name="connsiteX8639" fmla="*/ 856013 w 6942639"/>
                <a:gd name="connsiteY8639" fmla="*/ 2222776 h 9250612"/>
                <a:gd name="connsiteX8640" fmla="*/ 687275 w 6942639"/>
                <a:gd name="connsiteY8640" fmla="*/ 2222776 h 9250612"/>
                <a:gd name="connsiteX8641" fmla="*/ 696235 w 6942639"/>
                <a:gd name="connsiteY8641" fmla="*/ 2231736 h 9250612"/>
                <a:gd name="connsiteX8642" fmla="*/ 687275 w 6942639"/>
                <a:gd name="connsiteY8642" fmla="*/ 2240695 h 9250612"/>
                <a:gd name="connsiteX8643" fmla="*/ 678316 w 6942639"/>
                <a:gd name="connsiteY8643" fmla="*/ 2231736 h 9250612"/>
                <a:gd name="connsiteX8644" fmla="*/ 687275 w 6942639"/>
                <a:gd name="connsiteY8644" fmla="*/ 2222776 h 9250612"/>
                <a:gd name="connsiteX8645" fmla="*/ 1193493 w 6942639"/>
                <a:gd name="connsiteY8645" fmla="*/ 2222776 h 9250612"/>
                <a:gd name="connsiteX8646" fmla="*/ 1202454 w 6942639"/>
                <a:gd name="connsiteY8646" fmla="*/ 2231735 h 9250612"/>
                <a:gd name="connsiteX8647" fmla="*/ 1193493 w 6942639"/>
                <a:gd name="connsiteY8647" fmla="*/ 2240694 h 9250612"/>
                <a:gd name="connsiteX8648" fmla="*/ 1184536 w 6942639"/>
                <a:gd name="connsiteY8648" fmla="*/ 2231735 h 9250612"/>
                <a:gd name="connsiteX8649" fmla="*/ 1193493 w 6942639"/>
                <a:gd name="connsiteY8649" fmla="*/ 2222776 h 9250612"/>
                <a:gd name="connsiteX8650" fmla="*/ 1699732 w 6942639"/>
                <a:gd name="connsiteY8650" fmla="*/ 2222776 h 9250612"/>
                <a:gd name="connsiteX8651" fmla="*/ 1708699 w 6942639"/>
                <a:gd name="connsiteY8651" fmla="*/ 2231735 h 9250612"/>
                <a:gd name="connsiteX8652" fmla="*/ 1699732 w 6942639"/>
                <a:gd name="connsiteY8652" fmla="*/ 2240694 h 9250612"/>
                <a:gd name="connsiteX8653" fmla="*/ 1690761 w 6942639"/>
                <a:gd name="connsiteY8653" fmla="*/ 2231735 h 9250612"/>
                <a:gd name="connsiteX8654" fmla="*/ 1699732 w 6942639"/>
                <a:gd name="connsiteY8654" fmla="*/ 2222776 h 9250612"/>
                <a:gd name="connsiteX8655" fmla="*/ 1530988 w 6942639"/>
                <a:gd name="connsiteY8655" fmla="*/ 2222776 h 9250612"/>
                <a:gd name="connsiteX8656" fmla="*/ 1539950 w 6942639"/>
                <a:gd name="connsiteY8656" fmla="*/ 2231735 h 9250612"/>
                <a:gd name="connsiteX8657" fmla="*/ 1530988 w 6942639"/>
                <a:gd name="connsiteY8657" fmla="*/ 2240694 h 9250612"/>
                <a:gd name="connsiteX8658" fmla="*/ 1522026 w 6942639"/>
                <a:gd name="connsiteY8658" fmla="*/ 2231735 h 9250612"/>
                <a:gd name="connsiteX8659" fmla="*/ 1530988 w 6942639"/>
                <a:gd name="connsiteY8659" fmla="*/ 2222776 h 9250612"/>
                <a:gd name="connsiteX8660" fmla="*/ 1362235 w 6942639"/>
                <a:gd name="connsiteY8660" fmla="*/ 2222776 h 9250612"/>
                <a:gd name="connsiteX8661" fmla="*/ 1371197 w 6942639"/>
                <a:gd name="connsiteY8661" fmla="*/ 2231735 h 9250612"/>
                <a:gd name="connsiteX8662" fmla="*/ 1362235 w 6942639"/>
                <a:gd name="connsiteY8662" fmla="*/ 2240694 h 9250612"/>
                <a:gd name="connsiteX8663" fmla="*/ 1353274 w 6942639"/>
                <a:gd name="connsiteY8663" fmla="*/ 2231735 h 9250612"/>
                <a:gd name="connsiteX8664" fmla="*/ 1362235 w 6942639"/>
                <a:gd name="connsiteY8664" fmla="*/ 2222776 h 9250612"/>
                <a:gd name="connsiteX8665" fmla="*/ 2205930 w 6942639"/>
                <a:gd name="connsiteY8665" fmla="*/ 2222775 h 9250612"/>
                <a:gd name="connsiteX8666" fmla="*/ 2214887 w 6942639"/>
                <a:gd name="connsiteY8666" fmla="*/ 2231734 h 9250612"/>
                <a:gd name="connsiteX8667" fmla="*/ 2205930 w 6942639"/>
                <a:gd name="connsiteY8667" fmla="*/ 2240693 h 9250612"/>
                <a:gd name="connsiteX8668" fmla="*/ 2196933 w 6942639"/>
                <a:gd name="connsiteY8668" fmla="*/ 2231734 h 9250612"/>
                <a:gd name="connsiteX8669" fmla="*/ 2205930 w 6942639"/>
                <a:gd name="connsiteY8669" fmla="*/ 2222775 h 9250612"/>
                <a:gd name="connsiteX8670" fmla="*/ 2037183 w 6942639"/>
                <a:gd name="connsiteY8670" fmla="*/ 2222775 h 9250612"/>
                <a:gd name="connsiteX8671" fmla="*/ 2046126 w 6942639"/>
                <a:gd name="connsiteY8671" fmla="*/ 2231734 h 9250612"/>
                <a:gd name="connsiteX8672" fmla="*/ 2037183 w 6942639"/>
                <a:gd name="connsiteY8672" fmla="*/ 2240693 h 9250612"/>
                <a:gd name="connsiteX8673" fmla="*/ 2028251 w 6942639"/>
                <a:gd name="connsiteY8673" fmla="*/ 2231734 h 9250612"/>
                <a:gd name="connsiteX8674" fmla="*/ 2037183 w 6942639"/>
                <a:gd name="connsiteY8674" fmla="*/ 2222775 h 9250612"/>
                <a:gd name="connsiteX8675" fmla="*/ 1868484 w 6942639"/>
                <a:gd name="connsiteY8675" fmla="*/ 2222775 h 9250612"/>
                <a:gd name="connsiteX8676" fmla="*/ 1877430 w 6942639"/>
                <a:gd name="connsiteY8676" fmla="*/ 2231735 h 9250612"/>
                <a:gd name="connsiteX8677" fmla="*/ 1868484 w 6942639"/>
                <a:gd name="connsiteY8677" fmla="*/ 2240693 h 9250612"/>
                <a:gd name="connsiteX8678" fmla="*/ 1859506 w 6942639"/>
                <a:gd name="connsiteY8678" fmla="*/ 2231735 h 9250612"/>
                <a:gd name="connsiteX8679" fmla="*/ 1868484 w 6942639"/>
                <a:gd name="connsiteY8679" fmla="*/ 2222775 h 9250612"/>
                <a:gd name="connsiteX8680" fmla="*/ 2374628 w 6942639"/>
                <a:gd name="connsiteY8680" fmla="*/ 2222775 h 9250612"/>
                <a:gd name="connsiteX8681" fmla="*/ 2383642 w 6942639"/>
                <a:gd name="connsiteY8681" fmla="*/ 2231734 h 9250612"/>
                <a:gd name="connsiteX8682" fmla="*/ 2374628 w 6942639"/>
                <a:gd name="connsiteY8682" fmla="*/ 2240693 h 9250612"/>
                <a:gd name="connsiteX8683" fmla="*/ 2365664 w 6942639"/>
                <a:gd name="connsiteY8683" fmla="*/ 2231734 h 9250612"/>
                <a:gd name="connsiteX8684" fmla="*/ 2374628 w 6942639"/>
                <a:gd name="connsiteY8684" fmla="*/ 2222775 h 9250612"/>
                <a:gd name="connsiteX8685" fmla="*/ 2880881 w 6942639"/>
                <a:gd name="connsiteY8685" fmla="*/ 2222774 h 9250612"/>
                <a:gd name="connsiteX8686" fmla="*/ 2889838 w 6942639"/>
                <a:gd name="connsiteY8686" fmla="*/ 2231733 h 9250612"/>
                <a:gd name="connsiteX8687" fmla="*/ 2880881 w 6942639"/>
                <a:gd name="connsiteY8687" fmla="*/ 2240693 h 9250612"/>
                <a:gd name="connsiteX8688" fmla="*/ 2871924 w 6942639"/>
                <a:gd name="connsiteY8688" fmla="*/ 2231733 h 9250612"/>
                <a:gd name="connsiteX8689" fmla="*/ 2880881 w 6942639"/>
                <a:gd name="connsiteY8689" fmla="*/ 2222774 h 9250612"/>
                <a:gd name="connsiteX8690" fmla="*/ 2712109 w 6942639"/>
                <a:gd name="connsiteY8690" fmla="*/ 2222774 h 9250612"/>
                <a:gd name="connsiteX8691" fmla="*/ 2721092 w 6942639"/>
                <a:gd name="connsiteY8691" fmla="*/ 2231734 h 9250612"/>
                <a:gd name="connsiteX8692" fmla="*/ 2712109 w 6942639"/>
                <a:gd name="connsiteY8692" fmla="*/ 2240693 h 9250612"/>
                <a:gd name="connsiteX8693" fmla="*/ 2703153 w 6942639"/>
                <a:gd name="connsiteY8693" fmla="*/ 2231734 h 9250612"/>
                <a:gd name="connsiteX8694" fmla="*/ 2712109 w 6942639"/>
                <a:gd name="connsiteY8694" fmla="*/ 2222774 h 9250612"/>
                <a:gd name="connsiteX8695" fmla="*/ 2543432 w 6942639"/>
                <a:gd name="connsiteY8695" fmla="*/ 2222774 h 9250612"/>
                <a:gd name="connsiteX8696" fmla="*/ 2552395 w 6942639"/>
                <a:gd name="connsiteY8696" fmla="*/ 2231734 h 9250612"/>
                <a:gd name="connsiteX8697" fmla="*/ 2543432 w 6942639"/>
                <a:gd name="connsiteY8697" fmla="*/ 2240693 h 9250612"/>
                <a:gd name="connsiteX8698" fmla="*/ 2534456 w 6942639"/>
                <a:gd name="connsiteY8698" fmla="*/ 2231734 h 9250612"/>
                <a:gd name="connsiteX8699" fmla="*/ 2543432 w 6942639"/>
                <a:gd name="connsiteY8699" fmla="*/ 2222774 h 9250612"/>
                <a:gd name="connsiteX8700" fmla="*/ 3049603 w 6942639"/>
                <a:gd name="connsiteY8700" fmla="*/ 2222774 h 9250612"/>
                <a:gd name="connsiteX8701" fmla="*/ 3058553 w 6942639"/>
                <a:gd name="connsiteY8701" fmla="*/ 2231733 h 9250612"/>
                <a:gd name="connsiteX8702" fmla="*/ 3049603 w 6942639"/>
                <a:gd name="connsiteY8702" fmla="*/ 2240692 h 9250612"/>
                <a:gd name="connsiteX8703" fmla="*/ 3040633 w 6942639"/>
                <a:gd name="connsiteY8703" fmla="*/ 2231733 h 9250612"/>
                <a:gd name="connsiteX8704" fmla="*/ 3049603 w 6942639"/>
                <a:gd name="connsiteY8704" fmla="*/ 2222774 h 9250612"/>
                <a:gd name="connsiteX8705" fmla="*/ 3555688 w 6942639"/>
                <a:gd name="connsiteY8705" fmla="*/ 2222773 h 9250612"/>
                <a:gd name="connsiteX8706" fmla="*/ 3564649 w 6942639"/>
                <a:gd name="connsiteY8706" fmla="*/ 2231733 h 9250612"/>
                <a:gd name="connsiteX8707" fmla="*/ 3555688 w 6942639"/>
                <a:gd name="connsiteY8707" fmla="*/ 2240692 h 9250612"/>
                <a:gd name="connsiteX8708" fmla="*/ 3546728 w 6942639"/>
                <a:gd name="connsiteY8708" fmla="*/ 2231733 h 9250612"/>
                <a:gd name="connsiteX8709" fmla="*/ 3555688 w 6942639"/>
                <a:gd name="connsiteY8709" fmla="*/ 2222773 h 9250612"/>
                <a:gd name="connsiteX8710" fmla="*/ 3387059 w 6942639"/>
                <a:gd name="connsiteY8710" fmla="*/ 2222773 h 9250612"/>
                <a:gd name="connsiteX8711" fmla="*/ 3396031 w 6942639"/>
                <a:gd name="connsiteY8711" fmla="*/ 2231733 h 9250612"/>
                <a:gd name="connsiteX8712" fmla="*/ 3387059 w 6942639"/>
                <a:gd name="connsiteY8712" fmla="*/ 2240692 h 9250612"/>
                <a:gd name="connsiteX8713" fmla="*/ 3378048 w 6942639"/>
                <a:gd name="connsiteY8713" fmla="*/ 2231733 h 9250612"/>
                <a:gd name="connsiteX8714" fmla="*/ 3387059 w 6942639"/>
                <a:gd name="connsiteY8714" fmla="*/ 2222773 h 9250612"/>
                <a:gd name="connsiteX8715" fmla="*/ 3218302 w 6942639"/>
                <a:gd name="connsiteY8715" fmla="*/ 2222773 h 9250612"/>
                <a:gd name="connsiteX8716" fmla="*/ 3227282 w 6942639"/>
                <a:gd name="connsiteY8716" fmla="*/ 2231733 h 9250612"/>
                <a:gd name="connsiteX8717" fmla="*/ 3218302 w 6942639"/>
                <a:gd name="connsiteY8717" fmla="*/ 2240692 h 9250612"/>
                <a:gd name="connsiteX8718" fmla="*/ 3209332 w 6942639"/>
                <a:gd name="connsiteY8718" fmla="*/ 2231733 h 9250612"/>
                <a:gd name="connsiteX8719" fmla="*/ 3218302 w 6942639"/>
                <a:gd name="connsiteY8719" fmla="*/ 2222773 h 9250612"/>
                <a:gd name="connsiteX8720" fmla="*/ 3724429 w 6942639"/>
                <a:gd name="connsiteY8720" fmla="*/ 2222773 h 9250612"/>
                <a:gd name="connsiteX8721" fmla="*/ 3733390 w 6942639"/>
                <a:gd name="connsiteY8721" fmla="*/ 2231733 h 9250612"/>
                <a:gd name="connsiteX8722" fmla="*/ 3724429 w 6942639"/>
                <a:gd name="connsiteY8722" fmla="*/ 2240692 h 9250612"/>
                <a:gd name="connsiteX8723" fmla="*/ 3715469 w 6942639"/>
                <a:gd name="connsiteY8723" fmla="*/ 2231733 h 9250612"/>
                <a:gd name="connsiteX8724" fmla="*/ 3724429 w 6942639"/>
                <a:gd name="connsiteY8724" fmla="*/ 2222773 h 9250612"/>
                <a:gd name="connsiteX8725" fmla="*/ 4230654 w 6942639"/>
                <a:gd name="connsiteY8725" fmla="*/ 2222773 h 9250612"/>
                <a:gd name="connsiteX8726" fmla="*/ 4239615 w 6942639"/>
                <a:gd name="connsiteY8726" fmla="*/ 2231732 h 9250612"/>
                <a:gd name="connsiteX8727" fmla="*/ 4230654 w 6942639"/>
                <a:gd name="connsiteY8727" fmla="*/ 2240691 h 9250612"/>
                <a:gd name="connsiteX8728" fmla="*/ 4221694 w 6942639"/>
                <a:gd name="connsiteY8728" fmla="*/ 2231732 h 9250612"/>
                <a:gd name="connsiteX8729" fmla="*/ 4230654 w 6942639"/>
                <a:gd name="connsiteY8729" fmla="*/ 2222773 h 9250612"/>
                <a:gd name="connsiteX8730" fmla="*/ 4061912 w 6942639"/>
                <a:gd name="connsiteY8730" fmla="*/ 2222773 h 9250612"/>
                <a:gd name="connsiteX8731" fmla="*/ 4070873 w 6942639"/>
                <a:gd name="connsiteY8731" fmla="*/ 2231732 h 9250612"/>
                <a:gd name="connsiteX8732" fmla="*/ 4061912 w 6942639"/>
                <a:gd name="connsiteY8732" fmla="*/ 2240692 h 9250612"/>
                <a:gd name="connsiteX8733" fmla="*/ 4052952 w 6942639"/>
                <a:gd name="connsiteY8733" fmla="*/ 2231732 h 9250612"/>
                <a:gd name="connsiteX8734" fmla="*/ 4061912 w 6942639"/>
                <a:gd name="connsiteY8734" fmla="*/ 2222773 h 9250612"/>
                <a:gd name="connsiteX8735" fmla="*/ 3893170 w 6942639"/>
                <a:gd name="connsiteY8735" fmla="*/ 2222773 h 9250612"/>
                <a:gd name="connsiteX8736" fmla="*/ 3902131 w 6942639"/>
                <a:gd name="connsiteY8736" fmla="*/ 2231732 h 9250612"/>
                <a:gd name="connsiteX8737" fmla="*/ 3893170 w 6942639"/>
                <a:gd name="connsiteY8737" fmla="*/ 2240692 h 9250612"/>
                <a:gd name="connsiteX8738" fmla="*/ 3884210 w 6942639"/>
                <a:gd name="connsiteY8738" fmla="*/ 2231732 h 9250612"/>
                <a:gd name="connsiteX8739" fmla="*/ 3893170 w 6942639"/>
                <a:gd name="connsiteY8739" fmla="*/ 2222773 h 9250612"/>
                <a:gd name="connsiteX8740" fmla="*/ 4736878 w 6942639"/>
                <a:gd name="connsiteY8740" fmla="*/ 2222772 h 9250612"/>
                <a:gd name="connsiteX8741" fmla="*/ 4745839 w 6942639"/>
                <a:gd name="connsiteY8741" fmla="*/ 2231731 h 9250612"/>
                <a:gd name="connsiteX8742" fmla="*/ 4736878 w 6942639"/>
                <a:gd name="connsiteY8742" fmla="*/ 2240691 h 9250612"/>
                <a:gd name="connsiteX8743" fmla="*/ 4727918 w 6942639"/>
                <a:gd name="connsiteY8743" fmla="*/ 2231731 h 9250612"/>
                <a:gd name="connsiteX8744" fmla="*/ 4736878 w 6942639"/>
                <a:gd name="connsiteY8744" fmla="*/ 2222772 h 9250612"/>
                <a:gd name="connsiteX8745" fmla="*/ 4568137 w 6942639"/>
                <a:gd name="connsiteY8745" fmla="*/ 2222772 h 9250612"/>
                <a:gd name="connsiteX8746" fmla="*/ 4577098 w 6942639"/>
                <a:gd name="connsiteY8746" fmla="*/ 2231731 h 9250612"/>
                <a:gd name="connsiteX8747" fmla="*/ 4568137 w 6942639"/>
                <a:gd name="connsiteY8747" fmla="*/ 2240691 h 9250612"/>
                <a:gd name="connsiteX8748" fmla="*/ 4559177 w 6942639"/>
                <a:gd name="connsiteY8748" fmla="*/ 2231731 h 9250612"/>
                <a:gd name="connsiteX8749" fmla="*/ 4568137 w 6942639"/>
                <a:gd name="connsiteY8749" fmla="*/ 2222772 h 9250612"/>
                <a:gd name="connsiteX8750" fmla="*/ 4399396 w 6942639"/>
                <a:gd name="connsiteY8750" fmla="*/ 2222772 h 9250612"/>
                <a:gd name="connsiteX8751" fmla="*/ 4408357 w 6942639"/>
                <a:gd name="connsiteY8751" fmla="*/ 2231732 h 9250612"/>
                <a:gd name="connsiteX8752" fmla="*/ 4399396 w 6942639"/>
                <a:gd name="connsiteY8752" fmla="*/ 2240691 h 9250612"/>
                <a:gd name="connsiteX8753" fmla="*/ 4390436 w 6942639"/>
                <a:gd name="connsiteY8753" fmla="*/ 2231732 h 9250612"/>
                <a:gd name="connsiteX8754" fmla="*/ 4399396 w 6942639"/>
                <a:gd name="connsiteY8754" fmla="*/ 2222772 h 9250612"/>
                <a:gd name="connsiteX8755" fmla="*/ 4905620 w 6942639"/>
                <a:gd name="connsiteY8755" fmla="*/ 2222772 h 9250612"/>
                <a:gd name="connsiteX8756" fmla="*/ 4914581 w 6942639"/>
                <a:gd name="connsiteY8756" fmla="*/ 2231731 h 9250612"/>
                <a:gd name="connsiteX8757" fmla="*/ 4905620 w 6942639"/>
                <a:gd name="connsiteY8757" fmla="*/ 2240690 h 9250612"/>
                <a:gd name="connsiteX8758" fmla="*/ 4896660 w 6942639"/>
                <a:gd name="connsiteY8758" fmla="*/ 2231731 h 9250612"/>
                <a:gd name="connsiteX8759" fmla="*/ 4905620 w 6942639"/>
                <a:gd name="connsiteY8759" fmla="*/ 2222772 h 9250612"/>
                <a:gd name="connsiteX8760" fmla="*/ 5411845 w 6942639"/>
                <a:gd name="connsiteY8760" fmla="*/ 2222772 h 9250612"/>
                <a:gd name="connsiteX8761" fmla="*/ 5420806 w 6942639"/>
                <a:gd name="connsiteY8761" fmla="*/ 2231731 h 9250612"/>
                <a:gd name="connsiteX8762" fmla="*/ 5411845 w 6942639"/>
                <a:gd name="connsiteY8762" fmla="*/ 2240690 h 9250612"/>
                <a:gd name="connsiteX8763" fmla="*/ 5402885 w 6942639"/>
                <a:gd name="connsiteY8763" fmla="*/ 2231731 h 9250612"/>
                <a:gd name="connsiteX8764" fmla="*/ 5411845 w 6942639"/>
                <a:gd name="connsiteY8764" fmla="*/ 2222772 h 9250612"/>
                <a:gd name="connsiteX8765" fmla="*/ 5243103 w 6942639"/>
                <a:gd name="connsiteY8765" fmla="*/ 2222772 h 9250612"/>
                <a:gd name="connsiteX8766" fmla="*/ 5252064 w 6942639"/>
                <a:gd name="connsiteY8766" fmla="*/ 2231731 h 9250612"/>
                <a:gd name="connsiteX8767" fmla="*/ 5243103 w 6942639"/>
                <a:gd name="connsiteY8767" fmla="*/ 2240690 h 9250612"/>
                <a:gd name="connsiteX8768" fmla="*/ 5234143 w 6942639"/>
                <a:gd name="connsiteY8768" fmla="*/ 2231731 h 9250612"/>
                <a:gd name="connsiteX8769" fmla="*/ 5243103 w 6942639"/>
                <a:gd name="connsiteY8769" fmla="*/ 2222772 h 9250612"/>
                <a:gd name="connsiteX8770" fmla="*/ 5074362 w 6942639"/>
                <a:gd name="connsiteY8770" fmla="*/ 2222772 h 9250612"/>
                <a:gd name="connsiteX8771" fmla="*/ 5083323 w 6942639"/>
                <a:gd name="connsiteY8771" fmla="*/ 2231731 h 9250612"/>
                <a:gd name="connsiteX8772" fmla="*/ 5074362 w 6942639"/>
                <a:gd name="connsiteY8772" fmla="*/ 2240690 h 9250612"/>
                <a:gd name="connsiteX8773" fmla="*/ 5065402 w 6942639"/>
                <a:gd name="connsiteY8773" fmla="*/ 2231731 h 9250612"/>
                <a:gd name="connsiteX8774" fmla="*/ 5074362 w 6942639"/>
                <a:gd name="connsiteY8774" fmla="*/ 2222772 h 9250612"/>
                <a:gd name="connsiteX8775" fmla="*/ 5918069 w 6942639"/>
                <a:gd name="connsiteY8775" fmla="*/ 2222771 h 9250612"/>
                <a:gd name="connsiteX8776" fmla="*/ 5927030 w 6942639"/>
                <a:gd name="connsiteY8776" fmla="*/ 2231730 h 9250612"/>
                <a:gd name="connsiteX8777" fmla="*/ 5918069 w 6942639"/>
                <a:gd name="connsiteY8777" fmla="*/ 2240689 h 9250612"/>
                <a:gd name="connsiteX8778" fmla="*/ 5909109 w 6942639"/>
                <a:gd name="connsiteY8778" fmla="*/ 2231730 h 9250612"/>
                <a:gd name="connsiteX8779" fmla="*/ 5918069 w 6942639"/>
                <a:gd name="connsiteY8779" fmla="*/ 2222771 h 9250612"/>
                <a:gd name="connsiteX8780" fmla="*/ 5749328 w 6942639"/>
                <a:gd name="connsiteY8780" fmla="*/ 2222771 h 9250612"/>
                <a:gd name="connsiteX8781" fmla="*/ 5758289 w 6942639"/>
                <a:gd name="connsiteY8781" fmla="*/ 2231730 h 9250612"/>
                <a:gd name="connsiteX8782" fmla="*/ 5749328 w 6942639"/>
                <a:gd name="connsiteY8782" fmla="*/ 2240690 h 9250612"/>
                <a:gd name="connsiteX8783" fmla="*/ 5740368 w 6942639"/>
                <a:gd name="connsiteY8783" fmla="*/ 2231730 h 9250612"/>
                <a:gd name="connsiteX8784" fmla="*/ 5749328 w 6942639"/>
                <a:gd name="connsiteY8784" fmla="*/ 2222771 h 9250612"/>
                <a:gd name="connsiteX8785" fmla="*/ 5580586 w 6942639"/>
                <a:gd name="connsiteY8785" fmla="*/ 2222771 h 9250612"/>
                <a:gd name="connsiteX8786" fmla="*/ 5589547 w 6942639"/>
                <a:gd name="connsiteY8786" fmla="*/ 2231731 h 9250612"/>
                <a:gd name="connsiteX8787" fmla="*/ 5580586 w 6942639"/>
                <a:gd name="connsiteY8787" fmla="*/ 2240690 h 9250612"/>
                <a:gd name="connsiteX8788" fmla="*/ 5571626 w 6942639"/>
                <a:gd name="connsiteY8788" fmla="*/ 2231731 h 9250612"/>
                <a:gd name="connsiteX8789" fmla="*/ 5580586 w 6942639"/>
                <a:gd name="connsiteY8789" fmla="*/ 2222771 h 9250612"/>
                <a:gd name="connsiteX8790" fmla="*/ 6086811 w 6942639"/>
                <a:gd name="connsiteY8790" fmla="*/ 2222771 h 9250612"/>
                <a:gd name="connsiteX8791" fmla="*/ 6095772 w 6942639"/>
                <a:gd name="connsiteY8791" fmla="*/ 2231730 h 9250612"/>
                <a:gd name="connsiteX8792" fmla="*/ 6086811 w 6942639"/>
                <a:gd name="connsiteY8792" fmla="*/ 2240689 h 9250612"/>
                <a:gd name="connsiteX8793" fmla="*/ 6077851 w 6942639"/>
                <a:gd name="connsiteY8793" fmla="*/ 2231730 h 9250612"/>
                <a:gd name="connsiteX8794" fmla="*/ 6086811 w 6942639"/>
                <a:gd name="connsiteY8794" fmla="*/ 2222771 h 9250612"/>
                <a:gd name="connsiteX8795" fmla="*/ 6593035 w 6942639"/>
                <a:gd name="connsiteY8795" fmla="*/ 2222770 h 9250612"/>
                <a:gd name="connsiteX8796" fmla="*/ 6601996 w 6942639"/>
                <a:gd name="connsiteY8796" fmla="*/ 2231729 h 9250612"/>
                <a:gd name="connsiteX8797" fmla="*/ 6593035 w 6942639"/>
                <a:gd name="connsiteY8797" fmla="*/ 2240689 h 9250612"/>
                <a:gd name="connsiteX8798" fmla="*/ 6584075 w 6942639"/>
                <a:gd name="connsiteY8798" fmla="*/ 2231729 h 9250612"/>
                <a:gd name="connsiteX8799" fmla="*/ 6593035 w 6942639"/>
                <a:gd name="connsiteY8799" fmla="*/ 2222770 h 9250612"/>
                <a:gd name="connsiteX8800" fmla="*/ 6424294 w 6942639"/>
                <a:gd name="connsiteY8800" fmla="*/ 2222770 h 9250612"/>
                <a:gd name="connsiteX8801" fmla="*/ 6433255 w 6942639"/>
                <a:gd name="connsiteY8801" fmla="*/ 2231730 h 9250612"/>
                <a:gd name="connsiteX8802" fmla="*/ 6424294 w 6942639"/>
                <a:gd name="connsiteY8802" fmla="*/ 2240689 h 9250612"/>
                <a:gd name="connsiteX8803" fmla="*/ 6415334 w 6942639"/>
                <a:gd name="connsiteY8803" fmla="*/ 2231730 h 9250612"/>
                <a:gd name="connsiteX8804" fmla="*/ 6424294 w 6942639"/>
                <a:gd name="connsiteY8804" fmla="*/ 2222770 h 9250612"/>
                <a:gd name="connsiteX8805" fmla="*/ 6255553 w 6942639"/>
                <a:gd name="connsiteY8805" fmla="*/ 2222770 h 9250612"/>
                <a:gd name="connsiteX8806" fmla="*/ 6264514 w 6942639"/>
                <a:gd name="connsiteY8806" fmla="*/ 2231730 h 9250612"/>
                <a:gd name="connsiteX8807" fmla="*/ 6255553 w 6942639"/>
                <a:gd name="connsiteY8807" fmla="*/ 2240689 h 9250612"/>
                <a:gd name="connsiteX8808" fmla="*/ 6246593 w 6942639"/>
                <a:gd name="connsiteY8808" fmla="*/ 2231730 h 9250612"/>
                <a:gd name="connsiteX8809" fmla="*/ 6255553 w 6942639"/>
                <a:gd name="connsiteY8809" fmla="*/ 2222770 h 9250612"/>
                <a:gd name="connsiteX8810" fmla="*/ 6763357 w 6942639"/>
                <a:gd name="connsiteY8810" fmla="*/ 2222770 h 9250612"/>
                <a:gd name="connsiteX8811" fmla="*/ 6772318 w 6942639"/>
                <a:gd name="connsiteY8811" fmla="*/ 2231729 h 9250612"/>
                <a:gd name="connsiteX8812" fmla="*/ 6763357 w 6942639"/>
                <a:gd name="connsiteY8812" fmla="*/ 2240688 h 9250612"/>
                <a:gd name="connsiteX8813" fmla="*/ 6754397 w 6942639"/>
                <a:gd name="connsiteY8813" fmla="*/ 2231729 h 9250612"/>
                <a:gd name="connsiteX8814" fmla="*/ 6763357 w 6942639"/>
                <a:gd name="connsiteY8814" fmla="*/ 2222770 h 9250612"/>
                <a:gd name="connsiteX8815" fmla="*/ 6933679 w 6942639"/>
                <a:gd name="connsiteY8815" fmla="*/ 2222769 h 9250612"/>
                <a:gd name="connsiteX8816" fmla="*/ 6942639 w 6942639"/>
                <a:gd name="connsiteY8816" fmla="*/ 2231729 h 9250612"/>
                <a:gd name="connsiteX8817" fmla="*/ 6933679 w 6942639"/>
                <a:gd name="connsiteY8817" fmla="*/ 2240688 h 9250612"/>
                <a:gd name="connsiteX8818" fmla="*/ 6924718 w 6942639"/>
                <a:gd name="connsiteY8818" fmla="*/ 2231729 h 9250612"/>
                <a:gd name="connsiteX8819" fmla="*/ 6933679 w 6942639"/>
                <a:gd name="connsiteY8819" fmla="*/ 2222769 h 9250612"/>
                <a:gd name="connsiteX8820" fmla="*/ 349766 w 6942639"/>
                <a:gd name="connsiteY8820" fmla="*/ 2051829 h 9250612"/>
                <a:gd name="connsiteX8821" fmla="*/ 358727 w 6942639"/>
                <a:gd name="connsiteY8821" fmla="*/ 2060789 h 9250612"/>
                <a:gd name="connsiteX8822" fmla="*/ 349766 w 6942639"/>
                <a:gd name="connsiteY8822" fmla="*/ 2069747 h 9250612"/>
                <a:gd name="connsiteX8823" fmla="*/ 340807 w 6942639"/>
                <a:gd name="connsiteY8823" fmla="*/ 2060789 h 9250612"/>
                <a:gd name="connsiteX8824" fmla="*/ 349766 w 6942639"/>
                <a:gd name="connsiteY8824" fmla="*/ 2051829 h 9250612"/>
                <a:gd name="connsiteX8825" fmla="*/ 179449 w 6942639"/>
                <a:gd name="connsiteY8825" fmla="*/ 2051829 h 9250612"/>
                <a:gd name="connsiteX8826" fmla="*/ 188410 w 6942639"/>
                <a:gd name="connsiteY8826" fmla="*/ 2060788 h 9250612"/>
                <a:gd name="connsiteX8827" fmla="*/ 179449 w 6942639"/>
                <a:gd name="connsiteY8827" fmla="*/ 2069747 h 9250612"/>
                <a:gd name="connsiteX8828" fmla="*/ 170489 w 6942639"/>
                <a:gd name="connsiteY8828" fmla="*/ 2060788 h 9250612"/>
                <a:gd name="connsiteX8829" fmla="*/ 179449 w 6942639"/>
                <a:gd name="connsiteY8829" fmla="*/ 2051829 h 9250612"/>
                <a:gd name="connsiteX8830" fmla="*/ 9134 w 6942639"/>
                <a:gd name="connsiteY8830" fmla="*/ 2051829 h 9250612"/>
                <a:gd name="connsiteX8831" fmla="*/ 18093 w 6942639"/>
                <a:gd name="connsiteY8831" fmla="*/ 2060788 h 9250612"/>
                <a:gd name="connsiteX8832" fmla="*/ 9134 w 6942639"/>
                <a:gd name="connsiteY8832" fmla="*/ 2069747 h 9250612"/>
                <a:gd name="connsiteX8833" fmla="*/ 174 w 6942639"/>
                <a:gd name="connsiteY8833" fmla="*/ 2060788 h 9250612"/>
                <a:gd name="connsiteX8834" fmla="*/ 9134 w 6942639"/>
                <a:gd name="connsiteY8834" fmla="*/ 2051829 h 9250612"/>
                <a:gd name="connsiteX8835" fmla="*/ 856018 w 6942639"/>
                <a:gd name="connsiteY8835" fmla="*/ 2051828 h 9250612"/>
                <a:gd name="connsiteX8836" fmla="*/ 864978 w 6942639"/>
                <a:gd name="connsiteY8836" fmla="*/ 2060787 h 9250612"/>
                <a:gd name="connsiteX8837" fmla="*/ 856018 w 6942639"/>
                <a:gd name="connsiteY8837" fmla="*/ 2069747 h 9250612"/>
                <a:gd name="connsiteX8838" fmla="*/ 847056 w 6942639"/>
                <a:gd name="connsiteY8838" fmla="*/ 2060787 h 9250612"/>
                <a:gd name="connsiteX8839" fmla="*/ 856018 w 6942639"/>
                <a:gd name="connsiteY8839" fmla="*/ 2051828 h 9250612"/>
                <a:gd name="connsiteX8840" fmla="*/ 687280 w 6942639"/>
                <a:gd name="connsiteY8840" fmla="*/ 2051828 h 9250612"/>
                <a:gd name="connsiteX8841" fmla="*/ 696240 w 6942639"/>
                <a:gd name="connsiteY8841" fmla="*/ 2060788 h 9250612"/>
                <a:gd name="connsiteX8842" fmla="*/ 687280 w 6942639"/>
                <a:gd name="connsiteY8842" fmla="*/ 2069747 h 9250612"/>
                <a:gd name="connsiteX8843" fmla="*/ 678321 w 6942639"/>
                <a:gd name="connsiteY8843" fmla="*/ 2060788 h 9250612"/>
                <a:gd name="connsiteX8844" fmla="*/ 687280 w 6942639"/>
                <a:gd name="connsiteY8844" fmla="*/ 2051828 h 9250612"/>
                <a:gd name="connsiteX8845" fmla="*/ 518504 w 6942639"/>
                <a:gd name="connsiteY8845" fmla="*/ 2051828 h 9250612"/>
                <a:gd name="connsiteX8846" fmla="*/ 527464 w 6942639"/>
                <a:gd name="connsiteY8846" fmla="*/ 2060788 h 9250612"/>
                <a:gd name="connsiteX8847" fmla="*/ 518504 w 6942639"/>
                <a:gd name="connsiteY8847" fmla="*/ 2069747 h 9250612"/>
                <a:gd name="connsiteX8848" fmla="*/ 509543 w 6942639"/>
                <a:gd name="connsiteY8848" fmla="*/ 2060788 h 9250612"/>
                <a:gd name="connsiteX8849" fmla="*/ 518504 w 6942639"/>
                <a:gd name="connsiteY8849" fmla="*/ 2051828 h 9250612"/>
                <a:gd name="connsiteX8850" fmla="*/ 1024741 w 6942639"/>
                <a:gd name="connsiteY8850" fmla="*/ 2051828 h 9250612"/>
                <a:gd name="connsiteX8851" fmla="*/ 1033709 w 6942639"/>
                <a:gd name="connsiteY8851" fmla="*/ 2060787 h 9250612"/>
                <a:gd name="connsiteX8852" fmla="*/ 1024741 w 6942639"/>
                <a:gd name="connsiteY8852" fmla="*/ 2069746 h 9250612"/>
                <a:gd name="connsiteX8853" fmla="*/ 1015781 w 6942639"/>
                <a:gd name="connsiteY8853" fmla="*/ 2060787 h 9250612"/>
                <a:gd name="connsiteX8854" fmla="*/ 1024741 w 6942639"/>
                <a:gd name="connsiteY8854" fmla="*/ 2051828 h 9250612"/>
                <a:gd name="connsiteX8855" fmla="*/ 1530993 w 6942639"/>
                <a:gd name="connsiteY8855" fmla="*/ 2051828 h 9250612"/>
                <a:gd name="connsiteX8856" fmla="*/ 1539955 w 6942639"/>
                <a:gd name="connsiteY8856" fmla="*/ 2060787 h 9250612"/>
                <a:gd name="connsiteX8857" fmla="*/ 1530993 w 6942639"/>
                <a:gd name="connsiteY8857" fmla="*/ 2069746 h 9250612"/>
                <a:gd name="connsiteX8858" fmla="*/ 1522031 w 6942639"/>
                <a:gd name="connsiteY8858" fmla="*/ 2060787 h 9250612"/>
                <a:gd name="connsiteX8859" fmla="*/ 1530993 w 6942639"/>
                <a:gd name="connsiteY8859" fmla="*/ 2051828 h 9250612"/>
                <a:gd name="connsiteX8860" fmla="*/ 1362240 w 6942639"/>
                <a:gd name="connsiteY8860" fmla="*/ 2051828 h 9250612"/>
                <a:gd name="connsiteX8861" fmla="*/ 1371202 w 6942639"/>
                <a:gd name="connsiteY8861" fmla="*/ 2060787 h 9250612"/>
                <a:gd name="connsiteX8862" fmla="*/ 1362240 w 6942639"/>
                <a:gd name="connsiteY8862" fmla="*/ 2069746 h 9250612"/>
                <a:gd name="connsiteX8863" fmla="*/ 1353279 w 6942639"/>
                <a:gd name="connsiteY8863" fmla="*/ 2060787 h 9250612"/>
                <a:gd name="connsiteX8864" fmla="*/ 1362240 w 6942639"/>
                <a:gd name="connsiteY8864" fmla="*/ 2051828 h 9250612"/>
                <a:gd name="connsiteX8865" fmla="*/ 1193498 w 6942639"/>
                <a:gd name="connsiteY8865" fmla="*/ 2051828 h 9250612"/>
                <a:gd name="connsiteX8866" fmla="*/ 1202458 w 6942639"/>
                <a:gd name="connsiteY8866" fmla="*/ 2060787 h 9250612"/>
                <a:gd name="connsiteX8867" fmla="*/ 1193498 w 6942639"/>
                <a:gd name="connsiteY8867" fmla="*/ 2069746 h 9250612"/>
                <a:gd name="connsiteX8868" fmla="*/ 1184541 w 6942639"/>
                <a:gd name="connsiteY8868" fmla="*/ 2060787 h 9250612"/>
                <a:gd name="connsiteX8869" fmla="*/ 1193498 w 6942639"/>
                <a:gd name="connsiteY8869" fmla="*/ 2051828 h 9250612"/>
                <a:gd name="connsiteX8870" fmla="*/ 1699736 w 6942639"/>
                <a:gd name="connsiteY8870" fmla="*/ 2051827 h 9250612"/>
                <a:gd name="connsiteX8871" fmla="*/ 1708705 w 6942639"/>
                <a:gd name="connsiteY8871" fmla="*/ 2060787 h 9250612"/>
                <a:gd name="connsiteX8872" fmla="*/ 1699736 w 6942639"/>
                <a:gd name="connsiteY8872" fmla="*/ 2069746 h 9250612"/>
                <a:gd name="connsiteX8873" fmla="*/ 1690766 w 6942639"/>
                <a:gd name="connsiteY8873" fmla="*/ 2060787 h 9250612"/>
                <a:gd name="connsiteX8874" fmla="*/ 1699736 w 6942639"/>
                <a:gd name="connsiteY8874" fmla="*/ 2051827 h 9250612"/>
                <a:gd name="connsiteX8875" fmla="*/ 2205934 w 6942639"/>
                <a:gd name="connsiteY8875" fmla="*/ 2051827 h 9250612"/>
                <a:gd name="connsiteX8876" fmla="*/ 2214891 w 6942639"/>
                <a:gd name="connsiteY8876" fmla="*/ 2060786 h 9250612"/>
                <a:gd name="connsiteX8877" fmla="*/ 2205934 w 6942639"/>
                <a:gd name="connsiteY8877" fmla="*/ 2069745 h 9250612"/>
                <a:gd name="connsiteX8878" fmla="*/ 2196936 w 6942639"/>
                <a:gd name="connsiteY8878" fmla="*/ 2060786 h 9250612"/>
                <a:gd name="connsiteX8879" fmla="*/ 2205934 w 6942639"/>
                <a:gd name="connsiteY8879" fmla="*/ 2051827 h 9250612"/>
                <a:gd name="connsiteX8880" fmla="*/ 2037188 w 6942639"/>
                <a:gd name="connsiteY8880" fmla="*/ 2051827 h 9250612"/>
                <a:gd name="connsiteX8881" fmla="*/ 2046130 w 6942639"/>
                <a:gd name="connsiteY8881" fmla="*/ 2060786 h 9250612"/>
                <a:gd name="connsiteX8882" fmla="*/ 2037188 w 6942639"/>
                <a:gd name="connsiteY8882" fmla="*/ 2069746 h 9250612"/>
                <a:gd name="connsiteX8883" fmla="*/ 2028255 w 6942639"/>
                <a:gd name="connsiteY8883" fmla="*/ 2060786 h 9250612"/>
                <a:gd name="connsiteX8884" fmla="*/ 2037188 w 6942639"/>
                <a:gd name="connsiteY8884" fmla="*/ 2051827 h 9250612"/>
                <a:gd name="connsiteX8885" fmla="*/ 1868489 w 6942639"/>
                <a:gd name="connsiteY8885" fmla="*/ 2051827 h 9250612"/>
                <a:gd name="connsiteX8886" fmla="*/ 1877435 w 6942639"/>
                <a:gd name="connsiteY8886" fmla="*/ 2060786 h 9250612"/>
                <a:gd name="connsiteX8887" fmla="*/ 1868489 w 6942639"/>
                <a:gd name="connsiteY8887" fmla="*/ 2069746 h 9250612"/>
                <a:gd name="connsiteX8888" fmla="*/ 1859510 w 6942639"/>
                <a:gd name="connsiteY8888" fmla="*/ 2060786 h 9250612"/>
                <a:gd name="connsiteX8889" fmla="*/ 1868489 w 6942639"/>
                <a:gd name="connsiteY8889" fmla="*/ 2051827 h 9250612"/>
                <a:gd name="connsiteX8890" fmla="*/ 2374631 w 6942639"/>
                <a:gd name="connsiteY8890" fmla="*/ 2051827 h 9250612"/>
                <a:gd name="connsiteX8891" fmla="*/ 2383646 w 6942639"/>
                <a:gd name="connsiteY8891" fmla="*/ 2060786 h 9250612"/>
                <a:gd name="connsiteX8892" fmla="*/ 2374631 w 6942639"/>
                <a:gd name="connsiteY8892" fmla="*/ 2069745 h 9250612"/>
                <a:gd name="connsiteX8893" fmla="*/ 2365667 w 6942639"/>
                <a:gd name="connsiteY8893" fmla="*/ 2060786 h 9250612"/>
                <a:gd name="connsiteX8894" fmla="*/ 2374631 w 6942639"/>
                <a:gd name="connsiteY8894" fmla="*/ 2051827 h 9250612"/>
                <a:gd name="connsiteX8895" fmla="*/ 2880885 w 6942639"/>
                <a:gd name="connsiteY8895" fmla="*/ 2051826 h 9250612"/>
                <a:gd name="connsiteX8896" fmla="*/ 2889842 w 6942639"/>
                <a:gd name="connsiteY8896" fmla="*/ 2060785 h 9250612"/>
                <a:gd name="connsiteX8897" fmla="*/ 2880885 w 6942639"/>
                <a:gd name="connsiteY8897" fmla="*/ 2069744 h 9250612"/>
                <a:gd name="connsiteX8898" fmla="*/ 2871928 w 6942639"/>
                <a:gd name="connsiteY8898" fmla="*/ 2060785 h 9250612"/>
                <a:gd name="connsiteX8899" fmla="*/ 2880885 w 6942639"/>
                <a:gd name="connsiteY8899" fmla="*/ 2051826 h 9250612"/>
                <a:gd name="connsiteX8900" fmla="*/ 2712112 w 6942639"/>
                <a:gd name="connsiteY8900" fmla="*/ 2051826 h 9250612"/>
                <a:gd name="connsiteX8901" fmla="*/ 2721095 w 6942639"/>
                <a:gd name="connsiteY8901" fmla="*/ 2060785 h 9250612"/>
                <a:gd name="connsiteX8902" fmla="*/ 2712112 w 6942639"/>
                <a:gd name="connsiteY8902" fmla="*/ 2069745 h 9250612"/>
                <a:gd name="connsiteX8903" fmla="*/ 2703156 w 6942639"/>
                <a:gd name="connsiteY8903" fmla="*/ 2060785 h 9250612"/>
                <a:gd name="connsiteX8904" fmla="*/ 2712112 w 6942639"/>
                <a:gd name="connsiteY8904" fmla="*/ 2051826 h 9250612"/>
                <a:gd name="connsiteX8905" fmla="*/ 2543436 w 6942639"/>
                <a:gd name="connsiteY8905" fmla="*/ 2051826 h 9250612"/>
                <a:gd name="connsiteX8906" fmla="*/ 2552401 w 6942639"/>
                <a:gd name="connsiteY8906" fmla="*/ 2060786 h 9250612"/>
                <a:gd name="connsiteX8907" fmla="*/ 2543436 w 6942639"/>
                <a:gd name="connsiteY8907" fmla="*/ 2069745 h 9250612"/>
                <a:gd name="connsiteX8908" fmla="*/ 2534461 w 6942639"/>
                <a:gd name="connsiteY8908" fmla="*/ 2060786 h 9250612"/>
                <a:gd name="connsiteX8909" fmla="*/ 2543436 w 6942639"/>
                <a:gd name="connsiteY8909" fmla="*/ 2051826 h 9250612"/>
                <a:gd name="connsiteX8910" fmla="*/ 3049606 w 6942639"/>
                <a:gd name="connsiteY8910" fmla="*/ 2051826 h 9250612"/>
                <a:gd name="connsiteX8911" fmla="*/ 3058558 w 6942639"/>
                <a:gd name="connsiteY8911" fmla="*/ 2060785 h 9250612"/>
                <a:gd name="connsiteX8912" fmla="*/ 3049606 w 6942639"/>
                <a:gd name="connsiteY8912" fmla="*/ 2069744 h 9250612"/>
                <a:gd name="connsiteX8913" fmla="*/ 3040636 w 6942639"/>
                <a:gd name="connsiteY8913" fmla="*/ 2060785 h 9250612"/>
                <a:gd name="connsiteX8914" fmla="*/ 3049606 w 6942639"/>
                <a:gd name="connsiteY8914" fmla="*/ 2051826 h 9250612"/>
                <a:gd name="connsiteX8915" fmla="*/ 3555688 w 6942639"/>
                <a:gd name="connsiteY8915" fmla="*/ 2051825 h 9250612"/>
                <a:gd name="connsiteX8916" fmla="*/ 3564649 w 6942639"/>
                <a:gd name="connsiteY8916" fmla="*/ 2060785 h 9250612"/>
                <a:gd name="connsiteX8917" fmla="*/ 3555688 w 6942639"/>
                <a:gd name="connsiteY8917" fmla="*/ 2069743 h 9250612"/>
                <a:gd name="connsiteX8918" fmla="*/ 3546728 w 6942639"/>
                <a:gd name="connsiteY8918" fmla="*/ 2060785 h 9250612"/>
                <a:gd name="connsiteX8919" fmla="*/ 3555688 w 6942639"/>
                <a:gd name="connsiteY8919" fmla="*/ 2051825 h 9250612"/>
                <a:gd name="connsiteX8920" fmla="*/ 3387061 w 6942639"/>
                <a:gd name="connsiteY8920" fmla="*/ 2051825 h 9250612"/>
                <a:gd name="connsiteX8921" fmla="*/ 3396034 w 6942639"/>
                <a:gd name="connsiteY8921" fmla="*/ 2060785 h 9250612"/>
                <a:gd name="connsiteX8922" fmla="*/ 3387061 w 6942639"/>
                <a:gd name="connsiteY8922" fmla="*/ 2069744 h 9250612"/>
                <a:gd name="connsiteX8923" fmla="*/ 3378050 w 6942639"/>
                <a:gd name="connsiteY8923" fmla="*/ 2060785 h 9250612"/>
                <a:gd name="connsiteX8924" fmla="*/ 3387061 w 6942639"/>
                <a:gd name="connsiteY8924" fmla="*/ 2051825 h 9250612"/>
                <a:gd name="connsiteX8925" fmla="*/ 3218304 w 6942639"/>
                <a:gd name="connsiteY8925" fmla="*/ 2051825 h 9250612"/>
                <a:gd name="connsiteX8926" fmla="*/ 3227283 w 6942639"/>
                <a:gd name="connsiteY8926" fmla="*/ 2060785 h 9250612"/>
                <a:gd name="connsiteX8927" fmla="*/ 3218304 w 6942639"/>
                <a:gd name="connsiteY8927" fmla="*/ 2069744 h 9250612"/>
                <a:gd name="connsiteX8928" fmla="*/ 3209333 w 6942639"/>
                <a:gd name="connsiteY8928" fmla="*/ 2060785 h 9250612"/>
                <a:gd name="connsiteX8929" fmla="*/ 3218304 w 6942639"/>
                <a:gd name="connsiteY8929" fmla="*/ 2051825 h 9250612"/>
                <a:gd name="connsiteX8930" fmla="*/ 3724429 w 6942639"/>
                <a:gd name="connsiteY8930" fmla="*/ 2051825 h 9250612"/>
                <a:gd name="connsiteX8931" fmla="*/ 3733390 w 6942639"/>
                <a:gd name="connsiteY8931" fmla="*/ 2060785 h 9250612"/>
                <a:gd name="connsiteX8932" fmla="*/ 3724429 w 6942639"/>
                <a:gd name="connsiteY8932" fmla="*/ 2069743 h 9250612"/>
                <a:gd name="connsiteX8933" fmla="*/ 3715469 w 6942639"/>
                <a:gd name="connsiteY8933" fmla="*/ 2060785 h 9250612"/>
                <a:gd name="connsiteX8934" fmla="*/ 3724429 w 6942639"/>
                <a:gd name="connsiteY8934" fmla="*/ 2051825 h 9250612"/>
                <a:gd name="connsiteX8935" fmla="*/ 4230654 w 6942639"/>
                <a:gd name="connsiteY8935" fmla="*/ 2051824 h 9250612"/>
                <a:gd name="connsiteX8936" fmla="*/ 4239615 w 6942639"/>
                <a:gd name="connsiteY8936" fmla="*/ 2060784 h 9250612"/>
                <a:gd name="connsiteX8937" fmla="*/ 4230654 w 6942639"/>
                <a:gd name="connsiteY8937" fmla="*/ 2069743 h 9250612"/>
                <a:gd name="connsiteX8938" fmla="*/ 4221694 w 6942639"/>
                <a:gd name="connsiteY8938" fmla="*/ 2060784 h 9250612"/>
                <a:gd name="connsiteX8939" fmla="*/ 4230654 w 6942639"/>
                <a:gd name="connsiteY8939" fmla="*/ 2051824 h 9250612"/>
                <a:gd name="connsiteX8940" fmla="*/ 4061912 w 6942639"/>
                <a:gd name="connsiteY8940" fmla="*/ 2051824 h 9250612"/>
                <a:gd name="connsiteX8941" fmla="*/ 4070873 w 6942639"/>
                <a:gd name="connsiteY8941" fmla="*/ 2060784 h 9250612"/>
                <a:gd name="connsiteX8942" fmla="*/ 4061912 w 6942639"/>
                <a:gd name="connsiteY8942" fmla="*/ 2069743 h 9250612"/>
                <a:gd name="connsiteX8943" fmla="*/ 4052952 w 6942639"/>
                <a:gd name="connsiteY8943" fmla="*/ 2060784 h 9250612"/>
                <a:gd name="connsiteX8944" fmla="*/ 4061912 w 6942639"/>
                <a:gd name="connsiteY8944" fmla="*/ 2051824 h 9250612"/>
                <a:gd name="connsiteX8945" fmla="*/ 3893170 w 6942639"/>
                <a:gd name="connsiteY8945" fmla="*/ 2051824 h 9250612"/>
                <a:gd name="connsiteX8946" fmla="*/ 3902131 w 6942639"/>
                <a:gd name="connsiteY8946" fmla="*/ 2060784 h 9250612"/>
                <a:gd name="connsiteX8947" fmla="*/ 3893170 w 6942639"/>
                <a:gd name="connsiteY8947" fmla="*/ 2069743 h 9250612"/>
                <a:gd name="connsiteX8948" fmla="*/ 3884210 w 6942639"/>
                <a:gd name="connsiteY8948" fmla="*/ 2060784 h 9250612"/>
                <a:gd name="connsiteX8949" fmla="*/ 3893170 w 6942639"/>
                <a:gd name="connsiteY8949" fmla="*/ 2051824 h 9250612"/>
                <a:gd name="connsiteX8950" fmla="*/ 4736878 w 6942639"/>
                <a:gd name="connsiteY8950" fmla="*/ 2051824 h 9250612"/>
                <a:gd name="connsiteX8951" fmla="*/ 4745839 w 6942639"/>
                <a:gd name="connsiteY8951" fmla="*/ 2060783 h 9250612"/>
                <a:gd name="connsiteX8952" fmla="*/ 4736878 w 6942639"/>
                <a:gd name="connsiteY8952" fmla="*/ 2069742 h 9250612"/>
                <a:gd name="connsiteX8953" fmla="*/ 4727918 w 6942639"/>
                <a:gd name="connsiteY8953" fmla="*/ 2060783 h 9250612"/>
                <a:gd name="connsiteX8954" fmla="*/ 4736878 w 6942639"/>
                <a:gd name="connsiteY8954" fmla="*/ 2051824 h 9250612"/>
                <a:gd name="connsiteX8955" fmla="*/ 4568137 w 6942639"/>
                <a:gd name="connsiteY8955" fmla="*/ 2051824 h 9250612"/>
                <a:gd name="connsiteX8956" fmla="*/ 4577098 w 6942639"/>
                <a:gd name="connsiteY8956" fmla="*/ 2060783 h 9250612"/>
                <a:gd name="connsiteX8957" fmla="*/ 4568137 w 6942639"/>
                <a:gd name="connsiteY8957" fmla="*/ 2069742 h 9250612"/>
                <a:gd name="connsiteX8958" fmla="*/ 4559177 w 6942639"/>
                <a:gd name="connsiteY8958" fmla="*/ 2060783 h 9250612"/>
                <a:gd name="connsiteX8959" fmla="*/ 4568137 w 6942639"/>
                <a:gd name="connsiteY8959" fmla="*/ 2051824 h 9250612"/>
                <a:gd name="connsiteX8960" fmla="*/ 4399396 w 6942639"/>
                <a:gd name="connsiteY8960" fmla="*/ 2051824 h 9250612"/>
                <a:gd name="connsiteX8961" fmla="*/ 4408357 w 6942639"/>
                <a:gd name="connsiteY8961" fmla="*/ 2060784 h 9250612"/>
                <a:gd name="connsiteX8962" fmla="*/ 4399396 w 6942639"/>
                <a:gd name="connsiteY8962" fmla="*/ 2069742 h 9250612"/>
                <a:gd name="connsiteX8963" fmla="*/ 4390436 w 6942639"/>
                <a:gd name="connsiteY8963" fmla="*/ 2060784 h 9250612"/>
                <a:gd name="connsiteX8964" fmla="*/ 4399396 w 6942639"/>
                <a:gd name="connsiteY8964" fmla="*/ 2051824 h 9250612"/>
                <a:gd name="connsiteX8965" fmla="*/ 4905620 w 6942639"/>
                <a:gd name="connsiteY8965" fmla="*/ 2051824 h 9250612"/>
                <a:gd name="connsiteX8966" fmla="*/ 4914581 w 6942639"/>
                <a:gd name="connsiteY8966" fmla="*/ 2060783 h 9250612"/>
                <a:gd name="connsiteX8967" fmla="*/ 4905620 w 6942639"/>
                <a:gd name="connsiteY8967" fmla="*/ 2069742 h 9250612"/>
                <a:gd name="connsiteX8968" fmla="*/ 4896660 w 6942639"/>
                <a:gd name="connsiteY8968" fmla="*/ 2060783 h 9250612"/>
                <a:gd name="connsiteX8969" fmla="*/ 4905620 w 6942639"/>
                <a:gd name="connsiteY8969" fmla="*/ 2051824 h 9250612"/>
                <a:gd name="connsiteX8970" fmla="*/ 5411845 w 6942639"/>
                <a:gd name="connsiteY8970" fmla="*/ 2051823 h 9250612"/>
                <a:gd name="connsiteX8971" fmla="*/ 5420806 w 6942639"/>
                <a:gd name="connsiteY8971" fmla="*/ 2060782 h 9250612"/>
                <a:gd name="connsiteX8972" fmla="*/ 5411845 w 6942639"/>
                <a:gd name="connsiteY8972" fmla="*/ 2069742 h 9250612"/>
                <a:gd name="connsiteX8973" fmla="*/ 5402885 w 6942639"/>
                <a:gd name="connsiteY8973" fmla="*/ 2060782 h 9250612"/>
                <a:gd name="connsiteX8974" fmla="*/ 5411845 w 6942639"/>
                <a:gd name="connsiteY8974" fmla="*/ 2051823 h 9250612"/>
                <a:gd name="connsiteX8975" fmla="*/ 5243103 w 6942639"/>
                <a:gd name="connsiteY8975" fmla="*/ 2051823 h 9250612"/>
                <a:gd name="connsiteX8976" fmla="*/ 5252064 w 6942639"/>
                <a:gd name="connsiteY8976" fmla="*/ 2060782 h 9250612"/>
                <a:gd name="connsiteX8977" fmla="*/ 5243103 w 6942639"/>
                <a:gd name="connsiteY8977" fmla="*/ 2069742 h 9250612"/>
                <a:gd name="connsiteX8978" fmla="*/ 5234143 w 6942639"/>
                <a:gd name="connsiteY8978" fmla="*/ 2060782 h 9250612"/>
                <a:gd name="connsiteX8979" fmla="*/ 5243103 w 6942639"/>
                <a:gd name="connsiteY8979" fmla="*/ 2051823 h 9250612"/>
                <a:gd name="connsiteX8980" fmla="*/ 5074362 w 6942639"/>
                <a:gd name="connsiteY8980" fmla="*/ 2051823 h 9250612"/>
                <a:gd name="connsiteX8981" fmla="*/ 5083323 w 6942639"/>
                <a:gd name="connsiteY8981" fmla="*/ 2060783 h 9250612"/>
                <a:gd name="connsiteX8982" fmla="*/ 5074362 w 6942639"/>
                <a:gd name="connsiteY8982" fmla="*/ 2069742 h 9250612"/>
                <a:gd name="connsiteX8983" fmla="*/ 5065402 w 6942639"/>
                <a:gd name="connsiteY8983" fmla="*/ 2060783 h 9250612"/>
                <a:gd name="connsiteX8984" fmla="*/ 5074362 w 6942639"/>
                <a:gd name="connsiteY8984" fmla="*/ 2051823 h 9250612"/>
                <a:gd name="connsiteX8985" fmla="*/ 5580586 w 6942639"/>
                <a:gd name="connsiteY8985" fmla="*/ 2051823 h 9250612"/>
                <a:gd name="connsiteX8986" fmla="*/ 5589547 w 6942639"/>
                <a:gd name="connsiteY8986" fmla="*/ 2060782 h 9250612"/>
                <a:gd name="connsiteX8987" fmla="*/ 5580586 w 6942639"/>
                <a:gd name="connsiteY8987" fmla="*/ 2069741 h 9250612"/>
                <a:gd name="connsiteX8988" fmla="*/ 5571626 w 6942639"/>
                <a:gd name="connsiteY8988" fmla="*/ 2060782 h 9250612"/>
                <a:gd name="connsiteX8989" fmla="*/ 5580586 w 6942639"/>
                <a:gd name="connsiteY8989" fmla="*/ 2051823 h 9250612"/>
                <a:gd name="connsiteX8990" fmla="*/ 6086811 w 6942639"/>
                <a:gd name="connsiteY8990" fmla="*/ 2051823 h 9250612"/>
                <a:gd name="connsiteX8991" fmla="*/ 6095772 w 6942639"/>
                <a:gd name="connsiteY8991" fmla="*/ 2060781 h 9250612"/>
                <a:gd name="connsiteX8992" fmla="*/ 6086811 w 6942639"/>
                <a:gd name="connsiteY8992" fmla="*/ 2069741 h 9250612"/>
                <a:gd name="connsiteX8993" fmla="*/ 6077851 w 6942639"/>
                <a:gd name="connsiteY8993" fmla="*/ 2060781 h 9250612"/>
                <a:gd name="connsiteX8994" fmla="*/ 6086811 w 6942639"/>
                <a:gd name="connsiteY8994" fmla="*/ 2051823 h 9250612"/>
                <a:gd name="connsiteX8995" fmla="*/ 5918069 w 6942639"/>
                <a:gd name="connsiteY8995" fmla="*/ 2051823 h 9250612"/>
                <a:gd name="connsiteX8996" fmla="*/ 5927030 w 6942639"/>
                <a:gd name="connsiteY8996" fmla="*/ 2060782 h 9250612"/>
                <a:gd name="connsiteX8997" fmla="*/ 5918069 w 6942639"/>
                <a:gd name="connsiteY8997" fmla="*/ 2069741 h 9250612"/>
                <a:gd name="connsiteX8998" fmla="*/ 5909109 w 6942639"/>
                <a:gd name="connsiteY8998" fmla="*/ 2060782 h 9250612"/>
                <a:gd name="connsiteX8999" fmla="*/ 5918069 w 6942639"/>
                <a:gd name="connsiteY8999" fmla="*/ 2051823 h 9250612"/>
                <a:gd name="connsiteX9000" fmla="*/ 5749328 w 6942639"/>
                <a:gd name="connsiteY9000" fmla="*/ 2051823 h 9250612"/>
                <a:gd name="connsiteX9001" fmla="*/ 5758289 w 6942639"/>
                <a:gd name="connsiteY9001" fmla="*/ 2060782 h 9250612"/>
                <a:gd name="connsiteX9002" fmla="*/ 5749328 w 6942639"/>
                <a:gd name="connsiteY9002" fmla="*/ 2069741 h 9250612"/>
                <a:gd name="connsiteX9003" fmla="*/ 5740368 w 6942639"/>
                <a:gd name="connsiteY9003" fmla="*/ 2060782 h 9250612"/>
                <a:gd name="connsiteX9004" fmla="*/ 5749328 w 6942639"/>
                <a:gd name="connsiteY9004" fmla="*/ 2051823 h 9250612"/>
                <a:gd name="connsiteX9005" fmla="*/ 6255553 w 6942639"/>
                <a:gd name="connsiteY9005" fmla="*/ 2051822 h 9250612"/>
                <a:gd name="connsiteX9006" fmla="*/ 6264514 w 6942639"/>
                <a:gd name="connsiteY9006" fmla="*/ 2060781 h 9250612"/>
                <a:gd name="connsiteX9007" fmla="*/ 6255553 w 6942639"/>
                <a:gd name="connsiteY9007" fmla="*/ 2069740 h 9250612"/>
                <a:gd name="connsiteX9008" fmla="*/ 6246593 w 6942639"/>
                <a:gd name="connsiteY9008" fmla="*/ 2060781 h 9250612"/>
                <a:gd name="connsiteX9009" fmla="*/ 6255553 w 6942639"/>
                <a:gd name="connsiteY9009" fmla="*/ 2051822 h 9250612"/>
                <a:gd name="connsiteX9010" fmla="*/ 6763357 w 6942639"/>
                <a:gd name="connsiteY9010" fmla="*/ 2051822 h 9250612"/>
                <a:gd name="connsiteX9011" fmla="*/ 6772318 w 6942639"/>
                <a:gd name="connsiteY9011" fmla="*/ 2060781 h 9250612"/>
                <a:gd name="connsiteX9012" fmla="*/ 6763357 w 6942639"/>
                <a:gd name="connsiteY9012" fmla="*/ 2069740 h 9250612"/>
                <a:gd name="connsiteX9013" fmla="*/ 6754397 w 6942639"/>
                <a:gd name="connsiteY9013" fmla="*/ 2060781 h 9250612"/>
                <a:gd name="connsiteX9014" fmla="*/ 6763357 w 6942639"/>
                <a:gd name="connsiteY9014" fmla="*/ 2051822 h 9250612"/>
                <a:gd name="connsiteX9015" fmla="*/ 6593035 w 6942639"/>
                <a:gd name="connsiteY9015" fmla="*/ 2051822 h 9250612"/>
                <a:gd name="connsiteX9016" fmla="*/ 6601996 w 6942639"/>
                <a:gd name="connsiteY9016" fmla="*/ 2060781 h 9250612"/>
                <a:gd name="connsiteX9017" fmla="*/ 6593035 w 6942639"/>
                <a:gd name="connsiteY9017" fmla="*/ 2069740 h 9250612"/>
                <a:gd name="connsiteX9018" fmla="*/ 6584075 w 6942639"/>
                <a:gd name="connsiteY9018" fmla="*/ 2060781 h 9250612"/>
                <a:gd name="connsiteX9019" fmla="*/ 6593035 w 6942639"/>
                <a:gd name="connsiteY9019" fmla="*/ 2051822 h 9250612"/>
                <a:gd name="connsiteX9020" fmla="*/ 6424294 w 6942639"/>
                <a:gd name="connsiteY9020" fmla="*/ 2051822 h 9250612"/>
                <a:gd name="connsiteX9021" fmla="*/ 6433255 w 6942639"/>
                <a:gd name="connsiteY9021" fmla="*/ 2060781 h 9250612"/>
                <a:gd name="connsiteX9022" fmla="*/ 6424294 w 6942639"/>
                <a:gd name="connsiteY9022" fmla="*/ 2069740 h 9250612"/>
                <a:gd name="connsiteX9023" fmla="*/ 6415334 w 6942639"/>
                <a:gd name="connsiteY9023" fmla="*/ 2060781 h 9250612"/>
                <a:gd name="connsiteX9024" fmla="*/ 6424294 w 6942639"/>
                <a:gd name="connsiteY9024" fmla="*/ 2051822 h 9250612"/>
                <a:gd name="connsiteX9025" fmla="*/ 6933679 w 6942639"/>
                <a:gd name="connsiteY9025" fmla="*/ 2051821 h 9250612"/>
                <a:gd name="connsiteX9026" fmla="*/ 6942639 w 6942639"/>
                <a:gd name="connsiteY9026" fmla="*/ 2060781 h 9250612"/>
                <a:gd name="connsiteX9027" fmla="*/ 6933679 w 6942639"/>
                <a:gd name="connsiteY9027" fmla="*/ 2069740 h 9250612"/>
                <a:gd name="connsiteX9028" fmla="*/ 6924718 w 6942639"/>
                <a:gd name="connsiteY9028" fmla="*/ 2060781 h 9250612"/>
                <a:gd name="connsiteX9029" fmla="*/ 6933679 w 6942639"/>
                <a:gd name="connsiteY9029" fmla="*/ 2051821 h 9250612"/>
                <a:gd name="connsiteX9030" fmla="*/ 349770 w 6942639"/>
                <a:gd name="connsiteY9030" fmla="*/ 1880882 h 9250612"/>
                <a:gd name="connsiteX9031" fmla="*/ 358731 w 6942639"/>
                <a:gd name="connsiteY9031" fmla="*/ 1889842 h 9250612"/>
                <a:gd name="connsiteX9032" fmla="*/ 349770 w 6942639"/>
                <a:gd name="connsiteY9032" fmla="*/ 1898801 h 9250612"/>
                <a:gd name="connsiteX9033" fmla="*/ 340811 w 6942639"/>
                <a:gd name="connsiteY9033" fmla="*/ 1889842 h 9250612"/>
                <a:gd name="connsiteX9034" fmla="*/ 349770 w 6942639"/>
                <a:gd name="connsiteY9034" fmla="*/ 1880882 h 9250612"/>
                <a:gd name="connsiteX9035" fmla="*/ 179453 w 6942639"/>
                <a:gd name="connsiteY9035" fmla="*/ 1880882 h 9250612"/>
                <a:gd name="connsiteX9036" fmla="*/ 188414 w 6942639"/>
                <a:gd name="connsiteY9036" fmla="*/ 1889841 h 9250612"/>
                <a:gd name="connsiteX9037" fmla="*/ 179453 w 6942639"/>
                <a:gd name="connsiteY9037" fmla="*/ 1898801 h 9250612"/>
                <a:gd name="connsiteX9038" fmla="*/ 170493 w 6942639"/>
                <a:gd name="connsiteY9038" fmla="*/ 1889841 h 9250612"/>
                <a:gd name="connsiteX9039" fmla="*/ 179453 w 6942639"/>
                <a:gd name="connsiteY9039" fmla="*/ 1880882 h 9250612"/>
                <a:gd name="connsiteX9040" fmla="*/ 9138 w 6942639"/>
                <a:gd name="connsiteY9040" fmla="*/ 1880882 h 9250612"/>
                <a:gd name="connsiteX9041" fmla="*/ 18097 w 6942639"/>
                <a:gd name="connsiteY9041" fmla="*/ 1889841 h 9250612"/>
                <a:gd name="connsiteX9042" fmla="*/ 9138 w 6942639"/>
                <a:gd name="connsiteY9042" fmla="*/ 1898801 h 9250612"/>
                <a:gd name="connsiteX9043" fmla="*/ 178 w 6942639"/>
                <a:gd name="connsiteY9043" fmla="*/ 1889841 h 9250612"/>
                <a:gd name="connsiteX9044" fmla="*/ 9138 w 6942639"/>
                <a:gd name="connsiteY9044" fmla="*/ 1880882 h 9250612"/>
                <a:gd name="connsiteX9045" fmla="*/ 518508 w 6942639"/>
                <a:gd name="connsiteY9045" fmla="*/ 1880882 h 9250612"/>
                <a:gd name="connsiteX9046" fmla="*/ 527468 w 6942639"/>
                <a:gd name="connsiteY9046" fmla="*/ 1889841 h 9250612"/>
                <a:gd name="connsiteX9047" fmla="*/ 518508 w 6942639"/>
                <a:gd name="connsiteY9047" fmla="*/ 1898800 h 9250612"/>
                <a:gd name="connsiteX9048" fmla="*/ 509547 w 6942639"/>
                <a:gd name="connsiteY9048" fmla="*/ 1889841 h 9250612"/>
                <a:gd name="connsiteX9049" fmla="*/ 518508 w 6942639"/>
                <a:gd name="connsiteY9049" fmla="*/ 1880882 h 9250612"/>
                <a:gd name="connsiteX9050" fmla="*/ 1024746 w 6942639"/>
                <a:gd name="connsiteY9050" fmla="*/ 1880882 h 9250612"/>
                <a:gd name="connsiteX9051" fmla="*/ 1033713 w 6942639"/>
                <a:gd name="connsiteY9051" fmla="*/ 1889840 h 9250612"/>
                <a:gd name="connsiteX9052" fmla="*/ 1024746 w 6942639"/>
                <a:gd name="connsiteY9052" fmla="*/ 1898800 h 9250612"/>
                <a:gd name="connsiteX9053" fmla="*/ 1015786 w 6942639"/>
                <a:gd name="connsiteY9053" fmla="*/ 1889840 h 9250612"/>
                <a:gd name="connsiteX9054" fmla="*/ 1024746 w 6942639"/>
                <a:gd name="connsiteY9054" fmla="*/ 1880882 h 9250612"/>
                <a:gd name="connsiteX9055" fmla="*/ 856022 w 6942639"/>
                <a:gd name="connsiteY9055" fmla="*/ 1880882 h 9250612"/>
                <a:gd name="connsiteX9056" fmla="*/ 864983 w 6942639"/>
                <a:gd name="connsiteY9056" fmla="*/ 1889841 h 9250612"/>
                <a:gd name="connsiteX9057" fmla="*/ 856022 w 6942639"/>
                <a:gd name="connsiteY9057" fmla="*/ 1898800 h 9250612"/>
                <a:gd name="connsiteX9058" fmla="*/ 847061 w 6942639"/>
                <a:gd name="connsiteY9058" fmla="*/ 1889841 h 9250612"/>
                <a:gd name="connsiteX9059" fmla="*/ 856022 w 6942639"/>
                <a:gd name="connsiteY9059" fmla="*/ 1880882 h 9250612"/>
                <a:gd name="connsiteX9060" fmla="*/ 687284 w 6942639"/>
                <a:gd name="connsiteY9060" fmla="*/ 1880882 h 9250612"/>
                <a:gd name="connsiteX9061" fmla="*/ 696244 w 6942639"/>
                <a:gd name="connsiteY9061" fmla="*/ 1889841 h 9250612"/>
                <a:gd name="connsiteX9062" fmla="*/ 687284 w 6942639"/>
                <a:gd name="connsiteY9062" fmla="*/ 1898800 h 9250612"/>
                <a:gd name="connsiteX9063" fmla="*/ 678326 w 6942639"/>
                <a:gd name="connsiteY9063" fmla="*/ 1889841 h 9250612"/>
                <a:gd name="connsiteX9064" fmla="*/ 687284 w 6942639"/>
                <a:gd name="connsiteY9064" fmla="*/ 1880882 h 9250612"/>
                <a:gd name="connsiteX9065" fmla="*/ 1193502 w 6942639"/>
                <a:gd name="connsiteY9065" fmla="*/ 1880881 h 9250612"/>
                <a:gd name="connsiteX9066" fmla="*/ 1202463 w 6942639"/>
                <a:gd name="connsiteY9066" fmla="*/ 1889840 h 9250612"/>
                <a:gd name="connsiteX9067" fmla="*/ 1193502 w 6942639"/>
                <a:gd name="connsiteY9067" fmla="*/ 1898799 h 9250612"/>
                <a:gd name="connsiteX9068" fmla="*/ 1184545 w 6942639"/>
                <a:gd name="connsiteY9068" fmla="*/ 1889840 h 9250612"/>
                <a:gd name="connsiteX9069" fmla="*/ 1193502 w 6942639"/>
                <a:gd name="connsiteY9069" fmla="*/ 1880881 h 9250612"/>
                <a:gd name="connsiteX9070" fmla="*/ 1699741 w 6942639"/>
                <a:gd name="connsiteY9070" fmla="*/ 1880881 h 9250612"/>
                <a:gd name="connsiteX9071" fmla="*/ 1708710 w 6942639"/>
                <a:gd name="connsiteY9071" fmla="*/ 1889840 h 9250612"/>
                <a:gd name="connsiteX9072" fmla="*/ 1699741 w 6942639"/>
                <a:gd name="connsiteY9072" fmla="*/ 1898799 h 9250612"/>
                <a:gd name="connsiteX9073" fmla="*/ 1690770 w 6942639"/>
                <a:gd name="connsiteY9073" fmla="*/ 1889840 h 9250612"/>
                <a:gd name="connsiteX9074" fmla="*/ 1699741 w 6942639"/>
                <a:gd name="connsiteY9074" fmla="*/ 1880881 h 9250612"/>
                <a:gd name="connsiteX9075" fmla="*/ 1530998 w 6942639"/>
                <a:gd name="connsiteY9075" fmla="*/ 1880881 h 9250612"/>
                <a:gd name="connsiteX9076" fmla="*/ 1539960 w 6942639"/>
                <a:gd name="connsiteY9076" fmla="*/ 1889840 h 9250612"/>
                <a:gd name="connsiteX9077" fmla="*/ 1530998 w 6942639"/>
                <a:gd name="connsiteY9077" fmla="*/ 1898799 h 9250612"/>
                <a:gd name="connsiteX9078" fmla="*/ 1522036 w 6942639"/>
                <a:gd name="connsiteY9078" fmla="*/ 1889840 h 9250612"/>
                <a:gd name="connsiteX9079" fmla="*/ 1530998 w 6942639"/>
                <a:gd name="connsiteY9079" fmla="*/ 1880881 h 9250612"/>
                <a:gd name="connsiteX9080" fmla="*/ 1362244 w 6942639"/>
                <a:gd name="connsiteY9080" fmla="*/ 1880881 h 9250612"/>
                <a:gd name="connsiteX9081" fmla="*/ 1371207 w 6942639"/>
                <a:gd name="connsiteY9081" fmla="*/ 1889840 h 9250612"/>
                <a:gd name="connsiteX9082" fmla="*/ 1362244 w 6942639"/>
                <a:gd name="connsiteY9082" fmla="*/ 1898799 h 9250612"/>
                <a:gd name="connsiteX9083" fmla="*/ 1353283 w 6942639"/>
                <a:gd name="connsiteY9083" fmla="*/ 1889840 h 9250612"/>
                <a:gd name="connsiteX9084" fmla="*/ 1362244 w 6942639"/>
                <a:gd name="connsiteY9084" fmla="*/ 1880881 h 9250612"/>
                <a:gd name="connsiteX9085" fmla="*/ 1868494 w 6942639"/>
                <a:gd name="connsiteY9085" fmla="*/ 1880880 h 9250612"/>
                <a:gd name="connsiteX9086" fmla="*/ 1877440 w 6942639"/>
                <a:gd name="connsiteY9086" fmla="*/ 1889840 h 9250612"/>
                <a:gd name="connsiteX9087" fmla="*/ 1868494 w 6942639"/>
                <a:gd name="connsiteY9087" fmla="*/ 1898798 h 9250612"/>
                <a:gd name="connsiteX9088" fmla="*/ 1859515 w 6942639"/>
                <a:gd name="connsiteY9088" fmla="*/ 1889840 h 9250612"/>
                <a:gd name="connsiteX9089" fmla="*/ 1868494 w 6942639"/>
                <a:gd name="connsiteY9089" fmla="*/ 1880880 h 9250612"/>
                <a:gd name="connsiteX9090" fmla="*/ 2374634 w 6942639"/>
                <a:gd name="connsiteY9090" fmla="*/ 1880880 h 9250612"/>
                <a:gd name="connsiteX9091" fmla="*/ 2383651 w 6942639"/>
                <a:gd name="connsiteY9091" fmla="*/ 1889839 h 9250612"/>
                <a:gd name="connsiteX9092" fmla="*/ 2374634 w 6942639"/>
                <a:gd name="connsiteY9092" fmla="*/ 1898798 h 9250612"/>
                <a:gd name="connsiteX9093" fmla="*/ 2365670 w 6942639"/>
                <a:gd name="connsiteY9093" fmla="*/ 1889839 h 9250612"/>
                <a:gd name="connsiteX9094" fmla="*/ 2374634 w 6942639"/>
                <a:gd name="connsiteY9094" fmla="*/ 1880880 h 9250612"/>
                <a:gd name="connsiteX9095" fmla="*/ 2205938 w 6942639"/>
                <a:gd name="connsiteY9095" fmla="*/ 1880880 h 9250612"/>
                <a:gd name="connsiteX9096" fmla="*/ 2214895 w 6942639"/>
                <a:gd name="connsiteY9096" fmla="*/ 1889839 h 9250612"/>
                <a:gd name="connsiteX9097" fmla="*/ 2205938 w 6942639"/>
                <a:gd name="connsiteY9097" fmla="*/ 1898798 h 9250612"/>
                <a:gd name="connsiteX9098" fmla="*/ 2196939 w 6942639"/>
                <a:gd name="connsiteY9098" fmla="*/ 1889839 h 9250612"/>
                <a:gd name="connsiteX9099" fmla="*/ 2205938 w 6942639"/>
                <a:gd name="connsiteY9099" fmla="*/ 1880880 h 9250612"/>
                <a:gd name="connsiteX9100" fmla="*/ 2037193 w 6942639"/>
                <a:gd name="connsiteY9100" fmla="*/ 1880880 h 9250612"/>
                <a:gd name="connsiteX9101" fmla="*/ 2046134 w 6942639"/>
                <a:gd name="connsiteY9101" fmla="*/ 1889840 h 9250612"/>
                <a:gd name="connsiteX9102" fmla="*/ 2037193 w 6942639"/>
                <a:gd name="connsiteY9102" fmla="*/ 1898798 h 9250612"/>
                <a:gd name="connsiteX9103" fmla="*/ 2028260 w 6942639"/>
                <a:gd name="connsiteY9103" fmla="*/ 1889840 h 9250612"/>
                <a:gd name="connsiteX9104" fmla="*/ 2037193 w 6942639"/>
                <a:gd name="connsiteY9104" fmla="*/ 1880880 h 9250612"/>
                <a:gd name="connsiteX9105" fmla="*/ 2543441 w 6942639"/>
                <a:gd name="connsiteY9105" fmla="*/ 1880879 h 9250612"/>
                <a:gd name="connsiteX9106" fmla="*/ 2552405 w 6942639"/>
                <a:gd name="connsiteY9106" fmla="*/ 1889839 h 9250612"/>
                <a:gd name="connsiteX9107" fmla="*/ 2543441 w 6942639"/>
                <a:gd name="connsiteY9107" fmla="*/ 1898798 h 9250612"/>
                <a:gd name="connsiteX9108" fmla="*/ 2534465 w 6942639"/>
                <a:gd name="connsiteY9108" fmla="*/ 1889839 h 9250612"/>
                <a:gd name="connsiteX9109" fmla="*/ 2543441 w 6942639"/>
                <a:gd name="connsiteY9109" fmla="*/ 1880879 h 9250612"/>
                <a:gd name="connsiteX9110" fmla="*/ 3049609 w 6942639"/>
                <a:gd name="connsiteY9110" fmla="*/ 1880879 h 9250612"/>
                <a:gd name="connsiteX9111" fmla="*/ 3058562 w 6942639"/>
                <a:gd name="connsiteY9111" fmla="*/ 1889838 h 9250612"/>
                <a:gd name="connsiteX9112" fmla="*/ 3049609 w 6942639"/>
                <a:gd name="connsiteY9112" fmla="*/ 1898797 h 9250612"/>
                <a:gd name="connsiteX9113" fmla="*/ 3040639 w 6942639"/>
                <a:gd name="connsiteY9113" fmla="*/ 1889838 h 9250612"/>
                <a:gd name="connsiteX9114" fmla="*/ 3049609 w 6942639"/>
                <a:gd name="connsiteY9114" fmla="*/ 1880879 h 9250612"/>
                <a:gd name="connsiteX9115" fmla="*/ 2880889 w 6942639"/>
                <a:gd name="connsiteY9115" fmla="*/ 1880879 h 9250612"/>
                <a:gd name="connsiteX9116" fmla="*/ 2889846 w 6942639"/>
                <a:gd name="connsiteY9116" fmla="*/ 1889838 h 9250612"/>
                <a:gd name="connsiteX9117" fmla="*/ 2880889 w 6942639"/>
                <a:gd name="connsiteY9117" fmla="*/ 1898797 h 9250612"/>
                <a:gd name="connsiteX9118" fmla="*/ 2871932 w 6942639"/>
                <a:gd name="connsiteY9118" fmla="*/ 1889838 h 9250612"/>
                <a:gd name="connsiteX9119" fmla="*/ 2880889 w 6942639"/>
                <a:gd name="connsiteY9119" fmla="*/ 1880879 h 9250612"/>
                <a:gd name="connsiteX9120" fmla="*/ 2712115 w 6942639"/>
                <a:gd name="connsiteY9120" fmla="*/ 1880879 h 9250612"/>
                <a:gd name="connsiteX9121" fmla="*/ 2721098 w 6942639"/>
                <a:gd name="connsiteY9121" fmla="*/ 1889839 h 9250612"/>
                <a:gd name="connsiteX9122" fmla="*/ 2712115 w 6942639"/>
                <a:gd name="connsiteY9122" fmla="*/ 1898797 h 9250612"/>
                <a:gd name="connsiteX9123" fmla="*/ 2703160 w 6942639"/>
                <a:gd name="connsiteY9123" fmla="*/ 1889839 h 9250612"/>
                <a:gd name="connsiteX9124" fmla="*/ 2712115 w 6942639"/>
                <a:gd name="connsiteY9124" fmla="*/ 1880879 h 9250612"/>
                <a:gd name="connsiteX9125" fmla="*/ 3218305 w 6942639"/>
                <a:gd name="connsiteY9125" fmla="*/ 1880879 h 9250612"/>
                <a:gd name="connsiteX9126" fmla="*/ 3227285 w 6942639"/>
                <a:gd name="connsiteY9126" fmla="*/ 1889838 h 9250612"/>
                <a:gd name="connsiteX9127" fmla="*/ 3218305 w 6942639"/>
                <a:gd name="connsiteY9127" fmla="*/ 1898797 h 9250612"/>
                <a:gd name="connsiteX9128" fmla="*/ 3209335 w 6942639"/>
                <a:gd name="connsiteY9128" fmla="*/ 1889838 h 9250612"/>
                <a:gd name="connsiteX9129" fmla="*/ 3218305 w 6942639"/>
                <a:gd name="connsiteY9129" fmla="*/ 1880879 h 9250612"/>
                <a:gd name="connsiteX9130" fmla="*/ 3387062 w 6942639"/>
                <a:gd name="connsiteY9130" fmla="*/ 1880878 h 9250612"/>
                <a:gd name="connsiteX9131" fmla="*/ 3396037 w 6942639"/>
                <a:gd name="connsiteY9131" fmla="*/ 1889838 h 9250612"/>
                <a:gd name="connsiteX9132" fmla="*/ 3387062 w 6942639"/>
                <a:gd name="connsiteY9132" fmla="*/ 1898797 h 9250612"/>
                <a:gd name="connsiteX9133" fmla="*/ 3378051 w 6942639"/>
                <a:gd name="connsiteY9133" fmla="*/ 1889838 h 9250612"/>
                <a:gd name="connsiteX9134" fmla="*/ 3387062 w 6942639"/>
                <a:gd name="connsiteY9134" fmla="*/ 1880878 h 9250612"/>
                <a:gd name="connsiteX9135" fmla="*/ 3893170 w 6942639"/>
                <a:gd name="connsiteY9135" fmla="*/ 1880878 h 9250612"/>
                <a:gd name="connsiteX9136" fmla="*/ 3902131 w 6942639"/>
                <a:gd name="connsiteY9136" fmla="*/ 1889837 h 9250612"/>
                <a:gd name="connsiteX9137" fmla="*/ 3893170 w 6942639"/>
                <a:gd name="connsiteY9137" fmla="*/ 1898796 h 9250612"/>
                <a:gd name="connsiteX9138" fmla="*/ 3884210 w 6942639"/>
                <a:gd name="connsiteY9138" fmla="*/ 1889837 h 9250612"/>
                <a:gd name="connsiteX9139" fmla="*/ 3893170 w 6942639"/>
                <a:gd name="connsiteY9139" fmla="*/ 1880878 h 9250612"/>
                <a:gd name="connsiteX9140" fmla="*/ 3724429 w 6942639"/>
                <a:gd name="connsiteY9140" fmla="*/ 1880878 h 9250612"/>
                <a:gd name="connsiteX9141" fmla="*/ 3733390 w 6942639"/>
                <a:gd name="connsiteY9141" fmla="*/ 1889837 h 9250612"/>
                <a:gd name="connsiteX9142" fmla="*/ 3724429 w 6942639"/>
                <a:gd name="connsiteY9142" fmla="*/ 1898797 h 9250612"/>
                <a:gd name="connsiteX9143" fmla="*/ 3715469 w 6942639"/>
                <a:gd name="connsiteY9143" fmla="*/ 1889837 h 9250612"/>
                <a:gd name="connsiteX9144" fmla="*/ 3724429 w 6942639"/>
                <a:gd name="connsiteY9144" fmla="*/ 1880878 h 9250612"/>
                <a:gd name="connsiteX9145" fmla="*/ 3555688 w 6942639"/>
                <a:gd name="connsiteY9145" fmla="*/ 1880878 h 9250612"/>
                <a:gd name="connsiteX9146" fmla="*/ 3564649 w 6942639"/>
                <a:gd name="connsiteY9146" fmla="*/ 1889837 h 9250612"/>
                <a:gd name="connsiteX9147" fmla="*/ 3555688 w 6942639"/>
                <a:gd name="connsiteY9147" fmla="*/ 1898797 h 9250612"/>
                <a:gd name="connsiteX9148" fmla="*/ 3546728 w 6942639"/>
                <a:gd name="connsiteY9148" fmla="*/ 1889837 h 9250612"/>
                <a:gd name="connsiteX9149" fmla="*/ 3555688 w 6942639"/>
                <a:gd name="connsiteY9149" fmla="*/ 1880878 h 9250612"/>
                <a:gd name="connsiteX9150" fmla="*/ 4061912 w 6942639"/>
                <a:gd name="connsiteY9150" fmla="*/ 1880878 h 9250612"/>
                <a:gd name="connsiteX9151" fmla="*/ 4070873 w 6942639"/>
                <a:gd name="connsiteY9151" fmla="*/ 1889837 h 9250612"/>
                <a:gd name="connsiteX9152" fmla="*/ 4061912 w 6942639"/>
                <a:gd name="connsiteY9152" fmla="*/ 1898796 h 9250612"/>
                <a:gd name="connsiteX9153" fmla="*/ 4052952 w 6942639"/>
                <a:gd name="connsiteY9153" fmla="*/ 1889837 h 9250612"/>
                <a:gd name="connsiteX9154" fmla="*/ 4061912 w 6942639"/>
                <a:gd name="connsiteY9154" fmla="*/ 1880878 h 9250612"/>
                <a:gd name="connsiteX9155" fmla="*/ 4568137 w 6942639"/>
                <a:gd name="connsiteY9155" fmla="*/ 1880877 h 9250612"/>
                <a:gd name="connsiteX9156" fmla="*/ 4577098 w 6942639"/>
                <a:gd name="connsiteY9156" fmla="*/ 1889836 h 9250612"/>
                <a:gd name="connsiteX9157" fmla="*/ 4568137 w 6942639"/>
                <a:gd name="connsiteY9157" fmla="*/ 1898795 h 9250612"/>
                <a:gd name="connsiteX9158" fmla="*/ 4559177 w 6942639"/>
                <a:gd name="connsiteY9158" fmla="*/ 1889836 h 9250612"/>
                <a:gd name="connsiteX9159" fmla="*/ 4568137 w 6942639"/>
                <a:gd name="connsiteY9159" fmla="*/ 1880877 h 9250612"/>
                <a:gd name="connsiteX9160" fmla="*/ 4399396 w 6942639"/>
                <a:gd name="connsiteY9160" fmla="*/ 1880877 h 9250612"/>
                <a:gd name="connsiteX9161" fmla="*/ 4408357 w 6942639"/>
                <a:gd name="connsiteY9161" fmla="*/ 1889836 h 9250612"/>
                <a:gd name="connsiteX9162" fmla="*/ 4399396 w 6942639"/>
                <a:gd name="connsiteY9162" fmla="*/ 1898796 h 9250612"/>
                <a:gd name="connsiteX9163" fmla="*/ 4390436 w 6942639"/>
                <a:gd name="connsiteY9163" fmla="*/ 1889836 h 9250612"/>
                <a:gd name="connsiteX9164" fmla="*/ 4399396 w 6942639"/>
                <a:gd name="connsiteY9164" fmla="*/ 1880877 h 9250612"/>
                <a:gd name="connsiteX9165" fmla="*/ 4230654 w 6942639"/>
                <a:gd name="connsiteY9165" fmla="*/ 1880877 h 9250612"/>
                <a:gd name="connsiteX9166" fmla="*/ 4239615 w 6942639"/>
                <a:gd name="connsiteY9166" fmla="*/ 1889837 h 9250612"/>
                <a:gd name="connsiteX9167" fmla="*/ 4230654 w 6942639"/>
                <a:gd name="connsiteY9167" fmla="*/ 1898796 h 9250612"/>
                <a:gd name="connsiteX9168" fmla="*/ 4221694 w 6942639"/>
                <a:gd name="connsiteY9168" fmla="*/ 1889837 h 9250612"/>
                <a:gd name="connsiteX9169" fmla="*/ 4230654 w 6942639"/>
                <a:gd name="connsiteY9169" fmla="*/ 1880877 h 9250612"/>
                <a:gd name="connsiteX9170" fmla="*/ 4736878 w 6942639"/>
                <a:gd name="connsiteY9170" fmla="*/ 1880877 h 9250612"/>
                <a:gd name="connsiteX9171" fmla="*/ 4745839 w 6942639"/>
                <a:gd name="connsiteY9171" fmla="*/ 1889836 h 9250612"/>
                <a:gd name="connsiteX9172" fmla="*/ 4736878 w 6942639"/>
                <a:gd name="connsiteY9172" fmla="*/ 1898795 h 9250612"/>
                <a:gd name="connsiteX9173" fmla="*/ 4727918 w 6942639"/>
                <a:gd name="connsiteY9173" fmla="*/ 1889836 h 9250612"/>
                <a:gd name="connsiteX9174" fmla="*/ 4736878 w 6942639"/>
                <a:gd name="connsiteY9174" fmla="*/ 1880877 h 9250612"/>
                <a:gd name="connsiteX9175" fmla="*/ 5243103 w 6942639"/>
                <a:gd name="connsiteY9175" fmla="*/ 1880876 h 9250612"/>
                <a:gd name="connsiteX9176" fmla="*/ 5252064 w 6942639"/>
                <a:gd name="connsiteY9176" fmla="*/ 1889835 h 9250612"/>
                <a:gd name="connsiteX9177" fmla="*/ 5243103 w 6942639"/>
                <a:gd name="connsiteY9177" fmla="*/ 1898794 h 9250612"/>
                <a:gd name="connsiteX9178" fmla="*/ 5234143 w 6942639"/>
                <a:gd name="connsiteY9178" fmla="*/ 1889835 h 9250612"/>
                <a:gd name="connsiteX9179" fmla="*/ 5243103 w 6942639"/>
                <a:gd name="connsiteY9179" fmla="*/ 1880876 h 9250612"/>
                <a:gd name="connsiteX9180" fmla="*/ 5074362 w 6942639"/>
                <a:gd name="connsiteY9180" fmla="*/ 1880876 h 9250612"/>
                <a:gd name="connsiteX9181" fmla="*/ 5083323 w 6942639"/>
                <a:gd name="connsiteY9181" fmla="*/ 1889836 h 9250612"/>
                <a:gd name="connsiteX9182" fmla="*/ 5074362 w 6942639"/>
                <a:gd name="connsiteY9182" fmla="*/ 1898794 h 9250612"/>
                <a:gd name="connsiteX9183" fmla="*/ 5065402 w 6942639"/>
                <a:gd name="connsiteY9183" fmla="*/ 1889836 h 9250612"/>
                <a:gd name="connsiteX9184" fmla="*/ 5074362 w 6942639"/>
                <a:gd name="connsiteY9184" fmla="*/ 1880876 h 9250612"/>
                <a:gd name="connsiteX9185" fmla="*/ 4905620 w 6942639"/>
                <a:gd name="connsiteY9185" fmla="*/ 1880876 h 9250612"/>
                <a:gd name="connsiteX9186" fmla="*/ 4914581 w 6942639"/>
                <a:gd name="connsiteY9186" fmla="*/ 1889836 h 9250612"/>
                <a:gd name="connsiteX9187" fmla="*/ 4905620 w 6942639"/>
                <a:gd name="connsiteY9187" fmla="*/ 1898794 h 9250612"/>
                <a:gd name="connsiteX9188" fmla="*/ 4896660 w 6942639"/>
                <a:gd name="connsiteY9188" fmla="*/ 1889836 h 9250612"/>
                <a:gd name="connsiteX9189" fmla="*/ 4905620 w 6942639"/>
                <a:gd name="connsiteY9189" fmla="*/ 1880876 h 9250612"/>
                <a:gd name="connsiteX9190" fmla="*/ 5411845 w 6942639"/>
                <a:gd name="connsiteY9190" fmla="*/ 1880876 h 9250612"/>
                <a:gd name="connsiteX9191" fmla="*/ 5420806 w 6942639"/>
                <a:gd name="connsiteY9191" fmla="*/ 1889835 h 9250612"/>
                <a:gd name="connsiteX9192" fmla="*/ 5411845 w 6942639"/>
                <a:gd name="connsiteY9192" fmla="*/ 1898794 h 9250612"/>
                <a:gd name="connsiteX9193" fmla="*/ 5402885 w 6942639"/>
                <a:gd name="connsiteY9193" fmla="*/ 1889835 h 9250612"/>
                <a:gd name="connsiteX9194" fmla="*/ 5411845 w 6942639"/>
                <a:gd name="connsiteY9194" fmla="*/ 1880876 h 9250612"/>
                <a:gd name="connsiteX9195" fmla="*/ 5918069 w 6942639"/>
                <a:gd name="connsiteY9195" fmla="*/ 1880875 h 9250612"/>
                <a:gd name="connsiteX9196" fmla="*/ 5927030 w 6942639"/>
                <a:gd name="connsiteY9196" fmla="*/ 1889834 h 9250612"/>
                <a:gd name="connsiteX9197" fmla="*/ 5918069 w 6942639"/>
                <a:gd name="connsiteY9197" fmla="*/ 1898794 h 9250612"/>
                <a:gd name="connsiteX9198" fmla="*/ 5909109 w 6942639"/>
                <a:gd name="connsiteY9198" fmla="*/ 1889834 h 9250612"/>
                <a:gd name="connsiteX9199" fmla="*/ 5918069 w 6942639"/>
                <a:gd name="connsiteY9199" fmla="*/ 1880875 h 9250612"/>
                <a:gd name="connsiteX9200" fmla="*/ 5749328 w 6942639"/>
                <a:gd name="connsiteY9200" fmla="*/ 1880875 h 9250612"/>
                <a:gd name="connsiteX9201" fmla="*/ 5758289 w 6942639"/>
                <a:gd name="connsiteY9201" fmla="*/ 1889835 h 9250612"/>
                <a:gd name="connsiteX9202" fmla="*/ 5749328 w 6942639"/>
                <a:gd name="connsiteY9202" fmla="*/ 1898794 h 9250612"/>
                <a:gd name="connsiteX9203" fmla="*/ 5740368 w 6942639"/>
                <a:gd name="connsiteY9203" fmla="*/ 1889835 h 9250612"/>
                <a:gd name="connsiteX9204" fmla="*/ 5749328 w 6942639"/>
                <a:gd name="connsiteY9204" fmla="*/ 1880875 h 9250612"/>
                <a:gd name="connsiteX9205" fmla="*/ 5580586 w 6942639"/>
                <a:gd name="connsiteY9205" fmla="*/ 1880875 h 9250612"/>
                <a:gd name="connsiteX9206" fmla="*/ 5589547 w 6942639"/>
                <a:gd name="connsiteY9206" fmla="*/ 1889835 h 9250612"/>
                <a:gd name="connsiteX9207" fmla="*/ 5580586 w 6942639"/>
                <a:gd name="connsiteY9207" fmla="*/ 1898794 h 9250612"/>
                <a:gd name="connsiteX9208" fmla="*/ 5571626 w 6942639"/>
                <a:gd name="connsiteY9208" fmla="*/ 1889835 h 9250612"/>
                <a:gd name="connsiteX9209" fmla="*/ 5580586 w 6942639"/>
                <a:gd name="connsiteY9209" fmla="*/ 1880875 h 9250612"/>
                <a:gd name="connsiteX9210" fmla="*/ 6086811 w 6942639"/>
                <a:gd name="connsiteY9210" fmla="*/ 1880875 h 9250612"/>
                <a:gd name="connsiteX9211" fmla="*/ 6095772 w 6942639"/>
                <a:gd name="connsiteY9211" fmla="*/ 1889834 h 9250612"/>
                <a:gd name="connsiteX9212" fmla="*/ 6086811 w 6942639"/>
                <a:gd name="connsiteY9212" fmla="*/ 1898793 h 9250612"/>
                <a:gd name="connsiteX9213" fmla="*/ 6077851 w 6942639"/>
                <a:gd name="connsiteY9213" fmla="*/ 1889834 h 9250612"/>
                <a:gd name="connsiteX9214" fmla="*/ 6086811 w 6942639"/>
                <a:gd name="connsiteY9214" fmla="*/ 1880875 h 9250612"/>
                <a:gd name="connsiteX9215" fmla="*/ 6593035 w 6942639"/>
                <a:gd name="connsiteY9215" fmla="*/ 1880875 h 9250612"/>
                <a:gd name="connsiteX9216" fmla="*/ 6601996 w 6942639"/>
                <a:gd name="connsiteY9216" fmla="*/ 1889833 h 9250612"/>
                <a:gd name="connsiteX9217" fmla="*/ 6593035 w 6942639"/>
                <a:gd name="connsiteY9217" fmla="*/ 1898793 h 9250612"/>
                <a:gd name="connsiteX9218" fmla="*/ 6584075 w 6942639"/>
                <a:gd name="connsiteY9218" fmla="*/ 1889833 h 9250612"/>
                <a:gd name="connsiteX9219" fmla="*/ 6593035 w 6942639"/>
                <a:gd name="connsiteY9219" fmla="*/ 1880875 h 9250612"/>
                <a:gd name="connsiteX9220" fmla="*/ 6424294 w 6942639"/>
                <a:gd name="connsiteY9220" fmla="*/ 1880875 h 9250612"/>
                <a:gd name="connsiteX9221" fmla="*/ 6433255 w 6942639"/>
                <a:gd name="connsiteY9221" fmla="*/ 1889834 h 9250612"/>
                <a:gd name="connsiteX9222" fmla="*/ 6424294 w 6942639"/>
                <a:gd name="connsiteY9222" fmla="*/ 1898793 h 9250612"/>
                <a:gd name="connsiteX9223" fmla="*/ 6415334 w 6942639"/>
                <a:gd name="connsiteY9223" fmla="*/ 1889834 h 9250612"/>
                <a:gd name="connsiteX9224" fmla="*/ 6424294 w 6942639"/>
                <a:gd name="connsiteY9224" fmla="*/ 1880875 h 9250612"/>
                <a:gd name="connsiteX9225" fmla="*/ 6255553 w 6942639"/>
                <a:gd name="connsiteY9225" fmla="*/ 1880875 h 9250612"/>
                <a:gd name="connsiteX9226" fmla="*/ 6264514 w 6942639"/>
                <a:gd name="connsiteY9226" fmla="*/ 1889834 h 9250612"/>
                <a:gd name="connsiteX9227" fmla="*/ 6255553 w 6942639"/>
                <a:gd name="connsiteY9227" fmla="*/ 1898793 h 9250612"/>
                <a:gd name="connsiteX9228" fmla="*/ 6246593 w 6942639"/>
                <a:gd name="connsiteY9228" fmla="*/ 1889834 h 9250612"/>
                <a:gd name="connsiteX9229" fmla="*/ 6255553 w 6942639"/>
                <a:gd name="connsiteY9229" fmla="*/ 1880875 h 9250612"/>
                <a:gd name="connsiteX9230" fmla="*/ 6763357 w 6942639"/>
                <a:gd name="connsiteY9230" fmla="*/ 1880874 h 9250612"/>
                <a:gd name="connsiteX9231" fmla="*/ 6772318 w 6942639"/>
                <a:gd name="connsiteY9231" fmla="*/ 1889833 h 9250612"/>
                <a:gd name="connsiteX9232" fmla="*/ 6763357 w 6942639"/>
                <a:gd name="connsiteY9232" fmla="*/ 1898793 h 9250612"/>
                <a:gd name="connsiteX9233" fmla="*/ 6754397 w 6942639"/>
                <a:gd name="connsiteY9233" fmla="*/ 1889833 h 9250612"/>
                <a:gd name="connsiteX9234" fmla="*/ 6763357 w 6942639"/>
                <a:gd name="connsiteY9234" fmla="*/ 1880874 h 9250612"/>
                <a:gd name="connsiteX9235" fmla="*/ 6933679 w 6942639"/>
                <a:gd name="connsiteY9235" fmla="*/ 1880874 h 9250612"/>
                <a:gd name="connsiteX9236" fmla="*/ 6942639 w 6942639"/>
                <a:gd name="connsiteY9236" fmla="*/ 1889833 h 9250612"/>
                <a:gd name="connsiteX9237" fmla="*/ 6933679 w 6942639"/>
                <a:gd name="connsiteY9237" fmla="*/ 1898792 h 9250612"/>
                <a:gd name="connsiteX9238" fmla="*/ 6924718 w 6942639"/>
                <a:gd name="connsiteY9238" fmla="*/ 1889833 h 9250612"/>
                <a:gd name="connsiteX9239" fmla="*/ 6933679 w 6942639"/>
                <a:gd name="connsiteY9239" fmla="*/ 1880874 h 9250612"/>
                <a:gd name="connsiteX9240" fmla="*/ 349774 w 6942639"/>
                <a:gd name="connsiteY9240" fmla="*/ 1709936 h 9250612"/>
                <a:gd name="connsiteX9241" fmla="*/ 358735 w 6942639"/>
                <a:gd name="connsiteY9241" fmla="*/ 1718895 h 9250612"/>
                <a:gd name="connsiteX9242" fmla="*/ 349774 w 6942639"/>
                <a:gd name="connsiteY9242" fmla="*/ 1727854 h 9250612"/>
                <a:gd name="connsiteX9243" fmla="*/ 340815 w 6942639"/>
                <a:gd name="connsiteY9243" fmla="*/ 1718895 h 9250612"/>
                <a:gd name="connsiteX9244" fmla="*/ 349774 w 6942639"/>
                <a:gd name="connsiteY9244" fmla="*/ 1709936 h 9250612"/>
                <a:gd name="connsiteX9245" fmla="*/ 179457 w 6942639"/>
                <a:gd name="connsiteY9245" fmla="*/ 1709936 h 9250612"/>
                <a:gd name="connsiteX9246" fmla="*/ 188418 w 6942639"/>
                <a:gd name="connsiteY9246" fmla="*/ 1718895 h 9250612"/>
                <a:gd name="connsiteX9247" fmla="*/ 179457 w 6942639"/>
                <a:gd name="connsiteY9247" fmla="*/ 1727854 h 9250612"/>
                <a:gd name="connsiteX9248" fmla="*/ 170497 w 6942639"/>
                <a:gd name="connsiteY9248" fmla="*/ 1718895 h 9250612"/>
                <a:gd name="connsiteX9249" fmla="*/ 179457 w 6942639"/>
                <a:gd name="connsiteY9249" fmla="*/ 1709936 h 9250612"/>
                <a:gd name="connsiteX9250" fmla="*/ 9142 w 6942639"/>
                <a:gd name="connsiteY9250" fmla="*/ 1709936 h 9250612"/>
                <a:gd name="connsiteX9251" fmla="*/ 18101 w 6942639"/>
                <a:gd name="connsiteY9251" fmla="*/ 1718895 h 9250612"/>
                <a:gd name="connsiteX9252" fmla="*/ 9142 w 6942639"/>
                <a:gd name="connsiteY9252" fmla="*/ 1727854 h 9250612"/>
                <a:gd name="connsiteX9253" fmla="*/ 182 w 6942639"/>
                <a:gd name="connsiteY9253" fmla="*/ 1718895 h 9250612"/>
                <a:gd name="connsiteX9254" fmla="*/ 9142 w 6942639"/>
                <a:gd name="connsiteY9254" fmla="*/ 1709936 h 9250612"/>
                <a:gd name="connsiteX9255" fmla="*/ 856027 w 6942639"/>
                <a:gd name="connsiteY9255" fmla="*/ 1709935 h 9250612"/>
                <a:gd name="connsiteX9256" fmla="*/ 864987 w 6942639"/>
                <a:gd name="connsiteY9256" fmla="*/ 1718894 h 9250612"/>
                <a:gd name="connsiteX9257" fmla="*/ 856027 w 6942639"/>
                <a:gd name="connsiteY9257" fmla="*/ 1727853 h 9250612"/>
                <a:gd name="connsiteX9258" fmla="*/ 847065 w 6942639"/>
                <a:gd name="connsiteY9258" fmla="*/ 1718894 h 9250612"/>
                <a:gd name="connsiteX9259" fmla="*/ 856027 w 6942639"/>
                <a:gd name="connsiteY9259" fmla="*/ 1709935 h 9250612"/>
                <a:gd name="connsiteX9260" fmla="*/ 687289 w 6942639"/>
                <a:gd name="connsiteY9260" fmla="*/ 1709935 h 9250612"/>
                <a:gd name="connsiteX9261" fmla="*/ 696249 w 6942639"/>
                <a:gd name="connsiteY9261" fmla="*/ 1718895 h 9250612"/>
                <a:gd name="connsiteX9262" fmla="*/ 687289 w 6942639"/>
                <a:gd name="connsiteY9262" fmla="*/ 1727853 h 9250612"/>
                <a:gd name="connsiteX9263" fmla="*/ 678330 w 6942639"/>
                <a:gd name="connsiteY9263" fmla="*/ 1718895 h 9250612"/>
                <a:gd name="connsiteX9264" fmla="*/ 687289 w 6942639"/>
                <a:gd name="connsiteY9264" fmla="*/ 1709935 h 9250612"/>
                <a:gd name="connsiteX9265" fmla="*/ 518511 w 6942639"/>
                <a:gd name="connsiteY9265" fmla="*/ 1709935 h 9250612"/>
                <a:gd name="connsiteX9266" fmla="*/ 527472 w 6942639"/>
                <a:gd name="connsiteY9266" fmla="*/ 1718895 h 9250612"/>
                <a:gd name="connsiteX9267" fmla="*/ 518511 w 6942639"/>
                <a:gd name="connsiteY9267" fmla="*/ 1727853 h 9250612"/>
                <a:gd name="connsiteX9268" fmla="*/ 509551 w 6942639"/>
                <a:gd name="connsiteY9268" fmla="*/ 1718895 h 9250612"/>
                <a:gd name="connsiteX9269" fmla="*/ 518511 w 6942639"/>
                <a:gd name="connsiteY9269" fmla="*/ 1709935 h 9250612"/>
                <a:gd name="connsiteX9270" fmla="*/ 1024750 w 6942639"/>
                <a:gd name="connsiteY9270" fmla="*/ 1709935 h 9250612"/>
                <a:gd name="connsiteX9271" fmla="*/ 1033717 w 6942639"/>
                <a:gd name="connsiteY9271" fmla="*/ 1718894 h 9250612"/>
                <a:gd name="connsiteX9272" fmla="*/ 1024750 w 6942639"/>
                <a:gd name="connsiteY9272" fmla="*/ 1727853 h 9250612"/>
                <a:gd name="connsiteX9273" fmla="*/ 1015790 w 6942639"/>
                <a:gd name="connsiteY9273" fmla="*/ 1718894 h 9250612"/>
                <a:gd name="connsiteX9274" fmla="*/ 1024750 w 6942639"/>
                <a:gd name="connsiteY9274" fmla="*/ 1709935 h 9250612"/>
                <a:gd name="connsiteX9275" fmla="*/ 1193507 w 6942639"/>
                <a:gd name="connsiteY9275" fmla="*/ 1709934 h 9250612"/>
                <a:gd name="connsiteX9276" fmla="*/ 1202467 w 6942639"/>
                <a:gd name="connsiteY9276" fmla="*/ 1718894 h 9250612"/>
                <a:gd name="connsiteX9277" fmla="*/ 1193507 w 6942639"/>
                <a:gd name="connsiteY9277" fmla="*/ 1727853 h 9250612"/>
                <a:gd name="connsiteX9278" fmla="*/ 1184550 w 6942639"/>
                <a:gd name="connsiteY9278" fmla="*/ 1718894 h 9250612"/>
                <a:gd name="connsiteX9279" fmla="*/ 1193507 w 6942639"/>
                <a:gd name="connsiteY9279" fmla="*/ 1709934 h 9250612"/>
                <a:gd name="connsiteX9280" fmla="*/ 1699745 w 6942639"/>
                <a:gd name="connsiteY9280" fmla="*/ 1709934 h 9250612"/>
                <a:gd name="connsiteX9281" fmla="*/ 1708714 w 6942639"/>
                <a:gd name="connsiteY9281" fmla="*/ 1718893 h 9250612"/>
                <a:gd name="connsiteX9282" fmla="*/ 1699745 w 6942639"/>
                <a:gd name="connsiteY9282" fmla="*/ 1727852 h 9250612"/>
                <a:gd name="connsiteX9283" fmla="*/ 1690775 w 6942639"/>
                <a:gd name="connsiteY9283" fmla="*/ 1718893 h 9250612"/>
                <a:gd name="connsiteX9284" fmla="*/ 1699745 w 6942639"/>
                <a:gd name="connsiteY9284" fmla="*/ 1709934 h 9250612"/>
                <a:gd name="connsiteX9285" fmla="*/ 1531003 w 6942639"/>
                <a:gd name="connsiteY9285" fmla="*/ 1709934 h 9250612"/>
                <a:gd name="connsiteX9286" fmla="*/ 1539965 w 6942639"/>
                <a:gd name="connsiteY9286" fmla="*/ 1718893 h 9250612"/>
                <a:gd name="connsiteX9287" fmla="*/ 1531003 w 6942639"/>
                <a:gd name="connsiteY9287" fmla="*/ 1727852 h 9250612"/>
                <a:gd name="connsiteX9288" fmla="*/ 1522040 w 6942639"/>
                <a:gd name="connsiteY9288" fmla="*/ 1718893 h 9250612"/>
                <a:gd name="connsiteX9289" fmla="*/ 1531003 w 6942639"/>
                <a:gd name="connsiteY9289" fmla="*/ 1709934 h 9250612"/>
                <a:gd name="connsiteX9290" fmla="*/ 1362249 w 6942639"/>
                <a:gd name="connsiteY9290" fmla="*/ 1709934 h 9250612"/>
                <a:gd name="connsiteX9291" fmla="*/ 1371211 w 6942639"/>
                <a:gd name="connsiteY9291" fmla="*/ 1718894 h 9250612"/>
                <a:gd name="connsiteX9292" fmla="*/ 1362249 w 6942639"/>
                <a:gd name="connsiteY9292" fmla="*/ 1727852 h 9250612"/>
                <a:gd name="connsiteX9293" fmla="*/ 1353288 w 6942639"/>
                <a:gd name="connsiteY9293" fmla="*/ 1718894 h 9250612"/>
                <a:gd name="connsiteX9294" fmla="*/ 1362249 w 6942639"/>
                <a:gd name="connsiteY9294" fmla="*/ 1709934 h 9250612"/>
                <a:gd name="connsiteX9295" fmla="*/ 1868499 w 6942639"/>
                <a:gd name="connsiteY9295" fmla="*/ 1709934 h 9250612"/>
                <a:gd name="connsiteX9296" fmla="*/ 1877445 w 6942639"/>
                <a:gd name="connsiteY9296" fmla="*/ 1718893 h 9250612"/>
                <a:gd name="connsiteX9297" fmla="*/ 1868499 w 6942639"/>
                <a:gd name="connsiteY9297" fmla="*/ 1727852 h 9250612"/>
                <a:gd name="connsiteX9298" fmla="*/ 1859520 w 6942639"/>
                <a:gd name="connsiteY9298" fmla="*/ 1718893 h 9250612"/>
                <a:gd name="connsiteX9299" fmla="*/ 1868499 w 6942639"/>
                <a:gd name="connsiteY9299" fmla="*/ 1709934 h 9250612"/>
                <a:gd name="connsiteX9300" fmla="*/ 2037198 w 6942639"/>
                <a:gd name="connsiteY9300" fmla="*/ 1709933 h 9250612"/>
                <a:gd name="connsiteX9301" fmla="*/ 2046138 w 6942639"/>
                <a:gd name="connsiteY9301" fmla="*/ 1718893 h 9250612"/>
                <a:gd name="connsiteX9302" fmla="*/ 2037198 w 6942639"/>
                <a:gd name="connsiteY9302" fmla="*/ 1727852 h 9250612"/>
                <a:gd name="connsiteX9303" fmla="*/ 2028265 w 6942639"/>
                <a:gd name="connsiteY9303" fmla="*/ 1718893 h 9250612"/>
                <a:gd name="connsiteX9304" fmla="*/ 2037198 w 6942639"/>
                <a:gd name="connsiteY9304" fmla="*/ 1709933 h 9250612"/>
                <a:gd name="connsiteX9305" fmla="*/ 2543445 w 6942639"/>
                <a:gd name="connsiteY9305" fmla="*/ 1709933 h 9250612"/>
                <a:gd name="connsiteX9306" fmla="*/ 2552410 w 6942639"/>
                <a:gd name="connsiteY9306" fmla="*/ 1718891 h 9250612"/>
                <a:gd name="connsiteX9307" fmla="*/ 2543445 w 6942639"/>
                <a:gd name="connsiteY9307" fmla="*/ 1727851 h 9250612"/>
                <a:gd name="connsiteX9308" fmla="*/ 2534470 w 6942639"/>
                <a:gd name="connsiteY9308" fmla="*/ 1718891 h 9250612"/>
                <a:gd name="connsiteX9309" fmla="*/ 2543445 w 6942639"/>
                <a:gd name="connsiteY9309" fmla="*/ 1709933 h 9250612"/>
                <a:gd name="connsiteX9310" fmla="*/ 2374638 w 6942639"/>
                <a:gd name="connsiteY9310" fmla="*/ 1709933 h 9250612"/>
                <a:gd name="connsiteX9311" fmla="*/ 2383655 w 6942639"/>
                <a:gd name="connsiteY9311" fmla="*/ 1718892 h 9250612"/>
                <a:gd name="connsiteX9312" fmla="*/ 2374638 w 6942639"/>
                <a:gd name="connsiteY9312" fmla="*/ 1727851 h 9250612"/>
                <a:gd name="connsiteX9313" fmla="*/ 2365673 w 6942639"/>
                <a:gd name="connsiteY9313" fmla="*/ 1718892 h 9250612"/>
                <a:gd name="connsiteX9314" fmla="*/ 2374638 w 6942639"/>
                <a:gd name="connsiteY9314" fmla="*/ 1709933 h 9250612"/>
                <a:gd name="connsiteX9315" fmla="*/ 2205942 w 6942639"/>
                <a:gd name="connsiteY9315" fmla="*/ 1709933 h 9250612"/>
                <a:gd name="connsiteX9316" fmla="*/ 2214899 w 6942639"/>
                <a:gd name="connsiteY9316" fmla="*/ 1718892 h 9250612"/>
                <a:gd name="connsiteX9317" fmla="*/ 2205942 w 6942639"/>
                <a:gd name="connsiteY9317" fmla="*/ 1727851 h 9250612"/>
                <a:gd name="connsiteX9318" fmla="*/ 2196942 w 6942639"/>
                <a:gd name="connsiteY9318" fmla="*/ 1718892 h 9250612"/>
                <a:gd name="connsiteX9319" fmla="*/ 2205942 w 6942639"/>
                <a:gd name="connsiteY9319" fmla="*/ 1709933 h 9250612"/>
                <a:gd name="connsiteX9320" fmla="*/ 2712118 w 6942639"/>
                <a:gd name="connsiteY9320" fmla="*/ 1709933 h 9250612"/>
                <a:gd name="connsiteX9321" fmla="*/ 2721101 w 6942639"/>
                <a:gd name="connsiteY9321" fmla="*/ 1718891 h 9250612"/>
                <a:gd name="connsiteX9322" fmla="*/ 2712118 w 6942639"/>
                <a:gd name="connsiteY9322" fmla="*/ 1727851 h 9250612"/>
                <a:gd name="connsiteX9323" fmla="*/ 2703164 w 6942639"/>
                <a:gd name="connsiteY9323" fmla="*/ 1718891 h 9250612"/>
                <a:gd name="connsiteX9324" fmla="*/ 2712118 w 6942639"/>
                <a:gd name="connsiteY9324" fmla="*/ 1709933 h 9250612"/>
                <a:gd name="connsiteX9325" fmla="*/ 3218307 w 6942639"/>
                <a:gd name="connsiteY9325" fmla="*/ 1709932 h 9250612"/>
                <a:gd name="connsiteX9326" fmla="*/ 3227286 w 6942639"/>
                <a:gd name="connsiteY9326" fmla="*/ 1718891 h 9250612"/>
                <a:gd name="connsiteX9327" fmla="*/ 3218307 w 6942639"/>
                <a:gd name="connsiteY9327" fmla="*/ 1727850 h 9250612"/>
                <a:gd name="connsiteX9328" fmla="*/ 3209336 w 6942639"/>
                <a:gd name="connsiteY9328" fmla="*/ 1718891 h 9250612"/>
                <a:gd name="connsiteX9329" fmla="*/ 3218307 w 6942639"/>
                <a:gd name="connsiteY9329" fmla="*/ 1709932 h 9250612"/>
                <a:gd name="connsiteX9330" fmla="*/ 3049612 w 6942639"/>
                <a:gd name="connsiteY9330" fmla="*/ 1709932 h 9250612"/>
                <a:gd name="connsiteX9331" fmla="*/ 3058567 w 6942639"/>
                <a:gd name="connsiteY9331" fmla="*/ 1718891 h 9250612"/>
                <a:gd name="connsiteX9332" fmla="*/ 3049612 w 6942639"/>
                <a:gd name="connsiteY9332" fmla="*/ 1727850 h 9250612"/>
                <a:gd name="connsiteX9333" fmla="*/ 3040642 w 6942639"/>
                <a:gd name="connsiteY9333" fmla="*/ 1718891 h 9250612"/>
                <a:gd name="connsiteX9334" fmla="*/ 3049612 w 6942639"/>
                <a:gd name="connsiteY9334" fmla="*/ 1709932 h 9250612"/>
                <a:gd name="connsiteX9335" fmla="*/ 2880893 w 6942639"/>
                <a:gd name="connsiteY9335" fmla="*/ 1709932 h 9250612"/>
                <a:gd name="connsiteX9336" fmla="*/ 2889849 w 6942639"/>
                <a:gd name="connsiteY9336" fmla="*/ 1718891 h 9250612"/>
                <a:gd name="connsiteX9337" fmla="*/ 2880893 w 6942639"/>
                <a:gd name="connsiteY9337" fmla="*/ 1727850 h 9250612"/>
                <a:gd name="connsiteX9338" fmla="*/ 2871936 w 6942639"/>
                <a:gd name="connsiteY9338" fmla="*/ 1718891 h 9250612"/>
                <a:gd name="connsiteX9339" fmla="*/ 2880893 w 6942639"/>
                <a:gd name="connsiteY9339" fmla="*/ 1709932 h 9250612"/>
                <a:gd name="connsiteX9340" fmla="*/ 3387064 w 6942639"/>
                <a:gd name="connsiteY9340" fmla="*/ 1709932 h 9250612"/>
                <a:gd name="connsiteX9341" fmla="*/ 3396040 w 6942639"/>
                <a:gd name="connsiteY9341" fmla="*/ 1718891 h 9250612"/>
                <a:gd name="connsiteX9342" fmla="*/ 3387064 w 6942639"/>
                <a:gd name="connsiteY9342" fmla="*/ 1727850 h 9250612"/>
                <a:gd name="connsiteX9343" fmla="*/ 3378053 w 6942639"/>
                <a:gd name="connsiteY9343" fmla="*/ 1718891 h 9250612"/>
                <a:gd name="connsiteX9344" fmla="*/ 3387064 w 6942639"/>
                <a:gd name="connsiteY9344" fmla="*/ 1709932 h 9250612"/>
                <a:gd name="connsiteX9345" fmla="*/ 3555688 w 6942639"/>
                <a:gd name="connsiteY9345" fmla="*/ 1709931 h 9250612"/>
                <a:gd name="connsiteX9346" fmla="*/ 3564649 w 6942639"/>
                <a:gd name="connsiteY9346" fmla="*/ 1718891 h 9250612"/>
                <a:gd name="connsiteX9347" fmla="*/ 3555688 w 6942639"/>
                <a:gd name="connsiteY9347" fmla="*/ 1727849 h 9250612"/>
                <a:gd name="connsiteX9348" fmla="*/ 3546728 w 6942639"/>
                <a:gd name="connsiteY9348" fmla="*/ 1718891 h 9250612"/>
                <a:gd name="connsiteX9349" fmla="*/ 3555688 w 6942639"/>
                <a:gd name="connsiteY9349" fmla="*/ 1709931 h 9250612"/>
                <a:gd name="connsiteX9350" fmla="*/ 4061912 w 6942639"/>
                <a:gd name="connsiteY9350" fmla="*/ 1709931 h 9250612"/>
                <a:gd name="connsiteX9351" fmla="*/ 4070873 w 6942639"/>
                <a:gd name="connsiteY9351" fmla="*/ 1718890 h 9250612"/>
                <a:gd name="connsiteX9352" fmla="*/ 4061912 w 6942639"/>
                <a:gd name="connsiteY9352" fmla="*/ 1727849 h 9250612"/>
                <a:gd name="connsiteX9353" fmla="*/ 4052952 w 6942639"/>
                <a:gd name="connsiteY9353" fmla="*/ 1718890 h 9250612"/>
                <a:gd name="connsiteX9354" fmla="*/ 4061912 w 6942639"/>
                <a:gd name="connsiteY9354" fmla="*/ 1709931 h 9250612"/>
                <a:gd name="connsiteX9355" fmla="*/ 3893170 w 6942639"/>
                <a:gd name="connsiteY9355" fmla="*/ 1709931 h 9250612"/>
                <a:gd name="connsiteX9356" fmla="*/ 3902131 w 6942639"/>
                <a:gd name="connsiteY9356" fmla="*/ 1718890 h 9250612"/>
                <a:gd name="connsiteX9357" fmla="*/ 3893170 w 6942639"/>
                <a:gd name="connsiteY9357" fmla="*/ 1727849 h 9250612"/>
                <a:gd name="connsiteX9358" fmla="*/ 3884210 w 6942639"/>
                <a:gd name="connsiteY9358" fmla="*/ 1718890 h 9250612"/>
                <a:gd name="connsiteX9359" fmla="*/ 3893170 w 6942639"/>
                <a:gd name="connsiteY9359" fmla="*/ 1709931 h 9250612"/>
                <a:gd name="connsiteX9360" fmla="*/ 3724429 w 6942639"/>
                <a:gd name="connsiteY9360" fmla="*/ 1709931 h 9250612"/>
                <a:gd name="connsiteX9361" fmla="*/ 3733390 w 6942639"/>
                <a:gd name="connsiteY9361" fmla="*/ 1718891 h 9250612"/>
                <a:gd name="connsiteX9362" fmla="*/ 3724429 w 6942639"/>
                <a:gd name="connsiteY9362" fmla="*/ 1727849 h 9250612"/>
                <a:gd name="connsiteX9363" fmla="*/ 3715469 w 6942639"/>
                <a:gd name="connsiteY9363" fmla="*/ 1718891 h 9250612"/>
                <a:gd name="connsiteX9364" fmla="*/ 3724429 w 6942639"/>
                <a:gd name="connsiteY9364" fmla="*/ 1709931 h 9250612"/>
                <a:gd name="connsiteX9365" fmla="*/ 4230654 w 6942639"/>
                <a:gd name="connsiteY9365" fmla="*/ 1709930 h 9250612"/>
                <a:gd name="connsiteX9366" fmla="*/ 4239615 w 6942639"/>
                <a:gd name="connsiteY9366" fmla="*/ 1718890 h 9250612"/>
                <a:gd name="connsiteX9367" fmla="*/ 4230654 w 6942639"/>
                <a:gd name="connsiteY9367" fmla="*/ 1727849 h 9250612"/>
                <a:gd name="connsiteX9368" fmla="*/ 4221694 w 6942639"/>
                <a:gd name="connsiteY9368" fmla="*/ 1718890 h 9250612"/>
                <a:gd name="connsiteX9369" fmla="*/ 4230654 w 6942639"/>
                <a:gd name="connsiteY9369" fmla="*/ 1709930 h 9250612"/>
                <a:gd name="connsiteX9370" fmla="*/ 4736878 w 6942639"/>
                <a:gd name="connsiteY9370" fmla="*/ 1709930 h 9250612"/>
                <a:gd name="connsiteX9371" fmla="*/ 4745839 w 6942639"/>
                <a:gd name="connsiteY9371" fmla="*/ 1718889 h 9250612"/>
                <a:gd name="connsiteX9372" fmla="*/ 4736878 w 6942639"/>
                <a:gd name="connsiteY9372" fmla="*/ 1727848 h 9250612"/>
                <a:gd name="connsiteX9373" fmla="*/ 4727918 w 6942639"/>
                <a:gd name="connsiteY9373" fmla="*/ 1718889 h 9250612"/>
                <a:gd name="connsiteX9374" fmla="*/ 4736878 w 6942639"/>
                <a:gd name="connsiteY9374" fmla="*/ 1709930 h 9250612"/>
                <a:gd name="connsiteX9375" fmla="*/ 4568137 w 6942639"/>
                <a:gd name="connsiteY9375" fmla="*/ 1709930 h 9250612"/>
                <a:gd name="connsiteX9376" fmla="*/ 4577098 w 6942639"/>
                <a:gd name="connsiteY9376" fmla="*/ 1718889 h 9250612"/>
                <a:gd name="connsiteX9377" fmla="*/ 4568137 w 6942639"/>
                <a:gd name="connsiteY9377" fmla="*/ 1727848 h 9250612"/>
                <a:gd name="connsiteX9378" fmla="*/ 4559177 w 6942639"/>
                <a:gd name="connsiteY9378" fmla="*/ 1718889 h 9250612"/>
                <a:gd name="connsiteX9379" fmla="*/ 4568137 w 6942639"/>
                <a:gd name="connsiteY9379" fmla="*/ 1709930 h 9250612"/>
                <a:gd name="connsiteX9380" fmla="*/ 4399396 w 6942639"/>
                <a:gd name="connsiteY9380" fmla="*/ 1709930 h 9250612"/>
                <a:gd name="connsiteX9381" fmla="*/ 4408357 w 6942639"/>
                <a:gd name="connsiteY9381" fmla="*/ 1718890 h 9250612"/>
                <a:gd name="connsiteX9382" fmla="*/ 4399396 w 6942639"/>
                <a:gd name="connsiteY9382" fmla="*/ 1727848 h 9250612"/>
                <a:gd name="connsiteX9383" fmla="*/ 4390436 w 6942639"/>
                <a:gd name="connsiteY9383" fmla="*/ 1718890 h 9250612"/>
                <a:gd name="connsiteX9384" fmla="*/ 4399396 w 6942639"/>
                <a:gd name="connsiteY9384" fmla="*/ 1709930 h 9250612"/>
                <a:gd name="connsiteX9385" fmla="*/ 4905620 w 6942639"/>
                <a:gd name="connsiteY9385" fmla="*/ 1709930 h 9250612"/>
                <a:gd name="connsiteX9386" fmla="*/ 4914581 w 6942639"/>
                <a:gd name="connsiteY9386" fmla="*/ 1718888 h 9250612"/>
                <a:gd name="connsiteX9387" fmla="*/ 4905620 w 6942639"/>
                <a:gd name="connsiteY9387" fmla="*/ 1727848 h 9250612"/>
                <a:gd name="connsiteX9388" fmla="*/ 4896660 w 6942639"/>
                <a:gd name="connsiteY9388" fmla="*/ 1718888 h 9250612"/>
                <a:gd name="connsiteX9389" fmla="*/ 4905620 w 6942639"/>
                <a:gd name="connsiteY9389" fmla="*/ 1709930 h 9250612"/>
                <a:gd name="connsiteX9390" fmla="*/ 5074362 w 6942639"/>
                <a:gd name="connsiteY9390" fmla="*/ 1709929 h 9250612"/>
                <a:gd name="connsiteX9391" fmla="*/ 5083323 w 6942639"/>
                <a:gd name="connsiteY9391" fmla="*/ 1718888 h 9250612"/>
                <a:gd name="connsiteX9392" fmla="*/ 5074362 w 6942639"/>
                <a:gd name="connsiteY9392" fmla="*/ 1727848 h 9250612"/>
                <a:gd name="connsiteX9393" fmla="*/ 5065402 w 6942639"/>
                <a:gd name="connsiteY9393" fmla="*/ 1718888 h 9250612"/>
                <a:gd name="connsiteX9394" fmla="*/ 5074362 w 6942639"/>
                <a:gd name="connsiteY9394" fmla="*/ 1709929 h 9250612"/>
                <a:gd name="connsiteX9395" fmla="*/ 5580586 w 6942639"/>
                <a:gd name="connsiteY9395" fmla="*/ 1709929 h 9250612"/>
                <a:gd name="connsiteX9396" fmla="*/ 5589547 w 6942639"/>
                <a:gd name="connsiteY9396" fmla="*/ 1718887 h 9250612"/>
                <a:gd name="connsiteX9397" fmla="*/ 5580586 w 6942639"/>
                <a:gd name="connsiteY9397" fmla="*/ 1727847 h 9250612"/>
                <a:gd name="connsiteX9398" fmla="*/ 5571626 w 6942639"/>
                <a:gd name="connsiteY9398" fmla="*/ 1718887 h 9250612"/>
                <a:gd name="connsiteX9399" fmla="*/ 5580586 w 6942639"/>
                <a:gd name="connsiteY9399" fmla="*/ 1709929 h 9250612"/>
                <a:gd name="connsiteX9400" fmla="*/ 5411845 w 6942639"/>
                <a:gd name="connsiteY9400" fmla="*/ 1709929 h 9250612"/>
                <a:gd name="connsiteX9401" fmla="*/ 5420806 w 6942639"/>
                <a:gd name="connsiteY9401" fmla="*/ 1718888 h 9250612"/>
                <a:gd name="connsiteX9402" fmla="*/ 5411845 w 6942639"/>
                <a:gd name="connsiteY9402" fmla="*/ 1727847 h 9250612"/>
                <a:gd name="connsiteX9403" fmla="*/ 5402885 w 6942639"/>
                <a:gd name="connsiteY9403" fmla="*/ 1718888 h 9250612"/>
                <a:gd name="connsiteX9404" fmla="*/ 5411845 w 6942639"/>
                <a:gd name="connsiteY9404" fmla="*/ 1709929 h 9250612"/>
                <a:gd name="connsiteX9405" fmla="*/ 5243103 w 6942639"/>
                <a:gd name="connsiteY9405" fmla="*/ 1709929 h 9250612"/>
                <a:gd name="connsiteX9406" fmla="*/ 5252064 w 6942639"/>
                <a:gd name="connsiteY9406" fmla="*/ 1718888 h 9250612"/>
                <a:gd name="connsiteX9407" fmla="*/ 5243103 w 6942639"/>
                <a:gd name="connsiteY9407" fmla="*/ 1727847 h 9250612"/>
                <a:gd name="connsiteX9408" fmla="*/ 5234143 w 6942639"/>
                <a:gd name="connsiteY9408" fmla="*/ 1718888 h 9250612"/>
                <a:gd name="connsiteX9409" fmla="*/ 5243103 w 6942639"/>
                <a:gd name="connsiteY9409" fmla="*/ 1709929 h 9250612"/>
                <a:gd name="connsiteX9410" fmla="*/ 5749328 w 6942639"/>
                <a:gd name="connsiteY9410" fmla="*/ 1709929 h 9250612"/>
                <a:gd name="connsiteX9411" fmla="*/ 5758289 w 6942639"/>
                <a:gd name="connsiteY9411" fmla="*/ 1718887 h 9250612"/>
                <a:gd name="connsiteX9412" fmla="*/ 5749328 w 6942639"/>
                <a:gd name="connsiteY9412" fmla="*/ 1727847 h 9250612"/>
                <a:gd name="connsiteX9413" fmla="*/ 5740368 w 6942639"/>
                <a:gd name="connsiteY9413" fmla="*/ 1718887 h 9250612"/>
                <a:gd name="connsiteX9414" fmla="*/ 5749328 w 6942639"/>
                <a:gd name="connsiteY9414" fmla="*/ 1709929 h 9250612"/>
                <a:gd name="connsiteX9415" fmla="*/ 5918069 w 6942639"/>
                <a:gd name="connsiteY9415" fmla="*/ 1709928 h 9250612"/>
                <a:gd name="connsiteX9416" fmla="*/ 5927030 w 6942639"/>
                <a:gd name="connsiteY9416" fmla="*/ 1718887 h 9250612"/>
                <a:gd name="connsiteX9417" fmla="*/ 5918069 w 6942639"/>
                <a:gd name="connsiteY9417" fmla="*/ 1727846 h 9250612"/>
                <a:gd name="connsiteX9418" fmla="*/ 5909109 w 6942639"/>
                <a:gd name="connsiteY9418" fmla="*/ 1718887 h 9250612"/>
                <a:gd name="connsiteX9419" fmla="*/ 5918069 w 6942639"/>
                <a:gd name="connsiteY9419" fmla="*/ 1709928 h 9250612"/>
                <a:gd name="connsiteX9420" fmla="*/ 6424294 w 6942639"/>
                <a:gd name="connsiteY9420" fmla="*/ 1709928 h 9250612"/>
                <a:gd name="connsiteX9421" fmla="*/ 6433255 w 6942639"/>
                <a:gd name="connsiteY9421" fmla="*/ 1718887 h 9250612"/>
                <a:gd name="connsiteX9422" fmla="*/ 6424294 w 6942639"/>
                <a:gd name="connsiteY9422" fmla="*/ 1727846 h 9250612"/>
                <a:gd name="connsiteX9423" fmla="*/ 6415334 w 6942639"/>
                <a:gd name="connsiteY9423" fmla="*/ 1718887 h 9250612"/>
                <a:gd name="connsiteX9424" fmla="*/ 6424294 w 6942639"/>
                <a:gd name="connsiteY9424" fmla="*/ 1709928 h 9250612"/>
                <a:gd name="connsiteX9425" fmla="*/ 6255553 w 6942639"/>
                <a:gd name="connsiteY9425" fmla="*/ 1709928 h 9250612"/>
                <a:gd name="connsiteX9426" fmla="*/ 6264514 w 6942639"/>
                <a:gd name="connsiteY9426" fmla="*/ 1718887 h 9250612"/>
                <a:gd name="connsiteX9427" fmla="*/ 6255553 w 6942639"/>
                <a:gd name="connsiteY9427" fmla="*/ 1727846 h 9250612"/>
                <a:gd name="connsiteX9428" fmla="*/ 6246593 w 6942639"/>
                <a:gd name="connsiteY9428" fmla="*/ 1718887 h 9250612"/>
                <a:gd name="connsiteX9429" fmla="*/ 6255553 w 6942639"/>
                <a:gd name="connsiteY9429" fmla="*/ 1709928 h 9250612"/>
                <a:gd name="connsiteX9430" fmla="*/ 6086811 w 6942639"/>
                <a:gd name="connsiteY9430" fmla="*/ 1709928 h 9250612"/>
                <a:gd name="connsiteX9431" fmla="*/ 6095772 w 6942639"/>
                <a:gd name="connsiteY9431" fmla="*/ 1718887 h 9250612"/>
                <a:gd name="connsiteX9432" fmla="*/ 6086811 w 6942639"/>
                <a:gd name="connsiteY9432" fmla="*/ 1727846 h 9250612"/>
                <a:gd name="connsiteX9433" fmla="*/ 6077851 w 6942639"/>
                <a:gd name="connsiteY9433" fmla="*/ 1718887 h 9250612"/>
                <a:gd name="connsiteX9434" fmla="*/ 6086811 w 6942639"/>
                <a:gd name="connsiteY9434" fmla="*/ 1709928 h 9250612"/>
                <a:gd name="connsiteX9435" fmla="*/ 6593035 w 6942639"/>
                <a:gd name="connsiteY9435" fmla="*/ 1709927 h 9250612"/>
                <a:gd name="connsiteX9436" fmla="*/ 6601996 w 6942639"/>
                <a:gd name="connsiteY9436" fmla="*/ 1718887 h 9250612"/>
                <a:gd name="connsiteX9437" fmla="*/ 6593035 w 6942639"/>
                <a:gd name="connsiteY9437" fmla="*/ 1727845 h 9250612"/>
                <a:gd name="connsiteX9438" fmla="*/ 6584075 w 6942639"/>
                <a:gd name="connsiteY9438" fmla="*/ 1718887 h 9250612"/>
                <a:gd name="connsiteX9439" fmla="*/ 6593035 w 6942639"/>
                <a:gd name="connsiteY9439" fmla="*/ 1709927 h 9250612"/>
                <a:gd name="connsiteX9440" fmla="*/ 6933679 w 6942639"/>
                <a:gd name="connsiteY9440" fmla="*/ 1709927 h 9250612"/>
                <a:gd name="connsiteX9441" fmla="*/ 6942639 w 6942639"/>
                <a:gd name="connsiteY9441" fmla="*/ 1718886 h 9250612"/>
                <a:gd name="connsiteX9442" fmla="*/ 6933679 w 6942639"/>
                <a:gd name="connsiteY9442" fmla="*/ 1727845 h 9250612"/>
                <a:gd name="connsiteX9443" fmla="*/ 6924718 w 6942639"/>
                <a:gd name="connsiteY9443" fmla="*/ 1718886 h 9250612"/>
                <a:gd name="connsiteX9444" fmla="*/ 6933679 w 6942639"/>
                <a:gd name="connsiteY9444" fmla="*/ 1709927 h 9250612"/>
                <a:gd name="connsiteX9445" fmla="*/ 6763357 w 6942639"/>
                <a:gd name="connsiteY9445" fmla="*/ 1709927 h 9250612"/>
                <a:gd name="connsiteX9446" fmla="*/ 6772318 w 6942639"/>
                <a:gd name="connsiteY9446" fmla="*/ 1718887 h 9250612"/>
                <a:gd name="connsiteX9447" fmla="*/ 6763357 w 6942639"/>
                <a:gd name="connsiteY9447" fmla="*/ 1727845 h 9250612"/>
                <a:gd name="connsiteX9448" fmla="*/ 6754397 w 6942639"/>
                <a:gd name="connsiteY9448" fmla="*/ 1718887 h 9250612"/>
                <a:gd name="connsiteX9449" fmla="*/ 6763357 w 6942639"/>
                <a:gd name="connsiteY9449" fmla="*/ 1709927 h 9250612"/>
                <a:gd name="connsiteX9450" fmla="*/ 2374642 w 6942639"/>
                <a:gd name="connsiteY9450" fmla="*/ 1538887 h 9250612"/>
                <a:gd name="connsiteX9451" fmla="*/ 2383659 w 6942639"/>
                <a:gd name="connsiteY9451" fmla="*/ 1547827 h 9250612"/>
                <a:gd name="connsiteX9452" fmla="*/ 2374642 w 6942639"/>
                <a:gd name="connsiteY9452" fmla="*/ 1556793 h 9250612"/>
                <a:gd name="connsiteX9453" fmla="*/ 2365678 w 6942639"/>
                <a:gd name="connsiteY9453" fmla="*/ 1547827 h 9250612"/>
                <a:gd name="connsiteX9454" fmla="*/ 2374642 w 6942639"/>
                <a:gd name="connsiteY9454" fmla="*/ 1538887 h 9250612"/>
                <a:gd name="connsiteX9455" fmla="*/ 2205946 w 6942639"/>
                <a:gd name="connsiteY9455" fmla="*/ 1538887 h 9250612"/>
                <a:gd name="connsiteX9456" fmla="*/ 2214903 w 6942639"/>
                <a:gd name="connsiteY9456" fmla="*/ 1547827 h 9250612"/>
                <a:gd name="connsiteX9457" fmla="*/ 2205946 w 6942639"/>
                <a:gd name="connsiteY9457" fmla="*/ 1556793 h 9250612"/>
                <a:gd name="connsiteX9458" fmla="*/ 2196946 w 6942639"/>
                <a:gd name="connsiteY9458" fmla="*/ 1547827 h 9250612"/>
                <a:gd name="connsiteX9459" fmla="*/ 2205946 w 6942639"/>
                <a:gd name="connsiteY9459" fmla="*/ 1538887 h 9250612"/>
                <a:gd name="connsiteX9460" fmla="*/ 2037202 w 6942639"/>
                <a:gd name="connsiteY9460" fmla="*/ 1538887 h 9250612"/>
                <a:gd name="connsiteX9461" fmla="*/ 2046142 w 6942639"/>
                <a:gd name="connsiteY9461" fmla="*/ 1547827 h 9250612"/>
                <a:gd name="connsiteX9462" fmla="*/ 2037202 w 6942639"/>
                <a:gd name="connsiteY9462" fmla="*/ 1556794 h 9250612"/>
                <a:gd name="connsiteX9463" fmla="*/ 2028269 w 6942639"/>
                <a:gd name="connsiteY9463" fmla="*/ 1547827 h 9250612"/>
                <a:gd name="connsiteX9464" fmla="*/ 2037202 w 6942639"/>
                <a:gd name="connsiteY9464" fmla="*/ 1538887 h 9250612"/>
                <a:gd name="connsiteX9465" fmla="*/ 1868504 w 6942639"/>
                <a:gd name="connsiteY9465" fmla="*/ 1538887 h 9250612"/>
                <a:gd name="connsiteX9466" fmla="*/ 1877450 w 6942639"/>
                <a:gd name="connsiteY9466" fmla="*/ 1547827 h 9250612"/>
                <a:gd name="connsiteX9467" fmla="*/ 1868504 w 6942639"/>
                <a:gd name="connsiteY9467" fmla="*/ 1556794 h 9250612"/>
                <a:gd name="connsiteX9468" fmla="*/ 1859525 w 6942639"/>
                <a:gd name="connsiteY9468" fmla="*/ 1547827 h 9250612"/>
                <a:gd name="connsiteX9469" fmla="*/ 1868504 w 6942639"/>
                <a:gd name="connsiteY9469" fmla="*/ 1538887 h 9250612"/>
                <a:gd name="connsiteX9470" fmla="*/ 1699750 w 6942639"/>
                <a:gd name="connsiteY9470" fmla="*/ 1538887 h 9250612"/>
                <a:gd name="connsiteX9471" fmla="*/ 1708720 w 6942639"/>
                <a:gd name="connsiteY9471" fmla="*/ 1547827 h 9250612"/>
                <a:gd name="connsiteX9472" fmla="*/ 1699750 w 6942639"/>
                <a:gd name="connsiteY9472" fmla="*/ 1556794 h 9250612"/>
                <a:gd name="connsiteX9473" fmla="*/ 1690779 w 6942639"/>
                <a:gd name="connsiteY9473" fmla="*/ 1547827 h 9250612"/>
                <a:gd name="connsiteX9474" fmla="*/ 1699750 w 6942639"/>
                <a:gd name="connsiteY9474" fmla="*/ 1538887 h 9250612"/>
                <a:gd name="connsiteX9475" fmla="*/ 1531007 w 6942639"/>
                <a:gd name="connsiteY9475" fmla="*/ 1538887 h 9250612"/>
                <a:gd name="connsiteX9476" fmla="*/ 1539970 w 6942639"/>
                <a:gd name="connsiteY9476" fmla="*/ 1547827 h 9250612"/>
                <a:gd name="connsiteX9477" fmla="*/ 1531007 w 6942639"/>
                <a:gd name="connsiteY9477" fmla="*/ 1556794 h 9250612"/>
                <a:gd name="connsiteX9478" fmla="*/ 1522045 w 6942639"/>
                <a:gd name="connsiteY9478" fmla="*/ 1547827 h 9250612"/>
                <a:gd name="connsiteX9479" fmla="*/ 1531007 w 6942639"/>
                <a:gd name="connsiteY9479" fmla="*/ 1538887 h 9250612"/>
                <a:gd name="connsiteX9480" fmla="*/ 1362253 w 6942639"/>
                <a:gd name="connsiteY9480" fmla="*/ 1538887 h 9250612"/>
                <a:gd name="connsiteX9481" fmla="*/ 1371216 w 6942639"/>
                <a:gd name="connsiteY9481" fmla="*/ 1547827 h 9250612"/>
                <a:gd name="connsiteX9482" fmla="*/ 1362253 w 6942639"/>
                <a:gd name="connsiteY9482" fmla="*/ 1556794 h 9250612"/>
                <a:gd name="connsiteX9483" fmla="*/ 1353292 w 6942639"/>
                <a:gd name="connsiteY9483" fmla="*/ 1547827 h 9250612"/>
                <a:gd name="connsiteX9484" fmla="*/ 1362253 w 6942639"/>
                <a:gd name="connsiteY9484" fmla="*/ 1538887 h 9250612"/>
                <a:gd name="connsiteX9485" fmla="*/ 1193511 w 6942639"/>
                <a:gd name="connsiteY9485" fmla="*/ 1538887 h 9250612"/>
                <a:gd name="connsiteX9486" fmla="*/ 1202472 w 6942639"/>
                <a:gd name="connsiteY9486" fmla="*/ 1547827 h 9250612"/>
                <a:gd name="connsiteX9487" fmla="*/ 1193511 w 6942639"/>
                <a:gd name="connsiteY9487" fmla="*/ 1556795 h 9250612"/>
                <a:gd name="connsiteX9488" fmla="*/ 1184554 w 6942639"/>
                <a:gd name="connsiteY9488" fmla="*/ 1547827 h 9250612"/>
                <a:gd name="connsiteX9489" fmla="*/ 1193511 w 6942639"/>
                <a:gd name="connsiteY9489" fmla="*/ 1538887 h 9250612"/>
                <a:gd name="connsiteX9490" fmla="*/ 1024754 w 6942639"/>
                <a:gd name="connsiteY9490" fmla="*/ 1538887 h 9250612"/>
                <a:gd name="connsiteX9491" fmla="*/ 1033722 w 6942639"/>
                <a:gd name="connsiteY9491" fmla="*/ 1547827 h 9250612"/>
                <a:gd name="connsiteX9492" fmla="*/ 1024754 w 6942639"/>
                <a:gd name="connsiteY9492" fmla="*/ 1556795 h 9250612"/>
                <a:gd name="connsiteX9493" fmla="*/ 1015793 w 6942639"/>
                <a:gd name="connsiteY9493" fmla="*/ 1547827 h 9250612"/>
                <a:gd name="connsiteX9494" fmla="*/ 1024754 w 6942639"/>
                <a:gd name="connsiteY9494" fmla="*/ 1538887 h 9250612"/>
                <a:gd name="connsiteX9495" fmla="*/ 856031 w 6942639"/>
                <a:gd name="connsiteY9495" fmla="*/ 1538887 h 9250612"/>
                <a:gd name="connsiteX9496" fmla="*/ 864992 w 6942639"/>
                <a:gd name="connsiteY9496" fmla="*/ 1547827 h 9250612"/>
                <a:gd name="connsiteX9497" fmla="*/ 856031 w 6942639"/>
                <a:gd name="connsiteY9497" fmla="*/ 1556795 h 9250612"/>
                <a:gd name="connsiteX9498" fmla="*/ 847070 w 6942639"/>
                <a:gd name="connsiteY9498" fmla="*/ 1547827 h 9250612"/>
                <a:gd name="connsiteX9499" fmla="*/ 856031 w 6942639"/>
                <a:gd name="connsiteY9499" fmla="*/ 1538887 h 9250612"/>
                <a:gd name="connsiteX9500" fmla="*/ 687293 w 6942639"/>
                <a:gd name="connsiteY9500" fmla="*/ 1538887 h 9250612"/>
                <a:gd name="connsiteX9501" fmla="*/ 696254 w 6942639"/>
                <a:gd name="connsiteY9501" fmla="*/ 1547827 h 9250612"/>
                <a:gd name="connsiteX9502" fmla="*/ 687293 w 6942639"/>
                <a:gd name="connsiteY9502" fmla="*/ 1556795 h 9250612"/>
                <a:gd name="connsiteX9503" fmla="*/ 678335 w 6942639"/>
                <a:gd name="connsiteY9503" fmla="*/ 1547827 h 9250612"/>
                <a:gd name="connsiteX9504" fmla="*/ 687293 w 6942639"/>
                <a:gd name="connsiteY9504" fmla="*/ 1538887 h 9250612"/>
                <a:gd name="connsiteX9505" fmla="*/ 518515 w 6942639"/>
                <a:gd name="connsiteY9505" fmla="*/ 1538887 h 9250612"/>
                <a:gd name="connsiteX9506" fmla="*/ 527475 w 6942639"/>
                <a:gd name="connsiteY9506" fmla="*/ 1547827 h 9250612"/>
                <a:gd name="connsiteX9507" fmla="*/ 518515 w 6942639"/>
                <a:gd name="connsiteY9507" fmla="*/ 1556795 h 9250612"/>
                <a:gd name="connsiteX9508" fmla="*/ 509555 w 6942639"/>
                <a:gd name="connsiteY9508" fmla="*/ 1547827 h 9250612"/>
                <a:gd name="connsiteX9509" fmla="*/ 518515 w 6942639"/>
                <a:gd name="connsiteY9509" fmla="*/ 1538887 h 9250612"/>
                <a:gd name="connsiteX9510" fmla="*/ 349778 w 6942639"/>
                <a:gd name="connsiteY9510" fmla="*/ 1538887 h 9250612"/>
                <a:gd name="connsiteX9511" fmla="*/ 358738 w 6942639"/>
                <a:gd name="connsiteY9511" fmla="*/ 1547827 h 9250612"/>
                <a:gd name="connsiteX9512" fmla="*/ 349778 w 6942639"/>
                <a:gd name="connsiteY9512" fmla="*/ 1556795 h 9250612"/>
                <a:gd name="connsiteX9513" fmla="*/ 340819 w 6942639"/>
                <a:gd name="connsiteY9513" fmla="*/ 1547827 h 9250612"/>
                <a:gd name="connsiteX9514" fmla="*/ 349778 w 6942639"/>
                <a:gd name="connsiteY9514" fmla="*/ 1538887 h 9250612"/>
                <a:gd name="connsiteX9515" fmla="*/ 179461 w 6942639"/>
                <a:gd name="connsiteY9515" fmla="*/ 1538887 h 9250612"/>
                <a:gd name="connsiteX9516" fmla="*/ 188422 w 6942639"/>
                <a:gd name="connsiteY9516" fmla="*/ 1547827 h 9250612"/>
                <a:gd name="connsiteX9517" fmla="*/ 179461 w 6942639"/>
                <a:gd name="connsiteY9517" fmla="*/ 1556795 h 9250612"/>
                <a:gd name="connsiteX9518" fmla="*/ 170501 w 6942639"/>
                <a:gd name="connsiteY9518" fmla="*/ 1547827 h 9250612"/>
                <a:gd name="connsiteX9519" fmla="*/ 179461 w 6942639"/>
                <a:gd name="connsiteY9519" fmla="*/ 1538887 h 9250612"/>
                <a:gd name="connsiteX9520" fmla="*/ 9146 w 6942639"/>
                <a:gd name="connsiteY9520" fmla="*/ 1538887 h 9250612"/>
                <a:gd name="connsiteX9521" fmla="*/ 18105 w 6942639"/>
                <a:gd name="connsiteY9521" fmla="*/ 1547827 h 9250612"/>
                <a:gd name="connsiteX9522" fmla="*/ 9146 w 6942639"/>
                <a:gd name="connsiteY9522" fmla="*/ 1556795 h 9250612"/>
                <a:gd name="connsiteX9523" fmla="*/ 186 w 6942639"/>
                <a:gd name="connsiteY9523" fmla="*/ 1547827 h 9250612"/>
                <a:gd name="connsiteX9524" fmla="*/ 9146 w 6942639"/>
                <a:gd name="connsiteY9524" fmla="*/ 1538887 h 9250612"/>
                <a:gd name="connsiteX9525" fmla="*/ 3218308 w 6942639"/>
                <a:gd name="connsiteY9525" fmla="*/ 1538885 h 9250612"/>
                <a:gd name="connsiteX9526" fmla="*/ 3227288 w 6942639"/>
                <a:gd name="connsiteY9526" fmla="*/ 1547827 h 9250612"/>
                <a:gd name="connsiteX9527" fmla="*/ 3218308 w 6942639"/>
                <a:gd name="connsiteY9527" fmla="*/ 1556792 h 9250612"/>
                <a:gd name="connsiteX9528" fmla="*/ 3209338 w 6942639"/>
                <a:gd name="connsiteY9528" fmla="*/ 1547827 h 9250612"/>
                <a:gd name="connsiteX9529" fmla="*/ 3218308 w 6942639"/>
                <a:gd name="connsiteY9529" fmla="*/ 1538885 h 9250612"/>
                <a:gd name="connsiteX9530" fmla="*/ 3049615 w 6942639"/>
                <a:gd name="connsiteY9530" fmla="*/ 1538885 h 9250612"/>
                <a:gd name="connsiteX9531" fmla="*/ 3058571 w 6942639"/>
                <a:gd name="connsiteY9531" fmla="*/ 1547827 h 9250612"/>
                <a:gd name="connsiteX9532" fmla="*/ 3049615 w 6942639"/>
                <a:gd name="connsiteY9532" fmla="*/ 1556792 h 9250612"/>
                <a:gd name="connsiteX9533" fmla="*/ 3040645 w 6942639"/>
                <a:gd name="connsiteY9533" fmla="*/ 1547827 h 9250612"/>
                <a:gd name="connsiteX9534" fmla="*/ 3049615 w 6942639"/>
                <a:gd name="connsiteY9534" fmla="*/ 1538885 h 9250612"/>
                <a:gd name="connsiteX9535" fmla="*/ 2880897 w 6942639"/>
                <a:gd name="connsiteY9535" fmla="*/ 1538885 h 9250612"/>
                <a:gd name="connsiteX9536" fmla="*/ 2889853 w 6942639"/>
                <a:gd name="connsiteY9536" fmla="*/ 1547827 h 9250612"/>
                <a:gd name="connsiteX9537" fmla="*/ 2880897 w 6942639"/>
                <a:gd name="connsiteY9537" fmla="*/ 1556793 h 9250612"/>
                <a:gd name="connsiteX9538" fmla="*/ 2871940 w 6942639"/>
                <a:gd name="connsiteY9538" fmla="*/ 1547827 h 9250612"/>
                <a:gd name="connsiteX9539" fmla="*/ 2880897 w 6942639"/>
                <a:gd name="connsiteY9539" fmla="*/ 1538885 h 9250612"/>
                <a:gd name="connsiteX9540" fmla="*/ 2712121 w 6942639"/>
                <a:gd name="connsiteY9540" fmla="*/ 1538885 h 9250612"/>
                <a:gd name="connsiteX9541" fmla="*/ 2721104 w 6942639"/>
                <a:gd name="connsiteY9541" fmla="*/ 1547827 h 9250612"/>
                <a:gd name="connsiteX9542" fmla="*/ 2712121 w 6942639"/>
                <a:gd name="connsiteY9542" fmla="*/ 1556793 h 9250612"/>
                <a:gd name="connsiteX9543" fmla="*/ 2703168 w 6942639"/>
                <a:gd name="connsiteY9543" fmla="*/ 1547827 h 9250612"/>
                <a:gd name="connsiteX9544" fmla="*/ 2712121 w 6942639"/>
                <a:gd name="connsiteY9544" fmla="*/ 1538885 h 9250612"/>
                <a:gd name="connsiteX9545" fmla="*/ 2543450 w 6942639"/>
                <a:gd name="connsiteY9545" fmla="*/ 1538885 h 9250612"/>
                <a:gd name="connsiteX9546" fmla="*/ 2552414 w 6942639"/>
                <a:gd name="connsiteY9546" fmla="*/ 1547827 h 9250612"/>
                <a:gd name="connsiteX9547" fmla="*/ 2543450 w 6942639"/>
                <a:gd name="connsiteY9547" fmla="*/ 1556793 h 9250612"/>
                <a:gd name="connsiteX9548" fmla="*/ 2534474 w 6942639"/>
                <a:gd name="connsiteY9548" fmla="*/ 1547827 h 9250612"/>
                <a:gd name="connsiteX9549" fmla="*/ 2543450 w 6942639"/>
                <a:gd name="connsiteY9549" fmla="*/ 1538885 h 9250612"/>
                <a:gd name="connsiteX9550" fmla="*/ 5749328 w 6942639"/>
                <a:gd name="connsiteY9550" fmla="*/ 1538884 h 9250612"/>
                <a:gd name="connsiteX9551" fmla="*/ 5758289 w 6942639"/>
                <a:gd name="connsiteY9551" fmla="*/ 1547820 h 9250612"/>
                <a:gd name="connsiteX9552" fmla="*/ 5749328 w 6942639"/>
                <a:gd name="connsiteY9552" fmla="*/ 1556789 h 9250612"/>
                <a:gd name="connsiteX9553" fmla="*/ 5740368 w 6942639"/>
                <a:gd name="connsiteY9553" fmla="*/ 1547820 h 9250612"/>
                <a:gd name="connsiteX9554" fmla="*/ 5749328 w 6942639"/>
                <a:gd name="connsiteY9554" fmla="*/ 1538884 h 9250612"/>
                <a:gd name="connsiteX9555" fmla="*/ 5580586 w 6942639"/>
                <a:gd name="connsiteY9555" fmla="*/ 1538884 h 9250612"/>
                <a:gd name="connsiteX9556" fmla="*/ 5589547 w 6942639"/>
                <a:gd name="connsiteY9556" fmla="*/ 1547820 h 9250612"/>
                <a:gd name="connsiteX9557" fmla="*/ 5580586 w 6942639"/>
                <a:gd name="connsiteY9557" fmla="*/ 1556789 h 9250612"/>
                <a:gd name="connsiteX9558" fmla="*/ 5571626 w 6942639"/>
                <a:gd name="connsiteY9558" fmla="*/ 1547820 h 9250612"/>
                <a:gd name="connsiteX9559" fmla="*/ 5580586 w 6942639"/>
                <a:gd name="connsiteY9559" fmla="*/ 1538884 h 9250612"/>
                <a:gd name="connsiteX9560" fmla="*/ 5411845 w 6942639"/>
                <a:gd name="connsiteY9560" fmla="*/ 1538884 h 9250612"/>
                <a:gd name="connsiteX9561" fmla="*/ 5420806 w 6942639"/>
                <a:gd name="connsiteY9561" fmla="*/ 1547820 h 9250612"/>
                <a:gd name="connsiteX9562" fmla="*/ 5411845 w 6942639"/>
                <a:gd name="connsiteY9562" fmla="*/ 1556789 h 9250612"/>
                <a:gd name="connsiteX9563" fmla="*/ 5402885 w 6942639"/>
                <a:gd name="connsiteY9563" fmla="*/ 1547820 h 9250612"/>
                <a:gd name="connsiteX9564" fmla="*/ 5411845 w 6942639"/>
                <a:gd name="connsiteY9564" fmla="*/ 1538884 h 9250612"/>
                <a:gd name="connsiteX9565" fmla="*/ 5243103 w 6942639"/>
                <a:gd name="connsiteY9565" fmla="*/ 1538884 h 9250612"/>
                <a:gd name="connsiteX9566" fmla="*/ 5252064 w 6942639"/>
                <a:gd name="connsiteY9566" fmla="*/ 1547820 h 9250612"/>
                <a:gd name="connsiteX9567" fmla="*/ 5243103 w 6942639"/>
                <a:gd name="connsiteY9567" fmla="*/ 1556791 h 9250612"/>
                <a:gd name="connsiteX9568" fmla="*/ 5234143 w 6942639"/>
                <a:gd name="connsiteY9568" fmla="*/ 1547820 h 9250612"/>
                <a:gd name="connsiteX9569" fmla="*/ 5243103 w 6942639"/>
                <a:gd name="connsiteY9569" fmla="*/ 1538884 h 9250612"/>
                <a:gd name="connsiteX9570" fmla="*/ 5074362 w 6942639"/>
                <a:gd name="connsiteY9570" fmla="*/ 1538884 h 9250612"/>
                <a:gd name="connsiteX9571" fmla="*/ 5083323 w 6942639"/>
                <a:gd name="connsiteY9571" fmla="*/ 1547820 h 9250612"/>
                <a:gd name="connsiteX9572" fmla="*/ 5074362 w 6942639"/>
                <a:gd name="connsiteY9572" fmla="*/ 1556791 h 9250612"/>
                <a:gd name="connsiteX9573" fmla="*/ 5065402 w 6942639"/>
                <a:gd name="connsiteY9573" fmla="*/ 1547820 h 9250612"/>
                <a:gd name="connsiteX9574" fmla="*/ 5074362 w 6942639"/>
                <a:gd name="connsiteY9574" fmla="*/ 1538884 h 9250612"/>
                <a:gd name="connsiteX9575" fmla="*/ 4905620 w 6942639"/>
                <a:gd name="connsiteY9575" fmla="*/ 1538884 h 9250612"/>
                <a:gd name="connsiteX9576" fmla="*/ 4914581 w 6942639"/>
                <a:gd name="connsiteY9576" fmla="*/ 1547820 h 9250612"/>
                <a:gd name="connsiteX9577" fmla="*/ 4905620 w 6942639"/>
                <a:gd name="connsiteY9577" fmla="*/ 1556791 h 9250612"/>
                <a:gd name="connsiteX9578" fmla="*/ 4896660 w 6942639"/>
                <a:gd name="connsiteY9578" fmla="*/ 1547820 h 9250612"/>
                <a:gd name="connsiteX9579" fmla="*/ 4905620 w 6942639"/>
                <a:gd name="connsiteY9579" fmla="*/ 1538884 h 9250612"/>
                <a:gd name="connsiteX9580" fmla="*/ 4736878 w 6942639"/>
                <a:gd name="connsiteY9580" fmla="*/ 1538884 h 9250612"/>
                <a:gd name="connsiteX9581" fmla="*/ 4745839 w 6942639"/>
                <a:gd name="connsiteY9581" fmla="*/ 1547820 h 9250612"/>
                <a:gd name="connsiteX9582" fmla="*/ 4736878 w 6942639"/>
                <a:gd name="connsiteY9582" fmla="*/ 1556791 h 9250612"/>
                <a:gd name="connsiteX9583" fmla="*/ 4727918 w 6942639"/>
                <a:gd name="connsiteY9583" fmla="*/ 1547820 h 9250612"/>
                <a:gd name="connsiteX9584" fmla="*/ 4736878 w 6942639"/>
                <a:gd name="connsiteY9584" fmla="*/ 1538884 h 9250612"/>
                <a:gd name="connsiteX9585" fmla="*/ 4568137 w 6942639"/>
                <a:gd name="connsiteY9585" fmla="*/ 1538884 h 9250612"/>
                <a:gd name="connsiteX9586" fmla="*/ 4577098 w 6942639"/>
                <a:gd name="connsiteY9586" fmla="*/ 1547820 h 9250612"/>
                <a:gd name="connsiteX9587" fmla="*/ 4568137 w 6942639"/>
                <a:gd name="connsiteY9587" fmla="*/ 1556791 h 9250612"/>
                <a:gd name="connsiteX9588" fmla="*/ 4559177 w 6942639"/>
                <a:gd name="connsiteY9588" fmla="*/ 1547820 h 9250612"/>
                <a:gd name="connsiteX9589" fmla="*/ 4568137 w 6942639"/>
                <a:gd name="connsiteY9589" fmla="*/ 1538884 h 9250612"/>
                <a:gd name="connsiteX9590" fmla="*/ 4399396 w 6942639"/>
                <a:gd name="connsiteY9590" fmla="*/ 1538884 h 9250612"/>
                <a:gd name="connsiteX9591" fmla="*/ 4408357 w 6942639"/>
                <a:gd name="connsiteY9591" fmla="*/ 1547820 h 9250612"/>
                <a:gd name="connsiteX9592" fmla="*/ 4399396 w 6942639"/>
                <a:gd name="connsiteY9592" fmla="*/ 1556792 h 9250612"/>
                <a:gd name="connsiteX9593" fmla="*/ 4390436 w 6942639"/>
                <a:gd name="connsiteY9593" fmla="*/ 1547820 h 9250612"/>
                <a:gd name="connsiteX9594" fmla="*/ 4399396 w 6942639"/>
                <a:gd name="connsiteY9594" fmla="*/ 1538884 h 9250612"/>
                <a:gd name="connsiteX9595" fmla="*/ 4230654 w 6942639"/>
                <a:gd name="connsiteY9595" fmla="*/ 1538884 h 9250612"/>
                <a:gd name="connsiteX9596" fmla="*/ 4239615 w 6942639"/>
                <a:gd name="connsiteY9596" fmla="*/ 1547827 h 9250612"/>
                <a:gd name="connsiteX9597" fmla="*/ 4230654 w 6942639"/>
                <a:gd name="connsiteY9597" fmla="*/ 1556792 h 9250612"/>
                <a:gd name="connsiteX9598" fmla="*/ 4221694 w 6942639"/>
                <a:gd name="connsiteY9598" fmla="*/ 1547827 h 9250612"/>
                <a:gd name="connsiteX9599" fmla="*/ 4230654 w 6942639"/>
                <a:gd name="connsiteY9599" fmla="*/ 1538884 h 9250612"/>
                <a:gd name="connsiteX9600" fmla="*/ 4061912 w 6942639"/>
                <a:gd name="connsiteY9600" fmla="*/ 1538884 h 9250612"/>
                <a:gd name="connsiteX9601" fmla="*/ 4070873 w 6942639"/>
                <a:gd name="connsiteY9601" fmla="*/ 1547827 h 9250612"/>
                <a:gd name="connsiteX9602" fmla="*/ 4061912 w 6942639"/>
                <a:gd name="connsiteY9602" fmla="*/ 1556792 h 9250612"/>
                <a:gd name="connsiteX9603" fmla="*/ 4052952 w 6942639"/>
                <a:gd name="connsiteY9603" fmla="*/ 1547827 h 9250612"/>
                <a:gd name="connsiteX9604" fmla="*/ 4061912 w 6942639"/>
                <a:gd name="connsiteY9604" fmla="*/ 1538884 h 9250612"/>
                <a:gd name="connsiteX9605" fmla="*/ 3893170 w 6942639"/>
                <a:gd name="connsiteY9605" fmla="*/ 1538884 h 9250612"/>
                <a:gd name="connsiteX9606" fmla="*/ 3902131 w 6942639"/>
                <a:gd name="connsiteY9606" fmla="*/ 1547827 h 9250612"/>
                <a:gd name="connsiteX9607" fmla="*/ 3893170 w 6942639"/>
                <a:gd name="connsiteY9607" fmla="*/ 1556792 h 9250612"/>
                <a:gd name="connsiteX9608" fmla="*/ 3884210 w 6942639"/>
                <a:gd name="connsiteY9608" fmla="*/ 1547827 h 9250612"/>
                <a:gd name="connsiteX9609" fmla="*/ 3893170 w 6942639"/>
                <a:gd name="connsiteY9609" fmla="*/ 1538884 h 9250612"/>
                <a:gd name="connsiteX9610" fmla="*/ 3724429 w 6942639"/>
                <a:gd name="connsiteY9610" fmla="*/ 1538884 h 9250612"/>
                <a:gd name="connsiteX9611" fmla="*/ 3733390 w 6942639"/>
                <a:gd name="connsiteY9611" fmla="*/ 1547827 h 9250612"/>
                <a:gd name="connsiteX9612" fmla="*/ 3724429 w 6942639"/>
                <a:gd name="connsiteY9612" fmla="*/ 1556792 h 9250612"/>
                <a:gd name="connsiteX9613" fmla="*/ 3715469 w 6942639"/>
                <a:gd name="connsiteY9613" fmla="*/ 1547827 h 9250612"/>
                <a:gd name="connsiteX9614" fmla="*/ 3724429 w 6942639"/>
                <a:gd name="connsiteY9614" fmla="*/ 1538884 h 9250612"/>
                <a:gd name="connsiteX9615" fmla="*/ 3555688 w 6942639"/>
                <a:gd name="connsiteY9615" fmla="*/ 1538884 h 9250612"/>
                <a:gd name="connsiteX9616" fmla="*/ 3564649 w 6942639"/>
                <a:gd name="connsiteY9616" fmla="*/ 1547827 h 9250612"/>
                <a:gd name="connsiteX9617" fmla="*/ 3555688 w 6942639"/>
                <a:gd name="connsiteY9617" fmla="*/ 1556792 h 9250612"/>
                <a:gd name="connsiteX9618" fmla="*/ 3546728 w 6942639"/>
                <a:gd name="connsiteY9618" fmla="*/ 1547827 h 9250612"/>
                <a:gd name="connsiteX9619" fmla="*/ 3555688 w 6942639"/>
                <a:gd name="connsiteY9619" fmla="*/ 1538884 h 9250612"/>
                <a:gd name="connsiteX9620" fmla="*/ 3387065 w 6942639"/>
                <a:gd name="connsiteY9620" fmla="*/ 1538884 h 9250612"/>
                <a:gd name="connsiteX9621" fmla="*/ 3396043 w 6942639"/>
                <a:gd name="connsiteY9621" fmla="*/ 1547827 h 9250612"/>
                <a:gd name="connsiteX9622" fmla="*/ 3387065 w 6942639"/>
                <a:gd name="connsiteY9622" fmla="*/ 1556792 h 9250612"/>
                <a:gd name="connsiteX9623" fmla="*/ 3378054 w 6942639"/>
                <a:gd name="connsiteY9623" fmla="*/ 1547827 h 9250612"/>
                <a:gd name="connsiteX9624" fmla="*/ 3387065 w 6942639"/>
                <a:gd name="connsiteY9624" fmla="*/ 1538884 h 9250612"/>
                <a:gd name="connsiteX9625" fmla="*/ 6593035 w 6942639"/>
                <a:gd name="connsiteY9625" fmla="*/ 1538882 h 9250612"/>
                <a:gd name="connsiteX9626" fmla="*/ 6601996 w 6942639"/>
                <a:gd name="connsiteY9626" fmla="*/ 1547820 h 9250612"/>
                <a:gd name="connsiteX9627" fmla="*/ 6593035 w 6942639"/>
                <a:gd name="connsiteY9627" fmla="*/ 1556789 h 9250612"/>
                <a:gd name="connsiteX9628" fmla="*/ 6584075 w 6942639"/>
                <a:gd name="connsiteY9628" fmla="*/ 1547820 h 9250612"/>
                <a:gd name="connsiteX9629" fmla="*/ 6593035 w 6942639"/>
                <a:gd name="connsiteY9629" fmla="*/ 1538882 h 9250612"/>
                <a:gd name="connsiteX9630" fmla="*/ 6424294 w 6942639"/>
                <a:gd name="connsiteY9630" fmla="*/ 1538882 h 9250612"/>
                <a:gd name="connsiteX9631" fmla="*/ 6433255 w 6942639"/>
                <a:gd name="connsiteY9631" fmla="*/ 1547820 h 9250612"/>
                <a:gd name="connsiteX9632" fmla="*/ 6424294 w 6942639"/>
                <a:gd name="connsiteY9632" fmla="*/ 1556789 h 9250612"/>
                <a:gd name="connsiteX9633" fmla="*/ 6415334 w 6942639"/>
                <a:gd name="connsiteY9633" fmla="*/ 1547820 h 9250612"/>
                <a:gd name="connsiteX9634" fmla="*/ 6424294 w 6942639"/>
                <a:gd name="connsiteY9634" fmla="*/ 1538882 h 9250612"/>
                <a:gd name="connsiteX9635" fmla="*/ 6255553 w 6942639"/>
                <a:gd name="connsiteY9635" fmla="*/ 1538882 h 9250612"/>
                <a:gd name="connsiteX9636" fmla="*/ 6264514 w 6942639"/>
                <a:gd name="connsiteY9636" fmla="*/ 1547820 h 9250612"/>
                <a:gd name="connsiteX9637" fmla="*/ 6255553 w 6942639"/>
                <a:gd name="connsiteY9637" fmla="*/ 1556789 h 9250612"/>
                <a:gd name="connsiteX9638" fmla="*/ 6246593 w 6942639"/>
                <a:gd name="connsiteY9638" fmla="*/ 1547820 h 9250612"/>
                <a:gd name="connsiteX9639" fmla="*/ 6255553 w 6942639"/>
                <a:gd name="connsiteY9639" fmla="*/ 1538882 h 9250612"/>
                <a:gd name="connsiteX9640" fmla="*/ 6086811 w 6942639"/>
                <a:gd name="connsiteY9640" fmla="*/ 1538882 h 9250612"/>
                <a:gd name="connsiteX9641" fmla="*/ 6095772 w 6942639"/>
                <a:gd name="connsiteY9641" fmla="*/ 1547820 h 9250612"/>
                <a:gd name="connsiteX9642" fmla="*/ 6086811 w 6942639"/>
                <a:gd name="connsiteY9642" fmla="*/ 1556789 h 9250612"/>
                <a:gd name="connsiteX9643" fmla="*/ 6077851 w 6942639"/>
                <a:gd name="connsiteY9643" fmla="*/ 1547820 h 9250612"/>
                <a:gd name="connsiteX9644" fmla="*/ 6086811 w 6942639"/>
                <a:gd name="connsiteY9644" fmla="*/ 1538882 h 9250612"/>
                <a:gd name="connsiteX9645" fmla="*/ 5918069 w 6942639"/>
                <a:gd name="connsiteY9645" fmla="*/ 1538882 h 9250612"/>
                <a:gd name="connsiteX9646" fmla="*/ 5927030 w 6942639"/>
                <a:gd name="connsiteY9646" fmla="*/ 1547820 h 9250612"/>
                <a:gd name="connsiteX9647" fmla="*/ 5918069 w 6942639"/>
                <a:gd name="connsiteY9647" fmla="*/ 1556789 h 9250612"/>
                <a:gd name="connsiteX9648" fmla="*/ 5909109 w 6942639"/>
                <a:gd name="connsiteY9648" fmla="*/ 1547820 h 9250612"/>
                <a:gd name="connsiteX9649" fmla="*/ 5918069 w 6942639"/>
                <a:gd name="connsiteY9649" fmla="*/ 1538882 h 9250612"/>
                <a:gd name="connsiteX9650" fmla="*/ 6933679 w 6942639"/>
                <a:gd name="connsiteY9650" fmla="*/ 1538881 h 9250612"/>
                <a:gd name="connsiteX9651" fmla="*/ 6942639 w 6942639"/>
                <a:gd name="connsiteY9651" fmla="*/ 1547820 h 9250612"/>
                <a:gd name="connsiteX9652" fmla="*/ 6933679 w 6942639"/>
                <a:gd name="connsiteY9652" fmla="*/ 1556789 h 9250612"/>
                <a:gd name="connsiteX9653" fmla="*/ 6924718 w 6942639"/>
                <a:gd name="connsiteY9653" fmla="*/ 1547820 h 9250612"/>
                <a:gd name="connsiteX9654" fmla="*/ 6933679 w 6942639"/>
                <a:gd name="connsiteY9654" fmla="*/ 1538881 h 9250612"/>
                <a:gd name="connsiteX9655" fmla="*/ 6763357 w 6942639"/>
                <a:gd name="connsiteY9655" fmla="*/ 1538881 h 9250612"/>
                <a:gd name="connsiteX9656" fmla="*/ 6772318 w 6942639"/>
                <a:gd name="connsiteY9656" fmla="*/ 1547820 h 9250612"/>
                <a:gd name="connsiteX9657" fmla="*/ 6763357 w 6942639"/>
                <a:gd name="connsiteY9657" fmla="*/ 1556789 h 9250612"/>
                <a:gd name="connsiteX9658" fmla="*/ 6754397 w 6942639"/>
                <a:gd name="connsiteY9658" fmla="*/ 1547820 h 9250612"/>
                <a:gd name="connsiteX9659" fmla="*/ 6763357 w 6942639"/>
                <a:gd name="connsiteY9659" fmla="*/ 1538881 h 9250612"/>
                <a:gd name="connsiteX9660" fmla="*/ 349782 w 6942639"/>
                <a:gd name="connsiteY9660" fmla="*/ 1368037 h 9250612"/>
                <a:gd name="connsiteX9661" fmla="*/ 358742 w 6942639"/>
                <a:gd name="connsiteY9661" fmla="*/ 1376999 h 9250612"/>
                <a:gd name="connsiteX9662" fmla="*/ 349782 w 6942639"/>
                <a:gd name="connsiteY9662" fmla="*/ 1385962 h 9250612"/>
                <a:gd name="connsiteX9663" fmla="*/ 340823 w 6942639"/>
                <a:gd name="connsiteY9663" fmla="*/ 1376999 h 9250612"/>
                <a:gd name="connsiteX9664" fmla="*/ 349782 w 6942639"/>
                <a:gd name="connsiteY9664" fmla="*/ 1368037 h 9250612"/>
                <a:gd name="connsiteX9665" fmla="*/ 856036 w 6942639"/>
                <a:gd name="connsiteY9665" fmla="*/ 1368035 h 9250612"/>
                <a:gd name="connsiteX9666" fmla="*/ 864996 w 6942639"/>
                <a:gd name="connsiteY9666" fmla="*/ 1376997 h 9250612"/>
                <a:gd name="connsiteX9667" fmla="*/ 856036 w 6942639"/>
                <a:gd name="connsiteY9667" fmla="*/ 1385961 h 9250612"/>
                <a:gd name="connsiteX9668" fmla="*/ 847075 w 6942639"/>
                <a:gd name="connsiteY9668" fmla="*/ 1376997 h 9250612"/>
                <a:gd name="connsiteX9669" fmla="*/ 856036 w 6942639"/>
                <a:gd name="connsiteY9669" fmla="*/ 1368035 h 9250612"/>
                <a:gd name="connsiteX9670" fmla="*/ 687298 w 6942639"/>
                <a:gd name="connsiteY9670" fmla="*/ 1368035 h 9250612"/>
                <a:gd name="connsiteX9671" fmla="*/ 696258 w 6942639"/>
                <a:gd name="connsiteY9671" fmla="*/ 1376997 h 9250612"/>
                <a:gd name="connsiteX9672" fmla="*/ 687298 w 6942639"/>
                <a:gd name="connsiteY9672" fmla="*/ 1385961 h 9250612"/>
                <a:gd name="connsiteX9673" fmla="*/ 678340 w 6942639"/>
                <a:gd name="connsiteY9673" fmla="*/ 1376997 h 9250612"/>
                <a:gd name="connsiteX9674" fmla="*/ 687298 w 6942639"/>
                <a:gd name="connsiteY9674" fmla="*/ 1368035 h 9250612"/>
                <a:gd name="connsiteX9675" fmla="*/ 518519 w 6942639"/>
                <a:gd name="connsiteY9675" fmla="*/ 1368035 h 9250612"/>
                <a:gd name="connsiteX9676" fmla="*/ 527479 w 6942639"/>
                <a:gd name="connsiteY9676" fmla="*/ 1376999 h 9250612"/>
                <a:gd name="connsiteX9677" fmla="*/ 518519 w 6942639"/>
                <a:gd name="connsiteY9677" fmla="*/ 1385961 h 9250612"/>
                <a:gd name="connsiteX9678" fmla="*/ 509559 w 6942639"/>
                <a:gd name="connsiteY9678" fmla="*/ 1376999 h 9250612"/>
                <a:gd name="connsiteX9679" fmla="*/ 518519 w 6942639"/>
                <a:gd name="connsiteY9679" fmla="*/ 1368035 h 9250612"/>
                <a:gd name="connsiteX9680" fmla="*/ 179465 w 6942639"/>
                <a:gd name="connsiteY9680" fmla="*/ 1368035 h 9250612"/>
                <a:gd name="connsiteX9681" fmla="*/ 188426 w 6942639"/>
                <a:gd name="connsiteY9681" fmla="*/ 1376999 h 9250612"/>
                <a:gd name="connsiteX9682" fmla="*/ 179465 w 6942639"/>
                <a:gd name="connsiteY9682" fmla="*/ 1385962 h 9250612"/>
                <a:gd name="connsiteX9683" fmla="*/ 170505 w 6942639"/>
                <a:gd name="connsiteY9683" fmla="*/ 1376999 h 9250612"/>
                <a:gd name="connsiteX9684" fmla="*/ 179465 w 6942639"/>
                <a:gd name="connsiteY9684" fmla="*/ 1368035 h 9250612"/>
                <a:gd name="connsiteX9685" fmla="*/ 9150 w 6942639"/>
                <a:gd name="connsiteY9685" fmla="*/ 1368035 h 9250612"/>
                <a:gd name="connsiteX9686" fmla="*/ 18109 w 6942639"/>
                <a:gd name="connsiteY9686" fmla="*/ 1376999 h 9250612"/>
                <a:gd name="connsiteX9687" fmla="*/ 9150 w 6942639"/>
                <a:gd name="connsiteY9687" fmla="*/ 1385961 h 9250612"/>
                <a:gd name="connsiteX9688" fmla="*/ 190 w 6942639"/>
                <a:gd name="connsiteY9688" fmla="*/ 1376999 h 9250612"/>
                <a:gd name="connsiteX9689" fmla="*/ 9150 w 6942639"/>
                <a:gd name="connsiteY9689" fmla="*/ 1368035 h 9250612"/>
                <a:gd name="connsiteX9690" fmla="*/ 1868509 w 6942639"/>
                <a:gd name="connsiteY9690" fmla="*/ 1368034 h 9250612"/>
                <a:gd name="connsiteX9691" fmla="*/ 1877454 w 6942639"/>
                <a:gd name="connsiteY9691" fmla="*/ 1376996 h 9250612"/>
                <a:gd name="connsiteX9692" fmla="*/ 1868509 w 6942639"/>
                <a:gd name="connsiteY9692" fmla="*/ 1385960 h 9250612"/>
                <a:gd name="connsiteX9693" fmla="*/ 1859530 w 6942639"/>
                <a:gd name="connsiteY9693" fmla="*/ 1376996 h 9250612"/>
                <a:gd name="connsiteX9694" fmla="*/ 1868509 w 6942639"/>
                <a:gd name="connsiteY9694" fmla="*/ 1368034 h 9250612"/>
                <a:gd name="connsiteX9695" fmla="*/ 1699754 w 6942639"/>
                <a:gd name="connsiteY9695" fmla="*/ 1368034 h 9250612"/>
                <a:gd name="connsiteX9696" fmla="*/ 1708725 w 6942639"/>
                <a:gd name="connsiteY9696" fmla="*/ 1376996 h 9250612"/>
                <a:gd name="connsiteX9697" fmla="*/ 1699754 w 6942639"/>
                <a:gd name="connsiteY9697" fmla="*/ 1385960 h 9250612"/>
                <a:gd name="connsiteX9698" fmla="*/ 1690784 w 6942639"/>
                <a:gd name="connsiteY9698" fmla="*/ 1376996 h 9250612"/>
                <a:gd name="connsiteX9699" fmla="*/ 1699754 w 6942639"/>
                <a:gd name="connsiteY9699" fmla="*/ 1368034 h 9250612"/>
                <a:gd name="connsiteX9700" fmla="*/ 1531012 w 6942639"/>
                <a:gd name="connsiteY9700" fmla="*/ 1368034 h 9250612"/>
                <a:gd name="connsiteX9701" fmla="*/ 1539975 w 6942639"/>
                <a:gd name="connsiteY9701" fmla="*/ 1376996 h 9250612"/>
                <a:gd name="connsiteX9702" fmla="*/ 1531012 w 6942639"/>
                <a:gd name="connsiteY9702" fmla="*/ 1385960 h 9250612"/>
                <a:gd name="connsiteX9703" fmla="*/ 1522050 w 6942639"/>
                <a:gd name="connsiteY9703" fmla="*/ 1376996 h 9250612"/>
                <a:gd name="connsiteX9704" fmla="*/ 1531012 w 6942639"/>
                <a:gd name="connsiteY9704" fmla="*/ 1368034 h 9250612"/>
                <a:gd name="connsiteX9705" fmla="*/ 1362258 w 6942639"/>
                <a:gd name="connsiteY9705" fmla="*/ 1368034 h 9250612"/>
                <a:gd name="connsiteX9706" fmla="*/ 1371220 w 6942639"/>
                <a:gd name="connsiteY9706" fmla="*/ 1376997 h 9250612"/>
                <a:gd name="connsiteX9707" fmla="*/ 1362258 w 6942639"/>
                <a:gd name="connsiteY9707" fmla="*/ 1385960 h 9250612"/>
                <a:gd name="connsiteX9708" fmla="*/ 1353297 w 6942639"/>
                <a:gd name="connsiteY9708" fmla="*/ 1376997 h 9250612"/>
                <a:gd name="connsiteX9709" fmla="*/ 1362258 w 6942639"/>
                <a:gd name="connsiteY9709" fmla="*/ 1368034 h 9250612"/>
                <a:gd name="connsiteX9710" fmla="*/ 1193516 w 6942639"/>
                <a:gd name="connsiteY9710" fmla="*/ 1368034 h 9250612"/>
                <a:gd name="connsiteX9711" fmla="*/ 1202476 w 6942639"/>
                <a:gd name="connsiteY9711" fmla="*/ 1376997 h 9250612"/>
                <a:gd name="connsiteX9712" fmla="*/ 1193516 w 6942639"/>
                <a:gd name="connsiteY9712" fmla="*/ 1385960 h 9250612"/>
                <a:gd name="connsiteX9713" fmla="*/ 1184559 w 6942639"/>
                <a:gd name="connsiteY9713" fmla="*/ 1376997 h 9250612"/>
                <a:gd name="connsiteX9714" fmla="*/ 1193516 w 6942639"/>
                <a:gd name="connsiteY9714" fmla="*/ 1368034 h 9250612"/>
                <a:gd name="connsiteX9715" fmla="*/ 1024758 w 6942639"/>
                <a:gd name="connsiteY9715" fmla="*/ 1368034 h 9250612"/>
                <a:gd name="connsiteX9716" fmla="*/ 1033726 w 6942639"/>
                <a:gd name="connsiteY9716" fmla="*/ 1376997 h 9250612"/>
                <a:gd name="connsiteX9717" fmla="*/ 1024758 w 6942639"/>
                <a:gd name="connsiteY9717" fmla="*/ 1385961 h 9250612"/>
                <a:gd name="connsiteX9718" fmla="*/ 1015798 w 6942639"/>
                <a:gd name="connsiteY9718" fmla="*/ 1376997 h 9250612"/>
                <a:gd name="connsiteX9719" fmla="*/ 1024758 w 6942639"/>
                <a:gd name="connsiteY9719" fmla="*/ 1368034 h 9250612"/>
                <a:gd name="connsiteX9720" fmla="*/ 2712124 w 6942639"/>
                <a:gd name="connsiteY9720" fmla="*/ 1368033 h 9250612"/>
                <a:gd name="connsiteX9721" fmla="*/ 2721107 w 6942639"/>
                <a:gd name="connsiteY9721" fmla="*/ 1376995 h 9250612"/>
                <a:gd name="connsiteX9722" fmla="*/ 2712124 w 6942639"/>
                <a:gd name="connsiteY9722" fmla="*/ 1385958 h 9250612"/>
                <a:gd name="connsiteX9723" fmla="*/ 2703172 w 6942639"/>
                <a:gd name="connsiteY9723" fmla="*/ 1376995 h 9250612"/>
                <a:gd name="connsiteX9724" fmla="*/ 2712124 w 6942639"/>
                <a:gd name="connsiteY9724" fmla="*/ 1368033 h 9250612"/>
                <a:gd name="connsiteX9725" fmla="*/ 2543454 w 6942639"/>
                <a:gd name="connsiteY9725" fmla="*/ 1368033 h 9250612"/>
                <a:gd name="connsiteX9726" fmla="*/ 2552419 w 6942639"/>
                <a:gd name="connsiteY9726" fmla="*/ 1376995 h 9250612"/>
                <a:gd name="connsiteX9727" fmla="*/ 2543454 w 6942639"/>
                <a:gd name="connsiteY9727" fmla="*/ 1385958 h 9250612"/>
                <a:gd name="connsiteX9728" fmla="*/ 2534478 w 6942639"/>
                <a:gd name="connsiteY9728" fmla="*/ 1376995 h 9250612"/>
                <a:gd name="connsiteX9729" fmla="*/ 2543454 w 6942639"/>
                <a:gd name="connsiteY9729" fmla="*/ 1368033 h 9250612"/>
                <a:gd name="connsiteX9730" fmla="*/ 2374645 w 6942639"/>
                <a:gd name="connsiteY9730" fmla="*/ 1368033 h 9250612"/>
                <a:gd name="connsiteX9731" fmla="*/ 2383663 w 6942639"/>
                <a:gd name="connsiteY9731" fmla="*/ 1376996 h 9250612"/>
                <a:gd name="connsiteX9732" fmla="*/ 2374645 w 6942639"/>
                <a:gd name="connsiteY9732" fmla="*/ 1385958 h 9250612"/>
                <a:gd name="connsiteX9733" fmla="*/ 2365682 w 6942639"/>
                <a:gd name="connsiteY9733" fmla="*/ 1376996 h 9250612"/>
                <a:gd name="connsiteX9734" fmla="*/ 2374645 w 6942639"/>
                <a:gd name="connsiteY9734" fmla="*/ 1368033 h 9250612"/>
                <a:gd name="connsiteX9735" fmla="*/ 2205950 w 6942639"/>
                <a:gd name="connsiteY9735" fmla="*/ 1368033 h 9250612"/>
                <a:gd name="connsiteX9736" fmla="*/ 2214907 w 6942639"/>
                <a:gd name="connsiteY9736" fmla="*/ 1376996 h 9250612"/>
                <a:gd name="connsiteX9737" fmla="*/ 2205950 w 6942639"/>
                <a:gd name="connsiteY9737" fmla="*/ 1385958 h 9250612"/>
                <a:gd name="connsiteX9738" fmla="*/ 2196950 w 6942639"/>
                <a:gd name="connsiteY9738" fmla="*/ 1376996 h 9250612"/>
                <a:gd name="connsiteX9739" fmla="*/ 2205950 w 6942639"/>
                <a:gd name="connsiteY9739" fmla="*/ 1368033 h 9250612"/>
                <a:gd name="connsiteX9740" fmla="*/ 2037208 w 6942639"/>
                <a:gd name="connsiteY9740" fmla="*/ 1368033 h 9250612"/>
                <a:gd name="connsiteX9741" fmla="*/ 2046147 w 6942639"/>
                <a:gd name="connsiteY9741" fmla="*/ 1376996 h 9250612"/>
                <a:gd name="connsiteX9742" fmla="*/ 2037208 w 6942639"/>
                <a:gd name="connsiteY9742" fmla="*/ 1385958 h 9250612"/>
                <a:gd name="connsiteX9743" fmla="*/ 2028274 w 6942639"/>
                <a:gd name="connsiteY9743" fmla="*/ 1376996 h 9250612"/>
                <a:gd name="connsiteX9744" fmla="*/ 2037208 w 6942639"/>
                <a:gd name="connsiteY9744" fmla="*/ 1368033 h 9250612"/>
                <a:gd name="connsiteX9745" fmla="*/ 3555688 w 6942639"/>
                <a:gd name="connsiteY9745" fmla="*/ 1368031 h 9250612"/>
                <a:gd name="connsiteX9746" fmla="*/ 3564649 w 6942639"/>
                <a:gd name="connsiteY9746" fmla="*/ 1376993 h 9250612"/>
                <a:gd name="connsiteX9747" fmla="*/ 3555688 w 6942639"/>
                <a:gd name="connsiteY9747" fmla="*/ 1385957 h 9250612"/>
                <a:gd name="connsiteX9748" fmla="*/ 3546728 w 6942639"/>
                <a:gd name="connsiteY9748" fmla="*/ 1376993 h 9250612"/>
                <a:gd name="connsiteX9749" fmla="*/ 3555688 w 6942639"/>
                <a:gd name="connsiteY9749" fmla="*/ 1368031 h 9250612"/>
                <a:gd name="connsiteX9750" fmla="*/ 3387067 w 6942639"/>
                <a:gd name="connsiteY9750" fmla="*/ 1368031 h 9250612"/>
                <a:gd name="connsiteX9751" fmla="*/ 3396046 w 6942639"/>
                <a:gd name="connsiteY9751" fmla="*/ 1376993 h 9250612"/>
                <a:gd name="connsiteX9752" fmla="*/ 3387067 w 6942639"/>
                <a:gd name="connsiteY9752" fmla="*/ 1385957 h 9250612"/>
                <a:gd name="connsiteX9753" fmla="*/ 3378056 w 6942639"/>
                <a:gd name="connsiteY9753" fmla="*/ 1376993 h 9250612"/>
                <a:gd name="connsiteX9754" fmla="*/ 3387067 w 6942639"/>
                <a:gd name="connsiteY9754" fmla="*/ 1368031 h 9250612"/>
                <a:gd name="connsiteX9755" fmla="*/ 3218311 w 6942639"/>
                <a:gd name="connsiteY9755" fmla="*/ 1368031 h 9250612"/>
                <a:gd name="connsiteX9756" fmla="*/ 3227289 w 6942639"/>
                <a:gd name="connsiteY9756" fmla="*/ 1376995 h 9250612"/>
                <a:gd name="connsiteX9757" fmla="*/ 3218311 w 6942639"/>
                <a:gd name="connsiteY9757" fmla="*/ 1385957 h 9250612"/>
                <a:gd name="connsiteX9758" fmla="*/ 3209341 w 6942639"/>
                <a:gd name="connsiteY9758" fmla="*/ 1376995 h 9250612"/>
                <a:gd name="connsiteX9759" fmla="*/ 3218311 w 6942639"/>
                <a:gd name="connsiteY9759" fmla="*/ 1368031 h 9250612"/>
                <a:gd name="connsiteX9760" fmla="*/ 3049618 w 6942639"/>
                <a:gd name="connsiteY9760" fmla="*/ 1368031 h 9250612"/>
                <a:gd name="connsiteX9761" fmla="*/ 3058575 w 6942639"/>
                <a:gd name="connsiteY9761" fmla="*/ 1376995 h 9250612"/>
                <a:gd name="connsiteX9762" fmla="*/ 3049618 w 6942639"/>
                <a:gd name="connsiteY9762" fmla="*/ 1385957 h 9250612"/>
                <a:gd name="connsiteX9763" fmla="*/ 3040648 w 6942639"/>
                <a:gd name="connsiteY9763" fmla="*/ 1376995 h 9250612"/>
                <a:gd name="connsiteX9764" fmla="*/ 3049618 w 6942639"/>
                <a:gd name="connsiteY9764" fmla="*/ 1368031 h 9250612"/>
                <a:gd name="connsiteX9765" fmla="*/ 2880901 w 6942639"/>
                <a:gd name="connsiteY9765" fmla="*/ 1368031 h 9250612"/>
                <a:gd name="connsiteX9766" fmla="*/ 2889856 w 6942639"/>
                <a:gd name="connsiteY9766" fmla="*/ 1376995 h 9250612"/>
                <a:gd name="connsiteX9767" fmla="*/ 2880901 w 6942639"/>
                <a:gd name="connsiteY9767" fmla="*/ 1385958 h 9250612"/>
                <a:gd name="connsiteX9768" fmla="*/ 2871944 w 6942639"/>
                <a:gd name="connsiteY9768" fmla="*/ 1376995 h 9250612"/>
                <a:gd name="connsiteX9769" fmla="*/ 2880901 w 6942639"/>
                <a:gd name="connsiteY9769" fmla="*/ 1368031 h 9250612"/>
                <a:gd name="connsiteX9770" fmla="*/ 4568137 w 6942639"/>
                <a:gd name="connsiteY9770" fmla="*/ 1368030 h 9250612"/>
                <a:gd name="connsiteX9771" fmla="*/ 4577098 w 6942639"/>
                <a:gd name="connsiteY9771" fmla="*/ 1376992 h 9250612"/>
                <a:gd name="connsiteX9772" fmla="*/ 4568137 w 6942639"/>
                <a:gd name="connsiteY9772" fmla="*/ 1385956 h 9250612"/>
                <a:gd name="connsiteX9773" fmla="*/ 4559177 w 6942639"/>
                <a:gd name="connsiteY9773" fmla="*/ 1376992 h 9250612"/>
                <a:gd name="connsiteX9774" fmla="*/ 4568137 w 6942639"/>
                <a:gd name="connsiteY9774" fmla="*/ 1368030 h 9250612"/>
                <a:gd name="connsiteX9775" fmla="*/ 4399396 w 6942639"/>
                <a:gd name="connsiteY9775" fmla="*/ 1368030 h 9250612"/>
                <a:gd name="connsiteX9776" fmla="*/ 4408357 w 6942639"/>
                <a:gd name="connsiteY9776" fmla="*/ 1376992 h 9250612"/>
                <a:gd name="connsiteX9777" fmla="*/ 4399396 w 6942639"/>
                <a:gd name="connsiteY9777" fmla="*/ 1385956 h 9250612"/>
                <a:gd name="connsiteX9778" fmla="*/ 4390436 w 6942639"/>
                <a:gd name="connsiteY9778" fmla="*/ 1376992 h 9250612"/>
                <a:gd name="connsiteX9779" fmla="*/ 4399396 w 6942639"/>
                <a:gd name="connsiteY9779" fmla="*/ 1368030 h 9250612"/>
                <a:gd name="connsiteX9780" fmla="*/ 4230654 w 6942639"/>
                <a:gd name="connsiteY9780" fmla="*/ 1368030 h 9250612"/>
                <a:gd name="connsiteX9781" fmla="*/ 4239615 w 6942639"/>
                <a:gd name="connsiteY9781" fmla="*/ 1376993 h 9250612"/>
                <a:gd name="connsiteX9782" fmla="*/ 4230654 w 6942639"/>
                <a:gd name="connsiteY9782" fmla="*/ 1385956 h 9250612"/>
                <a:gd name="connsiteX9783" fmla="*/ 4221694 w 6942639"/>
                <a:gd name="connsiteY9783" fmla="*/ 1376993 h 9250612"/>
                <a:gd name="connsiteX9784" fmla="*/ 4230654 w 6942639"/>
                <a:gd name="connsiteY9784" fmla="*/ 1368030 h 9250612"/>
                <a:gd name="connsiteX9785" fmla="*/ 4061912 w 6942639"/>
                <a:gd name="connsiteY9785" fmla="*/ 1368030 h 9250612"/>
                <a:gd name="connsiteX9786" fmla="*/ 4070873 w 6942639"/>
                <a:gd name="connsiteY9786" fmla="*/ 1376993 h 9250612"/>
                <a:gd name="connsiteX9787" fmla="*/ 4061912 w 6942639"/>
                <a:gd name="connsiteY9787" fmla="*/ 1385956 h 9250612"/>
                <a:gd name="connsiteX9788" fmla="*/ 4052952 w 6942639"/>
                <a:gd name="connsiteY9788" fmla="*/ 1376993 h 9250612"/>
                <a:gd name="connsiteX9789" fmla="*/ 4061912 w 6942639"/>
                <a:gd name="connsiteY9789" fmla="*/ 1368030 h 9250612"/>
                <a:gd name="connsiteX9790" fmla="*/ 3893170 w 6942639"/>
                <a:gd name="connsiteY9790" fmla="*/ 1368030 h 9250612"/>
                <a:gd name="connsiteX9791" fmla="*/ 3902131 w 6942639"/>
                <a:gd name="connsiteY9791" fmla="*/ 1376993 h 9250612"/>
                <a:gd name="connsiteX9792" fmla="*/ 3893170 w 6942639"/>
                <a:gd name="connsiteY9792" fmla="*/ 1385956 h 9250612"/>
                <a:gd name="connsiteX9793" fmla="*/ 3884210 w 6942639"/>
                <a:gd name="connsiteY9793" fmla="*/ 1376993 h 9250612"/>
                <a:gd name="connsiteX9794" fmla="*/ 3893170 w 6942639"/>
                <a:gd name="connsiteY9794" fmla="*/ 1368030 h 9250612"/>
                <a:gd name="connsiteX9795" fmla="*/ 3724429 w 6942639"/>
                <a:gd name="connsiteY9795" fmla="*/ 1368030 h 9250612"/>
                <a:gd name="connsiteX9796" fmla="*/ 3733390 w 6942639"/>
                <a:gd name="connsiteY9796" fmla="*/ 1376993 h 9250612"/>
                <a:gd name="connsiteX9797" fmla="*/ 3724429 w 6942639"/>
                <a:gd name="connsiteY9797" fmla="*/ 1385957 h 9250612"/>
                <a:gd name="connsiteX9798" fmla="*/ 3715469 w 6942639"/>
                <a:gd name="connsiteY9798" fmla="*/ 1376993 h 9250612"/>
                <a:gd name="connsiteX9799" fmla="*/ 3724429 w 6942639"/>
                <a:gd name="connsiteY9799" fmla="*/ 1368030 h 9250612"/>
                <a:gd name="connsiteX9800" fmla="*/ 5411845 w 6942639"/>
                <a:gd name="connsiteY9800" fmla="*/ 1368029 h 9250612"/>
                <a:gd name="connsiteX9801" fmla="*/ 5420806 w 6942639"/>
                <a:gd name="connsiteY9801" fmla="*/ 1376991 h 9250612"/>
                <a:gd name="connsiteX9802" fmla="*/ 5411845 w 6942639"/>
                <a:gd name="connsiteY9802" fmla="*/ 1385954 h 9250612"/>
                <a:gd name="connsiteX9803" fmla="*/ 5402885 w 6942639"/>
                <a:gd name="connsiteY9803" fmla="*/ 1376991 h 9250612"/>
                <a:gd name="connsiteX9804" fmla="*/ 5411845 w 6942639"/>
                <a:gd name="connsiteY9804" fmla="*/ 1368029 h 9250612"/>
                <a:gd name="connsiteX9805" fmla="*/ 5243103 w 6942639"/>
                <a:gd name="connsiteY9805" fmla="*/ 1368029 h 9250612"/>
                <a:gd name="connsiteX9806" fmla="*/ 5252064 w 6942639"/>
                <a:gd name="connsiteY9806" fmla="*/ 1376991 h 9250612"/>
                <a:gd name="connsiteX9807" fmla="*/ 5243103 w 6942639"/>
                <a:gd name="connsiteY9807" fmla="*/ 1385954 h 9250612"/>
                <a:gd name="connsiteX9808" fmla="*/ 5234143 w 6942639"/>
                <a:gd name="connsiteY9808" fmla="*/ 1376991 h 9250612"/>
                <a:gd name="connsiteX9809" fmla="*/ 5243103 w 6942639"/>
                <a:gd name="connsiteY9809" fmla="*/ 1368029 h 9250612"/>
                <a:gd name="connsiteX9810" fmla="*/ 5074362 w 6942639"/>
                <a:gd name="connsiteY9810" fmla="*/ 1368029 h 9250612"/>
                <a:gd name="connsiteX9811" fmla="*/ 5083323 w 6942639"/>
                <a:gd name="connsiteY9811" fmla="*/ 1376992 h 9250612"/>
                <a:gd name="connsiteX9812" fmla="*/ 5074362 w 6942639"/>
                <a:gd name="connsiteY9812" fmla="*/ 1385954 h 9250612"/>
                <a:gd name="connsiteX9813" fmla="*/ 5065402 w 6942639"/>
                <a:gd name="connsiteY9813" fmla="*/ 1376992 h 9250612"/>
                <a:gd name="connsiteX9814" fmla="*/ 5074362 w 6942639"/>
                <a:gd name="connsiteY9814" fmla="*/ 1368029 h 9250612"/>
                <a:gd name="connsiteX9815" fmla="*/ 4905620 w 6942639"/>
                <a:gd name="connsiteY9815" fmla="*/ 1368029 h 9250612"/>
                <a:gd name="connsiteX9816" fmla="*/ 4914581 w 6942639"/>
                <a:gd name="connsiteY9816" fmla="*/ 1376992 h 9250612"/>
                <a:gd name="connsiteX9817" fmla="*/ 4905620 w 6942639"/>
                <a:gd name="connsiteY9817" fmla="*/ 1385954 h 9250612"/>
                <a:gd name="connsiteX9818" fmla="*/ 4896660 w 6942639"/>
                <a:gd name="connsiteY9818" fmla="*/ 1376992 h 9250612"/>
                <a:gd name="connsiteX9819" fmla="*/ 4905620 w 6942639"/>
                <a:gd name="connsiteY9819" fmla="*/ 1368029 h 9250612"/>
                <a:gd name="connsiteX9820" fmla="*/ 4736878 w 6942639"/>
                <a:gd name="connsiteY9820" fmla="*/ 1368029 h 9250612"/>
                <a:gd name="connsiteX9821" fmla="*/ 4745839 w 6942639"/>
                <a:gd name="connsiteY9821" fmla="*/ 1376992 h 9250612"/>
                <a:gd name="connsiteX9822" fmla="*/ 4736878 w 6942639"/>
                <a:gd name="connsiteY9822" fmla="*/ 1385956 h 9250612"/>
                <a:gd name="connsiteX9823" fmla="*/ 4727918 w 6942639"/>
                <a:gd name="connsiteY9823" fmla="*/ 1376992 h 9250612"/>
                <a:gd name="connsiteX9824" fmla="*/ 4736878 w 6942639"/>
                <a:gd name="connsiteY9824" fmla="*/ 1368029 h 9250612"/>
                <a:gd name="connsiteX9825" fmla="*/ 6424294 w 6942639"/>
                <a:gd name="connsiteY9825" fmla="*/ 1368027 h 9250612"/>
                <a:gd name="connsiteX9826" fmla="*/ 6433255 w 6942639"/>
                <a:gd name="connsiteY9826" fmla="*/ 1376989 h 9250612"/>
                <a:gd name="connsiteX9827" fmla="*/ 6424294 w 6942639"/>
                <a:gd name="connsiteY9827" fmla="*/ 1385953 h 9250612"/>
                <a:gd name="connsiteX9828" fmla="*/ 6415334 w 6942639"/>
                <a:gd name="connsiteY9828" fmla="*/ 1376989 h 9250612"/>
                <a:gd name="connsiteX9829" fmla="*/ 6424294 w 6942639"/>
                <a:gd name="connsiteY9829" fmla="*/ 1368027 h 9250612"/>
                <a:gd name="connsiteX9830" fmla="*/ 6255553 w 6942639"/>
                <a:gd name="connsiteY9830" fmla="*/ 1368027 h 9250612"/>
                <a:gd name="connsiteX9831" fmla="*/ 6264514 w 6942639"/>
                <a:gd name="connsiteY9831" fmla="*/ 1376989 h 9250612"/>
                <a:gd name="connsiteX9832" fmla="*/ 6255553 w 6942639"/>
                <a:gd name="connsiteY9832" fmla="*/ 1385953 h 9250612"/>
                <a:gd name="connsiteX9833" fmla="*/ 6246593 w 6942639"/>
                <a:gd name="connsiteY9833" fmla="*/ 1376989 h 9250612"/>
                <a:gd name="connsiteX9834" fmla="*/ 6255553 w 6942639"/>
                <a:gd name="connsiteY9834" fmla="*/ 1368027 h 9250612"/>
                <a:gd name="connsiteX9835" fmla="*/ 6086811 w 6942639"/>
                <a:gd name="connsiteY9835" fmla="*/ 1368027 h 9250612"/>
                <a:gd name="connsiteX9836" fmla="*/ 6095772 w 6942639"/>
                <a:gd name="connsiteY9836" fmla="*/ 1376989 h 9250612"/>
                <a:gd name="connsiteX9837" fmla="*/ 6086811 w 6942639"/>
                <a:gd name="connsiteY9837" fmla="*/ 1385953 h 9250612"/>
                <a:gd name="connsiteX9838" fmla="*/ 6077851 w 6942639"/>
                <a:gd name="connsiteY9838" fmla="*/ 1376989 h 9250612"/>
                <a:gd name="connsiteX9839" fmla="*/ 6086811 w 6942639"/>
                <a:gd name="connsiteY9839" fmla="*/ 1368027 h 9250612"/>
                <a:gd name="connsiteX9840" fmla="*/ 5918069 w 6942639"/>
                <a:gd name="connsiteY9840" fmla="*/ 1368027 h 9250612"/>
                <a:gd name="connsiteX9841" fmla="*/ 5927030 w 6942639"/>
                <a:gd name="connsiteY9841" fmla="*/ 1376991 h 9250612"/>
                <a:gd name="connsiteX9842" fmla="*/ 5918069 w 6942639"/>
                <a:gd name="connsiteY9842" fmla="*/ 1385953 h 9250612"/>
                <a:gd name="connsiteX9843" fmla="*/ 5909109 w 6942639"/>
                <a:gd name="connsiteY9843" fmla="*/ 1376991 h 9250612"/>
                <a:gd name="connsiteX9844" fmla="*/ 5918069 w 6942639"/>
                <a:gd name="connsiteY9844" fmla="*/ 1368027 h 9250612"/>
                <a:gd name="connsiteX9845" fmla="*/ 5749328 w 6942639"/>
                <a:gd name="connsiteY9845" fmla="*/ 1368027 h 9250612"/>
                <a:gd name="connsiteX9846" fmla="*/ 5758289 w 6942639"/>
                <a:gd name="connsiteY9846" fmla="*/ 1376991 h 9250612"/>
                <a:gd name="connsiteX9847" fmla="*/ 5749328 w 6942639"/>
                <a:gd name="connsiteY9847" fmla="*/ 1385953 h 9250612"/>
                <a:gd name="connsiteX9848" fmla="*/ 5740368 w 6942639"/>
                <a:gd name="connsiteY9848" fmla="*/ 1376991 h 9250612"/>
                <a:gd name="connsiteX9849" fmla="*/ 5749328 w 6942639"/>
                <a:gd name="connsiteY9849" fmla="*/ 1368027 h 9250612"/>
                <a:gd name="connsiteX9850" fmla="*/ 5580586 w 6942639"/>
                <a:gd name="connsiteY9850" fmla="*/ 1368027 h 9250612"/>
                <a:gd name="connsiteX9851" fmla="*/ 5589547 w 6942639"/>
                <a:gd name="connsiteY9851" fmla="*/ 1376991 h 9250612"/>
                <a:gd name="connsiteX9852" fmla="*/ 5580586 w 6942639"/>
                <a:gd name="connsiteY9852" fmla="*/ 1385954 h 9250612"/>
                <a:gd name="connsiteX9853" fmla="*/ 5571626 w 6942639"/>
                <a:gd name="connsiteY9853" fmla="*/ 1376991 h 9250612"/>
                <a:gd name="connsiteX9854" fmla="*/ 5580586 w 6942639"/>
                <a:gd name="connsiteY9854" fmla="*/ 1368027 h 9250612"/>
                <a:gd name="connsiteX9855" fmla="*/ 6933679 w 6942639"/>
                <a:gd name="connsiteY9855" fmla="*/ 1368026 h 9250612"/>
                <a:gd name="connsiteX9856" fmla="*/ 6942639 w 6942639"/>
                <a:gd name="connsiteY9856" fmla="*/ 1376989 h 9250612"/>
                <a:gd name="connsiteX9857" fmla="*/ 6933679 w 6942639"/>
                <a:gd name="connsiteY9857" fmla="*/ 1385952 h 9250612"/>
                <a:gd name="connsiteX9858" fmla="*/ 6924718 w 6942639"/>
                <a:gd name="connsiteY9858" fmla="*/ 1376989 h 9250612"/>
                <a:gd name="connsiteX9859" fmla="*/ 6933679 w 6942639"/>
                <a:gd name="connsiteY9859" fmla="*/ 1368026 h 9250612"/>
                <a:gd name="connsiteX9860" fmla="*/ 6763357 w 6942639"/>
                <a:gd name="connsiteY9860" fmla="*/ 1368026 h 9250612"/>
                <a:gd name="connsiteX9861" fmla="*/ 6772318 w 6942639"/>
                <a:gd name="connsiteY9861" fmla="*/ 1376989 h 9250612"/>
                <a:gd name="connsiteX9862" fmla="*/ 6763357 w 6942639"/>
                <a:gd name="connsiteY9862" fmla="*/ 1385952 h 9250612"/>
                <a:gd name="connsiteX9863" fmla="*/ 6754397 w 6942639"/>
                <a:gd name="connsiteY9863" fmla="*/ 1376989 h 9250612"/>
                <a:gd name="connsiteX9864" fmla="*/ 6763357 w 6942639"/>
                <a:gd name="connsiteY9864" fmla="*/ 1368026 h 9250612"/>
                <a:gd name="connsiteX9865" fmla="*/ 6593035 w 6942639"/>
                <a:gd name="connsiteY9865" fmla="*/ 1368026 h 9250612"/>
                <a:gd name="connsiteX9866" fmla="*/ 6601996 w 6942639"/>
                <a:gd name="connsiteY9866" fmla="*/ 1376989 h 9250612"/>
                <a:gd name="connsiteX9867" fmla="*/ 6593035 w 6942639"/>
                <a:gd name="connsiteY9867" fmla="*/ 1385952 h 9250612"/>
                <a:gd name="connsiteX9868" fmla="*/ 6584075 w 6942639"/>
                <a:gd name="connsiteY9868" fmla="*/ 1376989 h 9250612"/>
                <a:gd name="connsiteX9869" fmla="*/ 6593035 w 6942639"/>
                <a:gd name="connsiteY9869" fmla="*/ 1368026 h 9250612"/>
                <a:gd name="connsiteX9870" fmla="*/ 349786 w 6942639"/>
                <a:gd name="connsiteY9870" fmla="*/ 1197018 h 9250612"/>
                <a:gd name="connsiteX9871" fmla="*/ 358746 w 6942639"/>
                <a:gd name="connsiteY9871" fmla="*/ 1205980 h 9250612"/>
                <a:gd name="connsiteX9872" fmla="*/ 349786 w 6942639"/>
                <a:gd name="connsiteY9872" fmla="*/ 1214944 h 9250612"/>
                <a:gd name="connsiteX9873" fmla="*/ 340827 w 6942639"/>
                <a:gd name="connsiteY9873" fmla="*/ 1205980 h 9250612"/>
                <a:gd name="connsiteX9874" fmla="*/ 349786 w 6942639"/>
                <a:gd name="connsiteY9874" fmla="*/ 1197018 h 9250612"/>
                <a:gd name="connsiteX9875" fmla="*/ 179469 w 6942639"/>
                <a:gd name="connsiteY9875" fmla="*/ 1197018 h 9250612"/>
                <a:gd name="connsiteX9876" fmla="*/ 188430 w 6942639"/>
                <a:gd name="connsiteY9876" fmla="*/ 1205980 h 9250612"/>
                <a:gd name="connsiteX9877" fmla="*/ 179469 w 6942639"/>
                <a:gd name="connsiteY9877" fmla="*/ 1214944 h 9250612"/>
                <a:gd name="connsiteX9878" fmla="*/ 170509 w 6942639"/>
                <a:gd name="connsiteY9878" fmla="*/ 1205980 h 9250612"/>
                <a:gd name="connsiteX9879" fmla="*/ 179469 w 6942639"/>
                <a:gd name="connsiteY9879" fmla="*/ 1197018 h 9250612"/>
                <a:gd name="connsiteX9880" fmla="*/ 1193520 w 6942639"/>
                <a:gd name="connsiteY9880" fmla="*/ 1197017 h 9250612"/>
                <a:gd name="connsiteX9881" fmla="*/ 1202481 w 6942639"/>
                <a:gd name="connsiteY9881" fmla="*/ 1205979 h 9250612"/>
                <a:gd name="connsiteX9882" fmla="*/ 1193520 w 6942639"/>
                <a:gd name="connsiteY9882" fmla="*/ 1214942 h 9250612"/>
                <a:gd name="connsiteX9883" fmla="*/ 1184563 w 6942639"/>
                <a:gd name="connsiteY9883" fmla="*/ 1205979 h 9250612"/>
                <a:gd name="connsiteX9884" fmla="*/ 1193520 w 6942639"/>
                <a:gd name="connsiteY9884" fmla="*/ 1197017 h 9250612"/>
                <a:gd name="connsiteX9885" fmla="*/ 1024762 w 6942639"/>
                <a:gd name="connsiteY9885" fmla="*/ 1197017 h 9250612"/>
                <a:gd name="connsiteX9886" fmla="*/ 1033730 w 6942639"/>
                <a:gd name="connsiteY9886" fmla="*/ 1205979 h 9250612"/>
                <a:gd name="connsiteX9887" fmla="*/ 1024762 w 6942639"/>
                <a:gd name="connsiteY9887" fmla="*/ 1214942 h 9250612"/>
                <a:gd name="connsiteX9888" fmla="*/ 1015802 w 6942639"/>
                <a:gd name="connsiteY9888" fmla="*/ 1205979 h 9250612"/>
                <a:gd name="connsiteX9889" fmla="*/ 1024762 w 6942639"/>
                <a:gd name="connsiteY9889" fmla="*/ 1197017 h 9250612"/>
                <a:gd name="connsiteX9890" fmla="*/ 856040 w 6942639"/>
                <a:gd name="connsiteY9890" fmla="*/ 1197017 h 9250612"/>
                <a:gd name="connsiteX9891" fmla="*/ 865001 w 6942639"/>
                <a:gd name="connsiteY9891" fmla="*/ 1205979 h 9250612"/>
                <a:gd name="connsiteX9892" fmla="*/ 856040 w 6942639"/>
                <a:gd name="connsiteY9892" fmla="*/ 1214942 h 9250612"/>
                <a:gd name="connsiteX9893" fmla="*/ 847080 w 6942639"/>
                <a:gd name="connsiteY9893" fmla="*/ 1205979 h 9250612"/>
                <a:gd name="connsiteX9894" fmla="*/ 856040 w 6942639"/>
                <a:gd name="connsiteY9894" fmla="*/ 1197017 h 9250612"/>
                <a:gd name="connsiteX9895" fmla="*/ 687303 w 6942639"/>
                <a:gd name="connsiteY9895" fmla="*/ 1197017 h 9250612"/>
                <a:gd name="connsiteX9896" fmla="*/ 696263 w 6942639"/>
                <a:gd name="connsiteY9896" fmla="*/ 1205980 h 9250612"/>
                <a:gd name="connsiteX9897" fmla="*/ 687303 w 6942639"/>
                <a:gd name="connsiteY9897" fmla="*/ 1214942 h 9250612"/>
                <a:gd name="connsiteX9898" fmla="*/ 678344 w 6942639"/>
                <a:gd name="connsiteY9898" fmla="*/ 1205980 h 9250612"/>
                <a:gd name="connsiteX9899" fmla="*/ 687303 w 6942639"/>
                <a:gd name="connsiteY9899" fmla="*/ 1197017 h 9250612"/>
                <a:gd name="connsiteX9900" fmla="*/ 518523 w 6942639"/>
                <a:gd name="connsiteY9900" fmla="*/ 1197017 h 9250612"/>
                <a:gd name="connsiteX9901" fmla="*/ 527483 w 6942639"/>
                <a:gd name="connsiteY9901" fmla="*/ 1205980 h 9250612"/>
                <a:gd name="connsiteX9902" fmla="*/ 518523 w 6942639"/>
                <a:gd name="connsiteY9902" fmla="*/ 1214942 h 9250612"/>
                <a:gd name="connsiteX9903" fmla="*/ 509562 w 6942639"/>
                <a:gd name="connsiteY9903" fmla="*/ 1205980 h 9250612"/>
                <a:gd name="connsiteX9904" fmla="*/ 518523 w 6942639"/>
                <a:gd name="connsiteY9904" fmla="*/ 1197017 h 9250612"/>
                <a:gd name="connsiteX9905" fmla="*/ 9154 w 6942639"/>
                <a:gd name="connsiteY9905" fmla="*/ 1197017 h 9250612"/>
                <a:gd name="connsiteX9906" fmla="*/ 18113 w 6942639"/>
                <a:gd name="connsiteY9906" fmla="*/ 1205980 h 9250612"/>
                <a:gd name="connsiteX9907" fmla="*/ 9154 w 6942639"/>
                <a:gd name="connsiteY9907" fmla="*/ 1214944 h 9250612"/>
                <a:gd name="connsiteX9908" fmla="*/ 194 w 6942639"/>
                <a:gd name="connsiteY9908" fmla="*/ 1205980 h 9250612"/>
                <a:gd name="connsiteX9909" fmla="*/ 9154 w 6942639"/>
                <a:gd name="connsiteY9909" fmla="*/ 1197017 h 9250612"/>
                <a:gd name="connsiteX9910" fmla="*/ 2205955 w 6942639"/>
                <a:gd name="connsiteY9910" fmla="*/ 1197015 h 9250612"/>
                <a:gd name="connsiteX9911" fmla="*/ 2214911 w 6942639"/>
                <a:gd name="connsiteY9911" fmla="*/ 1205977 h 9250612"/>
                <a:gd name="connsiteX9912" fmla="*/ 2205955 w 6942639"/>
                <a:gd name="connsiteY9912" fmla="*/ 1214941 h 9250612"/>
                <a:gd name="connsiteX9913" fmla="*/ 2196955 w 6942639"/>
                <a:gd name="connsiteY9913" fmla="*/ 1205977 h 9250612"/>
                <a:gd name="connsiteX9914" fmla="*/ 2205955 w 6942639"/>
                <a:gd name="connsiteY9914" fmla="*/ 1197015 h 9250612"/>
                <a:gd name="connsiteX9915" fmla="*/ 2037212 w 6942639"/>
                <a:gd name="connsiteY9915" fmla="*/ 1197015 h 9250612"/>
                <a:gd name="connsiteX9916" fmla="*/ 2046151 w 6942639"/>
                <a:gd name="connsiteY9916" fmla="*/ 1205977 h 9250612"/>
                <a:gd name="connsiteX9917" fmla="*/ 2037212 w 6942639"/>
                <a:gd name="connsiteY9917" fmla="*/ 1214941 h 9250612"/>
                <a:gd name="connsiteX9918" fmla="*/ 2028278 w 6942639"/>
                <a:gd name="connsiteY9918" fmla="*/ 1205977 h 9250612"/>
                <a:gd name="connsiteX9919" fmla="*/ 2037212 w 6942639"/>
                <a:gd name="connsiteY9919" fmla="*/ 1197015 h 9250612"/>
                <a:gd name="connsiteX9920" fmla="*/ 1868514 w 6942639"/>
                <a:gd name="connsiteY9920" fmla="*/ 1197015 h 9250612"/>
                <a:gd name="connsiteX9921" fmla="*/ 1877458 w 6942639"/>
                <a:gd name="connsiteY9921" fmla="*/ 1205977 h 9250612"/>
                <a:gd name="connsiteX9922" fmla="*/ 1868514 w 6942639"/>
                <a:gd name="connsiteY9922" fmla="*/ 1214941 h 9250612"/>
                <a:gd name="connsiteX9923" fmla="*/ 1859534 w 6942639"/>
                <a:gd name="connsiteY9923" fmla="*/ 1205977 h 9250612"/>
                <a:gd name="connsiteX9924" fmla="*/ 1868514 w 6942639"/>
                <a:gd name="connsiteY9924" fmla="*/ 1197015 h 9250612"/>
                <a:gd name="connsiteX9925" fmla="*/ 1699759 w 6942639"/>
                <a:gd name="connsiteY9925" fmla="*/ 1197015 h 9250612"/>
                <a:gd name="connsiteX9926" fmla="*/ 1708729 w 6942639"/>
                <a:gd name="connsiteY9926" fmla="*/ 1205979 h 9250612"/>
                <a:gd name="connsiteX9927" fmla="*/ 1699759 w 6942639"/>
                <a:gd name="connsiteY9927" fmla="*/ 1214941 h 9250612"/>
                <a:gd name="connsiteX9928" fmla="*/ 1690788 w 6942639"/>
                <a:gd name="connsiteY9928" fmla="*/ 1205979 h 9250612"/>
                <a:gd name="connsiteX9929" fmla="*/ 1699759 w 6942639"/>
                <a:gd name="connsiteY9929" fmla="*/ 1197015 h 9250612"/>
                <a:gd name="connsiteX9930" fmla="*/ 1531017 w 6942639"/>
                <a:gd name="connsiteY9930" fmla="*/ 1197015 h 9250612"/>
                <a:gd name="connsiteX9931" fmla="*/ 1539979 w 6942639"/>
                <a:gd name="connsiteY9931" fmla="*/ 1205979 h 9250612"/>
                <a:gd name="connsiteX9932" fmla="*/ 1531017 w 6942639"/>
                <a:gd name="connsiteY9932" fmla="*/ 1214941 h 9250612"/>
                <a:gd name="connsiteX9933" fmla="*/ 1522054 w 6942639"/>
                <a:gd name="connsiteY9933" fmla="*/ 1205979 h 9250612"/>
                <a:gd name="connsiteX9934" fmla="*/ 1531017 w 6942639"/>
                <a:gd name="connsiteY9934" fmla="*/ 1197015 h 9250612"/>
                <a:gd name="connsiteX9935" fmla="*/ 1362262 w 6942639"/>
                <a:gd name="connsiteY9935" fmla="*/ 1197015 h 9250612"/>
                <a:gd name="connsiteX9936" fmla="*/ 1371225 w 6942639"/>
                <a:gd name="connsiteY9936" fmla="*/ 1205979 h 9250612"/>
                <a:gd name="connsiteX9937" fmla="*/ 1362262 w 6942639"/>
                <a:gd name="connsiteY9937" fmla="*/ 1214942 h 9250612"/>
                <a:gd name="connsiteX9938" fmla="*/ 1353301 w 6942639"/>
                <a:gd name="connsiteY9938" fmla="*/ 1205979 h 9250612"/>
                <a:gd name="connsiteX9939" fmla="*/ 1362262 w 6942639"/>
                <a:gd name="connsiteY9939" fmla="*/ 1197015 h 9250612"/>
                <a:gd name="connsiteX9940" fmla="*/ 3218314 w 6942639"/>
                <a:gd name="connsiteY9940" fmla="*/ 1197014 h 9250612"/>
                <a:gd name="connsiteX9941" fmla="*/ 3227291 w 6942639"/>
                <a:gd name="connsiteY9941" fmla="*/ 1205976 h 9250612"/>
                <a:gd name="connsiteX9942" fmla="*/ 3218314 w 6942639"/>
                <a:gd name="connsiteY9942" fmla="*/ 1214940 h 9250612"/>
                <a:gd name="connsiteX9943" fmla="*/ 3209344 w 6942639"/>
                <a:gd name="connsiteY9943" fmla="*/ 1205976 h 9250612"/>
                <a:gd name="connsiteX9944" fmla="*/ 3218314 w 6942639"/>
                <a:gd name="connsiteY9944" fmla="*/ 1197014 h 9250612"/>
                <a:gd name="connsiteX9945" fmla="*/ 3049621 w 6942639"/>
                <a:gd name="connsiteY9945" fmla="*/ 1197014 h 9250612"/>
                <a:gd name="connsiteX9946" fmla="*/ 3058578 w 6942639"/>
                <a:gd name="connsiteY9946" fmla="*/ 1205976 h 9250612"/>
                <a:gd name="connsiteX9947" fmla="*/ 3049621 w 6942639"/>
                <a:gd name="connsiteY9947" fmla="*/ 1214940 h 9250612"/>
                <a:gd name="connsiteX9948" fmla="*/ 3040651 w 6942639"/>
                <a:gd name="connsiteY9948" fmla="*/ 1205976 h 9250612"/>
                <a:gd name="connsiteX9949" fmla="*/ 3049621 w 6942639"/>
                <a:gd name="connsiteY9949" fmla="*/ 1197014 h 9250612"/>
                <a:gd name="connsiteX9950" fmla="*/ 2880905 w 6942639"/>
                <a:gd name="connsiteY9950" fmla="*/ 1197014 h 9250612"/>
                <a:gd name="connsiteX9951" fmla="*/ 2889860 w 6942639"/>
                <a:gd name="connsiteY9951" fmla="*/ 1205976 h 9250612"/>
                <a:gd name="connsiteX9952" fmla="*/ 2880905 w 6942639"/>
                <a:gd name="connsiteY9952" fmla="*/ 1214940 h 9250612"/>
                <a:gd name="connsiteX9953" fmla="*/ 2871948 w 6942639"/>
                <a:gd name="connsiteY9953" fmla="*/ 1205976 h 9250612"/>
                <a:gd name="connsiteX9954" fmla="*/ 2880905 w 6942639"/>
                <a:gd name="connsiteY9954" fmla="*/ 1197014 h 9250612"/>
                <a:gd name="connsiteX9955" fmla="*/ 2712127 w 6942639"/>
                <a:gd name="connsiteY9955" fmla="*/ 1197014 h 9250612"/>
                <a:gd name="connsiteX9956" fmla="*/ 2721110 w 6942639"/>
                <a:gd name="connsiteY9956" fmla="*/ 1205977 h 9250612"/>
                <a:gd name="connsiteX9957" fmla="*/ 2712127 w 6942639"/>
                <a:gd name="connsiteY9957" fmla="*/ 1214940 h 9250612"/>
                <a:gd name="connsiteX9958" fmla="*/ 2703176 w 6942639"/>
                <a:gd name="connsiteY9958" fmla="*/ 1205977 h 9250612"/>
                <a:gd name="connsiteX9959" fmla="*/ 2712127 w 6942639"/>
                <a:gd name="connsiteY9959" fmla="*/ 1197014 h 9250612"/>
                <a:gd name="connsiteX9960" fmla="*/ 2543459 w 6942639"/>
                <a:gd name="connsiteY9960" fmla="*/ 1197014 h 9250612"/>
                <a:gd name="connsiteX9961" fmla="*/ 2552423 w 6942639"/>
                <a:gd name="connsiteY9961" fmla="*/ 1205977 h 9250612"/>
                <a:gd name="connsiteX9962" fmla="*/ 2543459 w 6942639"/>
                <a:gd name="connsiteY9962" fmla="*/ 1214940 h 9250612"/>
                <a:gd name="connsiteX9963" fmla="*/ 2534483 w 6942639"/>
                <a:gd name="connsiteY9963" fmla="*/ 1205977 h 9250612"/>
                <a:gd name="connsiteX9964" fmla="*/ 2543459 w 6942639"/>
                <a:gd name="connsiteY9964" fmla="*/ 1197014 h 9250612"/>
                <a:gd name="connsiteX9965" fmla="*/ 2374648 w 6942639"/>
                <a:gd name="connsiteY9965" fmla="*/ 1197014 h 9250612"/>
                <a:gd name="connsiteX9966" fmla="*/ 2383667 w 6942639"/>
                <a:gd name="connsiteY9966" fmla="*/ 1205977 h 9250612"/>
                <a:gd name="connsiteX9967" fmla="*/ 2374648 w 6942639"/>
                <a:gd name="connsiteY9967" fmla="*/ 1214941 h 9250612"/>
                <a:gd name="connsiteX9968" fmla="*/ 2365685 w 6942639"/>
                <a:gd name="connsiteY9968" fmla="*/ 1205977 h 9250612"/>
                <a:gd name="connsiteX9969" fmla="*/ 2374648 w 6942639"/>
                <a:gd name="connsiteY9969" fmla="*/ 1197014 h 9250612"/>
                <a:gd name="connsiteX9970" fmla="*/ 4230654 w 6942639"/>
                <a:gd name="connsiteY9970" fmla="*/ 1197013 h 9250612"/>
                <a:gd name="connsiteX9971" fmla="*/ 4239615 w 6942639"/>
                <a:gd name="connsiteY9971" fmla="*/ 1205975 h 9250612"/>
                <a:gd name="connsiteX9972" fmla="*/ 4230654 w 6942639"/>
                <a:gd name="connsiteY9972" fmla="*/ 1214938 h 9250612"/>
                <a:gd name="connsiteX9973" fmla="*/ 4221694 w 6942639"/>
                <a:gd name="connsiteY9973" fmla="*/ 1205975 h 9250612"/>
                <a:gd name="connsiteX9974" fmla="*/ 4230654 w 6942639"/>
                <a:gd name="connsiteY9974" fmla="*/ 1197013 h 9250612"/>
                <a:gd name="connsiteX9975" fmla="*/ 4061912 w 6942639"/>
                <a:gd name="connsiteY9975" fmla="*/ 1197013 h 9250612"/>
                <a:gd name="connsiteX9976" fmla="*/ 4070873 w 6942639"/>
                <a:gd name="connsiteY9976" fmla="*/ 1205975 h 9250612"/>
                <a:gd name="connsiteX9977" fmla="*/ 4061912 w 6942639"/>
                <a:gd name="connsiteY9977" fmla="*/ 1214938 h 9250612"/>
                <a:gd name="connsiteX9978" fmla="*/ 4052952 w 6942639"/>
                <a:gd name="connsiteY9978" fmla="*/ 1205975 h 9250612"/>
                <a:gd name="connsiteX9979" fmla="*/ 4061912 w 6942639"/>
                <a:gd name="connsiteY9979" fmla="*/ 1197013 h 9250612"/>
                <a:gd name="connsiteX9980" fmla="*/ 3893170 w 6942639"/>
                <a:gd name="connsiteY9980" fmla="*/ 1197013 h 9250612"/>
                <a:gd name="connsiteX9981" fmla="*/ 3902131 w 6942639"/>
                <a:gd name="connsiteY9981" fmla="*/ 1205975 h 9250612"/>
                <a:gd name="connsiteX9982" fmla="*/ 3893170 w 6942639"/>
                <a:gd name="connsiteY9982" fmla="*/ 1214938 h 9250612"/>
                <a:gd name="connsiteX9983" fmla="*/ 3884210 w 6942639"/>
                <a:gd name="connsiteY9983" fmla="*/ 1205975 h 9250612"/>
                <a:gd name="connsiteX9984" fmla="*/ 3893170 w 6942639"/>
                <a:gd name="connsiteY9984" fmla="*/ 1197013 h 9250612"/>
                <a:gd name="connsiteX9985" fmla="*/ 3724429 w 6942639"/>
                <a:gd name="connsiteY9985" fmla="*/ 1197013 h 9250612"/>
                <a:gd name="connsiteX9986" fmla="*/ 3733390 w 6942639"/>
                <a:gd name="connsiteY9986" fmla="*/ 1205976 h 9250612"/>
                <a:gd name="connsiteX9987" fmla="*/ 3724429 w 6942639"/>
                <a:gd name="connsiteY9987" fmla="*/ 1214938 h 9250612"/>
                <a:gd name="connsiteX9988" fmla="*/ 3715469 w 6942639"/>
                <a:gd name="connsiteY9988" fmla="*/ 1205976 h 9250612"/>
                <a:gd name="connsiteX9989" fmla="*/ 3724429 w 6942639"/>
                <a:gd name="connsiteY9989" fmla="*/ 1197013 h 9250612"/>
                <a:gd name="connsiteX9990" fmla="*/ 3555688 w 6942639"/>
                <a:gd name="connsiteY9990" fmla="*/ 1197013 h 9250612"/>
                <a:gd name="connsiteX9991" fmla="*/ 3564649 w 6942639"/>
                <a:gd name="connsiteY9991" fmla="*/ 1205976 h 9250612"/>
                <a:gd name="connsiteX9992" fmla="*/ 3555688 w 6942639"/>
                <a:gd name="connsiteY9992" fmla="*/ 1214938 h 9250612"/>
                <a:gd name="connsiteX9993" fmla="*/ 3546728 w 6942639"/>
                <a:gd name="connsiteY9993" fmla="*/ 1205976 h 9250612"/>
                <a:gd name="connsiteX9994" fmla="*/ 3555688 w 6942639"/>
                <a:gd name="connsiteY9994" fmla="*/ 1197013 h 9250612"/>
                <a:gd name="connsiteX9995" fmla="*/ 3387068 w 6942639"/>
                <a:gd name="connsiteY9995" fmla="*/ 1197013 h 9250612"/>
                <a:gd name="connsiteX9996" fmla="*/ 3396049 w 6942639"/>
                <a:gd name="connsiteY9996" fmla="*/ 1205976 h 9250612"/>
                <a:gd name="connsiteX9997" fmla="*/ 3387068 w 6942639"/>
                <a:gd name="connsiteY9997" fmla="*/ 1214940 h 9250612"/>
                <a:gd name="connsiteX9998" fmla="*/ 3378057 w 6942639"/>
                <a:gd name="connsiteY9998" fmla="*/ 1205976 h 9250612"/>
                <a:gd name="connsiteX9999" fmla="*/ 3387068 w 6942639"/>
                <a:gd name="connsiteY9999" fmla="*/ 1197013 h 9250612"/>
                <a:gd name="connsiteX10000" fmla="*/ 5243103 w 6942639"/>
                <a:gd name="connsiteY10000" fmla="*/ 1197011 h 9250612"/>
                <a:gd name="connsiteX10001" fmla="*/ 5252064 w 6942639"/>
                <a:gd name="connsiteY10001" fmla="*/ 1205973 h 9250612"/>
                <a:gd name="connsiteX10002" fmla="*/ 5243103 w 6942639"/>
                <a:gd name="connsiteY10002" fmla="*/ 1214937 h 9250612"/>
                <a:gd name="connsiteX10003" fmla="*/ 5234143 w 6942639"/>
                <a:gd name="connsiteY10003" fmla="*/ 1205973 h 9250612"/>
                <a:gd name="connsiteX10004" fmla="*/ 5243103 w 6942639"/>
                <a:gd name="connsiteY10004" fmla="*/ 1197011 h 9250612"/>
                <a:gd name="connsiteX10005" fmla="*/ 5074362 w 6942639"/>
                <a:gd name="connsiteY10005" fmla="*/ 1197011 h 9250612"/>
                <a:gd name="connsiteX10006" fmla="*/ 5083323 w 6942639"/>
                <a:gd name="connsiteY10006" fmla="*/ 1205973 h 9250612"/>
                <a:gd name="connsiteX10007" fmla="*/ 5074362 w 6942639"/>
                <a:gd name="connsiteY10007" fmla="*/ 1214937 h 9250612"/>
                <a:gd name="connsiteX10008" fmla="*/ 5065402 w 6942639"/>
                <a:gd name="connsiteY10008" fmla="*/ 1205973 h 9250612"/>
                <a:gd name="connsiteX10009" fmla="*/ 5074362 w 6942639"/>
                <a:gd name="connsiteY10009" fmla="*/ 1197011 h 9250612"/>
                <a:gd name="connsiteX10010" fmla="*/ 4905620 w 6942639"/>
                <a:gd name="connsiteY10010" fmla="*/ 1197011 h 9250612"/>
                <a:gd name="connsiteX10011" fmla="*/ 4914581 w 6942639"/>
                <a:gd name="connsiteY10011" fmla="*/ 1205975 h 9250612"/>
                <a:gd name="connsiteX10012" fmla="*/ 4905620 w 6942639"/>
                <a:gd name="connsiteY10012" fmla="*/ 1214937 h 9250612"/>
                <a:gd name="connsiteX10013" fmla="*/ 4896660 w 6942639"/>
                <a:gd name="connsiteY10013" fmla="*/ 1205975 h 9250612"/>
                <a:gd name="connsiteX10014" fmla="*/ 4905620 w 6942639"/>
                <a:gd name="connsiteY10014" fmla="*/ 1197011 h 9250612"/>
                <a:gd name="connsiteX10015" fmla="*/ 4736878 w 6942639"/>
                <a:gd name="connsiteY10015" fmla="*/ 1197011 h 9250612"/>
                <a:gd name="connsiteX10016" fmla="*/ 4745839 w 6942639"/>
                <a:gd name="connsiteY10016" fmla="*/ 1205975 h 9250612"/>
                <a:gd name="connsiteX10017" fmla="*/ 4736878 w 6942639"/>
                <a:gd name="connsiteY10017" fmla="*/ 1214937 h 9250612"/>
                <a:gd name="connsiteX10018" fmla="*/ 4727918 w 6942639"/>
                <a:gd name="connsiteY10018" fmla="*/ 1205975 h 9250612"/>
                <a:gd name="connsiteX10019" fmla="*/ 4736878 w 6942639"/>
                <a:gd name="connsiteY10019" fmla="*/ 1197011 h 9250612"/>
                <a:gd name="connsiteX10020" fmla="*/ 4568137 w 6942639"/>
                <a:gd name="connsiteY10020" fmla="*/ 1197011 h 9250612"/>
                <a:gd name="connsiteX10021" fmla="*/ 4577098 w 6942639"/>
                <a:gd name="connsiteY10021" fmla="*/ 1205975 h 9250612"/>
                <a:gd name="connsiteX10022" fmla="*/ 4568137 w 6942639"/>
                <a:gd name="connsiteY10022" fmla="*/ 1214937 h 9250612"/>
                <a:gd name="connsiteX10023" fmla="*/ 4559177 w 6942639"/>
                <a:gd name="connsiteY10023" fmla="*/ 1205975 h 9250612"/>
                <a:gd name="connsiteX10024" fmla="*/ 4568137 w 6942639"/>
                <a:gd name="connsiteY10024" fmla="*/ 1197011 h 9250612"/>
                <a:gd name="connsiteX10025" fmla="*/ 4399396 w 6942639"/>
                <a:gd name="connsiteY10025" fmla="*/ 1197011 h 9250612"/>
                <a:gd name="connsiteX10026" fmla="*/ 4408357 w 6942639"/>
                <a:gd name="connsiteY10026" fmla="*/ 1205975 h 9250612"/>
                <a:gd name="connsiteX10027" fmla="*/ 4399396 w 6942639"/>
                <a:gd name="connsiteY10027" fmla="*/ 1214938 h 9250612"/>
                <a:gd name="connsiteX10028" fmla="*/ 4390436 w 6942639"/>
                <a:gd name="connsiteY10028" fmla="*/ 1205975 h 9250612"/>
                <a:gd name="connsiteX10029" fmla="*/ 4399396 w 6942639"/>
                <a:gd name="connsiteY10029" fmla="*/ 1197011 h 9250612"/>
                <a:gd name="connsiteX10030" fmla="*/ 6255553 w 6942639"/>
                <a:gd name="connsiteY10030" fmla="*/ 1197010 h 9250612"/>
                <a:gd name="connsiteX10031" fmla="*/ 6264514 w 6942639"/>
                <a:gd name="connsiteY10031" fmla="*/ 1205972 h 9250612"/>
                <a:gd name="connsiteX10032" fmla="*/ 6255553 w 6942639"/>
                <a:gd name="connsiteY10032" fmla="*/ 1214936 h 9250612"/>
                <a:gd name="connsiteX10033" fmla="*/ 6246593 w 6942639"/>
                <a:gd name="connsiteY10033" fmla="*/ 1205972 h 9250612"/>
                <a:gd name="connsiteX10034" fmla="*/ 6255553 w 6942639"/>
                <a:gd name="connsiteY10034" fmla="*/ 1197010 h 9250612"/>
                <a:gd name="connsiteX10035" fmla="*/ 6086811 w 6942639"/>
                <a:gd name="connsiteY10035" fmla="*/ 1197010 h 9250612"/>
                <a:gd name="connsiteX10036" fmla="*/ 6095772 w 6942639"/>
                <a:gd name="connsiteY10036" fmla="*/ 1205972 h 9250612"/>
                <a:gd name="connsiteX10037" fmla="*/ 6086811 w 6942639"/>
                <a:gd name="connsiteY10037" fmla="*/ 1214936 h 9250612"/>
                <a:gd name="connsiteX10038" fmla="*/ 6077851 w 6942639"/>
                <a:gd name="connsiteY10038" fmla="*/ 1205972 h 9250612"/>
                <a:gd name="connsiteX10039" fmla="*/ 6086811 w 6942639"/>
                <a:gd name="connsiteY10039" fmla="*/ 1197010 h 9250612"/>
                <a:gd name="connsiteX10040" fmla="*/ 5918069 w 6942639"/>
                <a:gd name="connsiteY10040" fmla="*/ 1197010 h 9250612"/>
                <a:gd name="connsiteX10041" fmla="*/ 5927030 w 6942639"/>
                <a:gd name="connsiteY10041" fmla="*/ 1205972 h 9250612"/>
                <a:gd name="connsiteX10042" fmla="*/ 5918069 w 6942639"/>
                <a:gd name="connsiteY10042" fmla="*/ 1214936 h 9250612"/>
                <a:gd name="connsiteX10043" fmla="*/ 5909109 w 6942639"/>
                <a:gd name="connsiteY10043" fmla="*/ 1205972 h 9250612"/>
                <a:gd name="connsiteX10044" fmla="*/ 5918069 w 6942639"/>
                <a:gd name="connsiteY10044" fmla="*/ 1197010 h 9250612"/>
                <a:gd name="connsiteX10045" fmla="*/ 5749328 w 6942639"/>
                <a:gd name="connsiteY10045" fmla="*/ 1197010 h 9250612"/>
                <a:gd name="connsiteX10046" fmla="*/ 5758289 w 6942639"/>
                <a:gd name="connsiteY10046" fmla="*/ 1205973 h 9250612"/>
                <a:gd name="connsiteX10047" fmla="*/ 5749328 w 6942639"/>
                <a:gd name="connsiteY10047" fmla="*/ 1214936 h 9250612"/>
                <a:gd name="connsiteX10048" fmla="*/ 5740368 w 6942639"/>
                <a:gd name="connsiteY10048" fmla="*/ 1205973 h 9250612"/>
                <a:gd name="connsiteX10049" fmla="*/ 5749328 w 6942639"/>
                <a:gd name="connsiteY10049" fmla="*/ 1197010 h 9250612"/>
                <a:gd name="connsiteX10050" fmla="*/ 5580586 w 6942639"/>
                <a:gd name="connsiteY10050" fmla="*/ 1197010 h 9250612"/>
                <a:gd name="connsiteX10051" fmla="*/ 5589547 w 6942639"/>
                <a:gd name="connsiteY10051" fmla="*/ 1205973 h 9250612"/>
                <a:gd name="connsiteX10052" fmla="*/ 5580586 w 6942639"/>
                <a:gd name="connsiteY10052" fmla="*/ 1214936 h 9250612"/>
                <a:gd name="connsiteX10053" fmla="*/ 5571626 w 6942639"/>
                <a:gd name="connsiteY10053" fmla="*/ 1205973 h 9250612"/>
                <a:gd name="connsiteX10054" fmla="*/ 5580586 w 6942639"/>
                <a:gd name="connsiteY10054" fmla="*/ 1197010 h 9250612"/>
                <a:gd name="connsiteX10055" fmla="*/ 5411845 w 6942639"/>
                <a:gd name="connsiteY10055" fmla="*/ 1197010 h 9250612"/>
                <a:gd name="connsiteX10056" fmla="*/ 5420806 w 6942639"/>
                <a:gd name="connsiteY10056" fmla="*/ 1205973 h 9250612"/>
                <a:gd name="connsiteX10057" fmla="*/ 5411845 w 6942639"/>
                <a:gd name="connsiteY10057" fmla="*/ 1214937 h 9250612"/>
                <a:gd name="connsiteX10058" fmla="*/ 5402885 w 6942639"/>
                <a:gd name="connsiteY10058" fmla="*/ 1205973 h 9250612"/>
                <a:gd name="connsiteX10059" fmla="*/ 5411845 w 6942639"/>
                <a:gd name="connsiteY10059" fmla="*/ 1197010 h 9250612"/>
                <a:gd name="connsiteX10060" fmla="*/ 6933679 w 6942639"/>
                <a:gd name="connsiteY10060" fmla="*/ 1197009 h 9250612"/>
                <a:gd name="connsiteX10061" fmla="*/ 6942639 w 6942639"/>
                <a:gd name="connsiteY10061" fmla="*/ 1205972 h 9250612"/>
                <a:gd name="connsiteX10062" fmla="*/ 6933679 w 6942639"/>
                <a:gd name="connsiteY10062" fmla="*/ 1214934 h 9250612"/>
                <a:gd name="connsiteX10063" fmla="*/ 6924718 w 6942639"/>
                <a:gd name="connsiteY10063" fmla="*/ 1205972 h 9250612"/>
                <a:gd name="connsiteX10064" fmla="*/ 6933679 w 6942639"/>
                <a:gd name="connsiteY10064" fmla="*/ 1197009 h 9250612"/>
                <a:gd name="connsiteX10065" fmla="*/ 6763357 w 6942639"/>
                <a:gd name="connsiteY10065" fmla="*/ 1197009 h 9250612"/>
                <a:gd name="connsiteX10066" fmla="*/ 6772318 w 6942639"/>
                <a:gd name="connsiteY10066" fmla="*/ 1205972 h 9250612"/>
                <a:gd name="connsiteX10067" fmla="*/ 6763357 w 6942639"/>
                <a:gd name="connsiteY10067" fmla="*/ 1214934 h 9250612"/>
                <a:gd name="connsiteX10068" fmla="*/ 6754397 w 6942639"/>
                <a:gd name="connsiteY10068" fmla="*/ 1205972 h 9250612"/>
                <a:gd name="connsiteX10069" fmla="*/ 6763357 w 6942639"/>
                <a:gd name="connsiteY10069" fmla="*/ 1197009 h 9250612"/>
                <a:gd name="connsiteX10070" fmla="*/ 6593035 w 6942639"/>
                <a:gd name="connsiteY10070" fmla="*/ 1197009 h 9250612"/>
                <a:gd name="connsiteX10071" fmla="*/ 6601996 w 6942639"/>
                <a:gd name="connsiteY10071" fmla="*/ 1205972 h 9250612"/>
                <a:gd name="connsiteX10072" fmla="*/ 6593035 w 6942639"/>
                <a:gd name="connsiteY10072" fmla="*/ 1214934 h 9250612"/>
                <a:gd name="connsiteX10073" fmla="*/ 6584075 w 6942639"/>
                <a:gd name="connsiteY10073" fmla="*/ 1205972 h 9250612"/>
                <a:gd name="connsiteX10074" fmla="*/ 6593035 w 6942639"/>
                <a:gd name="connsiteY10074" fmla="*/ 1197009 h 9250612"/>
                <a:gd name="connsiteX10075" fmla="*/ 6424294 w 6942639"/>
                <a:gd name="connsiteY10075" fmla="*/ 1197009 h 9250612"/>
                <a:gd name="connsiteX10076" fmla="*/ 6433255 w 6942639"/>
                <a:gd name="connsiteY10076" fmla="*/ 1205972 h 9250612"/>
                <a:gd name="connsiteX10077" fmla="*/ 6424294 w 6942639"/>
                <a:gd name="connsiteY10077" fmla="*/ 1214936 h 9250612"/>
                <a:gd name="connsiteX10078" fmla="*/ 6415334 w 6942639"/>
                <a:gd name="connsiteY10078" fmla="*/ 1205972 h 9250612"/>
                <a:gd name="connsiteX10079" fmla="*/ 6424294 w 6942639"/>
                <a:gd name="connsiteY10079" fmla="*/ 1197009 h 9250612"/>
                <a:gd name="connsiteX10080" fmla="*/ 349790 w 6942639"/>
                <a:gd name="connsiteY10080" fmla="*/ 1025997 h 9250612"/>
                <a:gd name="connsiteX10081" fmla="*/ 358750 w 6942639"/>
                <a:gd name="connsiteY10081" fmla="*/ 1034959 h 9250612"/>
                <a:gd name="connsiteX10082" fmla="*/ 349790 w 6942639"/>
                <a:gd name="connsiteY10082" fmla="*/ 1043922 h 9250612"/>
                <a:gd name="connsiteX10083" fmla="*/ 340830 w 6942639"/>
                <a:gd name="connsiteY10083" fmla="*/ 1034959 h 9250612"/>
                <a:gd name="connsiteX10084" fmla="*/ 349790 w 6942639"/>
                <a:gd name="connsiteY10084" fmla="*/ 1025997 h 9250612"/>
                <a:gd name="connsiteX10085" fmla="*/ 1193525 w 6942639"/>
                <a:gd name="connsiteY10085" fmla="*/ 1025995 h 9250612"/>
                <a:gd name="connsiteX10086" fmla="*/ 1202485 w 6942639"/>
                <a:gd name="connsiteY10086" fmla="*/ 1034957 h 9250612"/>
                <a:gd name="connsiteX10087" fmla="*/ 1193525 w 6942639"/>
                <a:gd name="connsiteY10087" fmla="*/ 1043921 h 9250612"/>
                <a:gd name="connsiteX10088" fmla="*/ 1184568 w 6942639"/>
                <a:gd name="connsiteY10088" fmla="*/ 1034957 h 9250612"/>
                <a:gd name="connsiteX10089" fmla="*/ 1193525 w 6942639"/>
                <a:gd name="connsiteY10089" fmla="*/ 1025995 h 9250612"/>
                <a:gd name="connsiteX10090" fmla="*/ 1024767 w 6942639"/>
                <a:gd name="connsiteY10090" fmla="*/ 1025995 h 9250612"/>
                <a:gd name="connsiteX10091" fmla="*/ 1033735 w 6942639"/>
                <a:gd name="connsiteY10091" fmla="*/ 1034957 h 9250612"/>
                <a:gd name="connsiteX10092" fmla="*/ 1024767 w 6942639"/>
                <a:gd name="connsiteY10092" fmla="*/ 1043921 h 9250612"/>
                <a:gd name="connsiteX10093" fmla="*/ 1015806 w 6942639"/>
                <a:gd name="connsiteY10093" fmla="*/ 1034957 h 9250612"/>
                <a:gd name="connsiteX10094" fmla="*/ 1024767 w 6942639"/>
                <a:gd name="connsiteY10094" fmla="*/ 1025995 h 9250612"/>
                <a:gd name="connsiteX10095" fmla="*/ 856045 w 6942639"/>
                <a:gd name="connsiteY10095" fmla="*/ 1025995 h 9250612"/>
                <a:gd name="connsiteX10096" fmla="*/ 865005 w 6942639"/>
                <a:gd name="connsiteY10096" fmla="*/ 1034959 h 9250612"/>
                <a:gd name="connsiteX10097" fmla="*/ 856045 w 6942639"/>
                <a:gd name="connsiteY10097" fmla="*/ 1043921 h 9250612"/>
                <a:gd name="connsiteX10098" fmla="*/ 847085 w 6942639"/>
                <a:gd name="connsiteY10098" fmla="*/ 1034959 h 9250612"/>
                <a:gd name="connsiteX10099" fmla="*/ 856045 w 6942639"/>
                <a:gd name="connsiteY10099" fmla="*/ 1025995 h 9250612"/>
                <a:gd name="connsiteX10100" fmla="*/ 687307 w 6942639"/>
                <a:gd name="connsiteY10100" fmla="*/ 1025995 h 9250612"/>
                <a:gd name="connsiteX10101" fmla="*/ 696267 w 6942639"/>
                <a:gd name="connsiteY10101" fmla="*/ 1034959 h 9250612"/>
                <a:gd name="connsiteX10102" fmla="*/ 687307 w 6942639"/>
                <a:gd name="connsiteY10102" fmla="*/ 1043921 h 9250612"/>
                <a:gd name="connsiteX10103" fmla="*/ 678349 w 6942639"/>
                <a:gd name="connsiteY10103" fmla="*/ 1034959 h 9250612"/>
                <a:gd name="connsiteX10104" fmla="*/ 687307 w 6942639"/>
                <a:gd name="connsiteY10104" fmla="*/ 1025995 h 9250612"/>
                <a:gd name="connsiteX10105" fmla="*/ 518527 w 6942639"/>
                <a:gd name="connsiteY10105" fmla="*/ 1025995 h 9250612"/>
                <a:gd name="connsiteX10106" fmla="*/ 527487 w 6942639"/>
                <a:gd name="connsiteY10106" fmla="*/ 1034959 h 9250612"/>
                <a:gd name="connsiteX10107" fmla="*/ 518527 w 6942639"/>
                <a:gd name="connsiteY10107" fmla="*/ 1043922 h 9250612"/>
                <a:gd name="connsiteX10108" fmla="*/ 509566 w 6942639"/>
                <a:gd name="connsiteY10108" fmla="*/ 1034959 h 9250612"/>
                <a:gd name="connsiteX10109" fmla="*/ 518527 w 6942639"/>
                <a:gd name="connsiteY10109" fmla="*/ 1025995 h 9250612"/>
                <a:gd name="connsiteX10110" fmla="*/ 179473 w 6942639"/>
                <a:gd name="connsiteY10110" fmla="*/ 1025995 h 9250612"/>
                <a:gd name="connsiteX10111" fmla="*/ 188434 w 6942639"/>
                <a:gd name="connsiteY10111" fmla="*/ 1034959 h 9250612"/>
                <a:gd name="connsiteX10112" fmla="*/ 179473 w 6942639"/>
                <a:gd name="connsiteY10112" fmla="*/ 1043922 h 9250612"/>
                <a:gd name="connsiteX10113" fmla="*/ 170513 w 6942639"/>
                <a:gd name="connsiteY10113" fmla="*/ 1034959 h 9250612"/>
                <a:gd name="connsiteX10114" fmla="*/ 179473 w 6942639"/>
                <a:gd name="connsiteY10114" fmla="*/ 1025995 h 9250612"/>
                <a:gd name="connsiteX10115" fmla="*/ 9159 w 6942639"/>
                <a:gd name="connsiteY10115" fmla="*/ 1025995 h 9250612"/>
                <a:gd name="connsiteX10116" fmla="*/ 18117 w 6942639"/>
                <a:gd name="connsiteY10116" fmla="*/ 1034959 h 9250612"/>
                <a:gd name="connsiteX10117" fmla="*/ 9159 w 6942639"/>
                <a:gd name="connsiteY10117" fmla="*/ 1043922 h 9250612"/>
                <a:gd name="connsiteX10118" fmla="*/ 198 w 6942639"/>
                <a:gd name="connsiteY10118" fmla="*/ 1034959 h 9250612"/>
                <a:gd name="connsiteX10119" fmla="*/ 9159 w 6942639"/>
                <a:gd name="connsiteY10119" fmla="*/ 1025995 h 9250612"/>
                <a:gd name="connsiteX10120" fmla="*/ 2374651 w 6942639"/>
                <a:gd name="connsiteY10120" fmla="*/ 1025994 h 9250612"/>
                <a:gd name="connsiteX10121" fmla="*/ 2383671 w 6942639"/>
                <a:gd name="connsiteY10121" fmla="*/ 1034956 h 9250612"/>
                <a:gd name="connsiteX10122" fmla="*/ 2374651 w 6942639"/>
                <a:gd name="connsiteY10122" fmla="*/ 1043920 h 9250612"/>
                <a:gd name="connsiteX10123" fmla="*/ 2365688 w 6942639"/>
                <a:gd name="connsiteY10123" fmla="*/ 1034956 h 9250612"/>
                <a:gd name="connsiteX10124" fmla="*/ 2374651 w 6942639"/>
                <a:gd name="connsiteY10124" fmla="*/ 1025994 h 9250612"/>
                <a:gd name="connsiteX10125" fmla="*/ 2205959 w 6942639"/>
                <a:gd name="connsiteY10125" fmla="*/ 1025994 h 9250612"/>
                <a:gd name="connsiteX10126" fmla="*/ 2214915 w 6942639"/>
                <a:gd name="connsiteY10126" fmla="*/ 1034956 h 9250612"/>
                <a:gd name="connsiteX10127" fmla="*/ 2205959 w 6942639"/>
                <a:gd name="connsiteY10127" fmla="*/ 1043920 h 9250612"/>
                <a:gd name="connsiteX10128" fmla="*/ 2196960 w 6942639"/>
                <a:gd name="connsiteY10128" fmla="*/ 1034956 h 9250612"/>
                <a:gd name="connsiteX10129" fmla="*/ 2205959 w 6942639"/>
                <a:gd name="connsiteY10129" fmla="*/ 1025994 h 9250612"/>
                <a:gd name="connsiteX10130" fmla="*/ 2037217 w 6942639"/>
                <a:gd name="connsiteY10130" fmla="*/ 1025994 h 9250612"/>
                <a:gd name="connsiteX10131" fmla="*/ 2046155 w 6942639"/>
                <a:gd name="connsiteY10131" fmla="*/ 1034957 h 9250612"/>
                <a:gd name="connsiteX10132" fmla="*/ 2037217 w 6942639"/>
                <a:gd name="connsiteY10132" fmla="*/ 1043920 h 9250612"/>
                <a:gd name="connsiteX10133" fmla="*/ 2028283 w 6942639"/>
                <a:gd name="connsiteY10133" fmla="*/ 1034957 h 9250612"/>
                <a:gd name="connsiteX10134" fmla="*/ 2037217 w 6942639"/>
                <a:gd name="connsiteY10134" fmla="*/ 1025994 h 9250612"/>
                <a:gd name="connsiteX10135" fmla="*/ 1868520 w 6942639"/>
                <a:gd name="connsiteY10135" fmla="*/ 1025994 h 9250612"/>
                <a:gd name="connsiteX10136" fmla="*/ 1877462 w 6942639"/>
                <a:gd name="connsiteY10136" fmla="*/ 1034957 h 9250612"/>
                <a:gd name="connsiteX10137" fmla="*/ 1868520 w 6942639"/>
                <a:gd name="connsiteY10137" fmla="*/ 1043920 h 9250612"/>
                <a:gd name="connsiteX10138" fmla="*/ 1859539 w 6942639"/>
                <a:gd name="connsiteY10138" fmla="*/ 1034957 h 9250612"/>
                <a:gd name="connsiteX10139" fmla="*/ 1868520 w 6942639"/>
                <a:gd name="connsiteY10139" fmla="*/ 1025994 h 9250612"/>
                <a:gd name="connsiteX10140" fmla="*/ 1699763 w 6942639"/>
                <a:gd name="connsiteY10140" fmla="*/ 1025994 h 9250612"/>
                <a:gd name="connsiteX10141" fmla="*/ 1708735 w 6942639"/>
                <a:gd name="connsiteY10141" fmla="*/ 1034957 h 9250612"/>
                <a:gd name="connsiteX10142" fmla="*/ 1699763 w 6942639"/>
                <a:gd name="connsiteY10142" fmla="*/ 1043920 h 9250612"/>
                <a:gd name="connsiteX10143" fmla="*/ 1690793 w 6942639"/>
                <a:gd name="connsiteY10143" fmla="*/ 1034957 h 9250612"/>
                <a:gd name="connsiteX10144" fmla="*/ 1699763 w 6942639"/>
                <a:gd name="connsiteY10144" fmla="*/ 1025994 h 9250612"/>
                <a:gd name="connsiteX10145" fmla="*/ 1531022 w 6942639"/>
                <a:gd name="connsiteY10145" fmla="*/ 1025994 h 9250612"/>
                <a:gd name="connsiteX10146" fmla="*/ 1539984 w 6942639"/>
                <a:gd name="connsiteY10146" fmla="*/ 1034957 h 9250612"/>
                <a:gd name="connsiteX10147" fmla="*/ 1531022 w 6942639"/>
                <a:gd name="connsiteY10147" fmla="*/ 1043921 h 9250612"/>
                <a:gd name="connsiteX10148" fmla="*/ 1522059 w 6942639"/>
                <a:gd name="connsiteY10148" fmla="*/ 1034957 h 9250612"/>
                <a:gd name="connsiteX10149" fmla="*/ 1531022 w 6942639"/>
                <a:gd name="connsiteY10149" fmla="*/ 1025994 h 9250612"/>
                <a:gd name="connsiteX10150" fmla="*/ 1362267 w 6942639"/>
                <a:gd name="connsiteY10150" fmla="*/ 1025994 h 9250612"/>
                <a:gd name="connsiteX10151" fmla="*/ 1371229 w 6942639"/>
                <a:gd name="connsiteY10151" fmla="*/ 1034957 h 9250612"/>
                <a:gd name="connsiteX10152" fmla="*/ 1362267 w 6942639"/>
                <a:gd name="connsiteY10152" fmla="*/ 1043921 h 9250612"/>
                <a:gd name="connsiteX10153" fmla="*/ 1353306 w 6942639"/>
                <a:gd name="connsiteY10153" fmla="*/ 1034957 h 9250612"/>
                <a:gd name="connsiteX10154" fmla="*/ 1362267 w 6942639"/>
                <a:gd name="connsiteY10154" fmla="*/ 1025994 h 9250612"/>
                <a:gd name="connsiteX10155" fmla="*/ 3555688 w 6942639"/>
                <a:gd name="connsiteY10155" fmla="*/ 1025993 h 9250612"/>
                <a:gd name="connsiteX10156" fmla="*/ 3564649 w 6942639"/>
                <a:gd name="connsiteY10156" fmla="*/ 1034955 h 9250612"/>
                <a:gd name="connsiteX10157" fmla="*/ 3555688 w 6942639"/>
                <a:gd name="connsiteY10157" fmla="*/ 1043918 h 9250612"/>
                <a:gd name="connsiteX10158" fmla="*/ 3546728 w 6942639"/>
                <a:gd name="connsiteY10158" fmla="*/ 1034955 h 9250612"/>
                <a:gd name="connsiteX10159" fmla="*/ 3555688 w 6942639"/>
                <a:gd name="connsiteY10159" fmla="*/ 1025993 h 9250612"/>
                <a:gd name="connsiteX10160" fmla="*/ 3387070 w 6942639"/>
                <a:gd name="connsiteY10160" fmla="*/ 1025993 h 9250612"/>
                <a:gd name="connsiteX10161" fmla="*/ 3396052 w 6942639"/>
                <a:gd name="connsiteY10161" fmla="*/ 1034955 h 9250612"/>
                <a:gd name="connsiteX10162" fmla="*/ 3387070 w 6942639"/>
                <a:gd name="connsiteY10162" fmla="*/ 1043918 h 9250612"/>
                <a:gd name="connsiteX10163" fmla="*/ 3378059 w 6942639"/>
                <a:gd name="connsiteY10163" fmla="*/ 1034955 h 9250612"/>
                <a:gd name="connsiteX10164" fmla="*/ 3387070 w 6942639"/>
                <a:gd name="connsiteY10164" fmla="*/ 1025993 h 9250612"/>
                <a:gd name="connsiteX10165" fmla="*/ 3218317 w 6942639"/>
                <a:gd name="connsiteY10165" fmla="*/ 1025993 h 9250612"/>
                <a:gd name="connsiteX10166" fmla="*/ 3227293 w 6942639"/>
                <a:gd name="connsiteY10166" fmla="*/ 1034955 h 9250612"/>
                <a:gd name="connsiteX10167" fmla="*/ 3218317 w 6942639"/>
                <a:gd name="connsiteY10167" fmla="*/ 1043918 h 9250612"/>
                <a:gd name="connsiteX10168" fmla="*/ 3209347 w 6942639"/>
                <a:gd name="connsiteY10168" fmla="*/ 1034955 h 9250612"/>
                <a:gd name="connsiteX10169" fmla="*/ 3218317 w 6942639"/>
                <a:gd name="connsiteY10169" fmla="*/ 1025993 h 9250612"/>
                <a:gd name="connsiteX10170" fmla="*/ 3049624 w 6942639"/>
                <a:gd name="connsiteY10170" fmla="*/ 1025993 h 9250612"/>
                <a:gd name="connsiteX10171" fmla="*/ 3058581 w 6942639"/>
                <a:gd name="connsiteY10171" fmla="*/ 1034956 h 9250612"/>
                <a:gd name="connsiteX10172" fmla="*/ 3049624 w 6942639"/>
                <a:gd name="connsiteY10172" fmla="*/ 1043918 h 9250612"/>
                <a:gd name="connsiteX10173" fmla="*/ 3040654 w 6942639"/>
                <a:gd name="connsiteY10173" fmla="*/ 1034956 h 9250612"/>
                <a:gd name="connsiteX10174" fmla="*/ 3049624 w 6942639"/>
                <a:gd name="connsiteY10174" fmla="*/ 1025993 h 9250612"/>
                <a:gd name="connsiteX10175" fmla="*/ 2880909 w 6942639"/>
                <a:gd name="connsiteY10175" fmla="*/ 1025993 h 9250612"/>
                <a:gd name="connsiteX10176" fmla="*/ 2889864 w 6942639"/>
                <a:gd name="connsiteY10176" fmla="*/ 1034956 h 9250612"/>
                <a:gd name="connsiteX10177" fmla="*/ 2880909 w 6942639"/>
                <a:gd name="connsiteY10177" fmla="*/ 1043918 h 9250612"/>
                <a:gd name="connsiteX10178" fmla="*/ 2871952 w 6942639"/>
                <a:gd name="connsiteY10178" fmla="*/ 1034956 h 9250612"/>
                <a:gd name="connsiteX10179" fmla="*/ 2880909 w 6942639"/>
                <a:gd name="connsiteY10179" fmla="*/ 1025993 h 9250612"/>
                <a:gd name="connsiteX10180" fmla="*/ 2712132 w 6942639"/>
                <a:gd name="connsiteY10180" fmla="*/ 1025993 h 9250612"/>
                <a:gd name="connsiteX10181" fmla="*/ 2721113 w 6942639"/>
                <a:gd name="connsiteY10181" fmla="*/ 1034956 h 9250612"/>
                <a:gd name="connsiteX10182" fmla="*/ 2712132 w 6942639"/>
                <a:gd name="connsiteY10182" fmla="*/ 1043920 h 9250612"/>
                <a:gd name="connsiteX10183" fmla="*/ 2703180 w 6942639"/>
                <a:gd name="connsiteY10183" fmla="*/ 1034956 h 9250612"/>
                <a:gd name="connsiteX10184" fmla="*/ 2712132 w 6942639"/>
                <a:gd name="connsiteY10184" fmla="*/ 1025993 h 9250612"/>
                <a:gd name="connsiteX10185" fmla="*/ 2543463 w 6942639"/>
                <a:gd name="connsiteY10185" fmla="*/ 1025993 h 9250612"/>
                <a:gd name="connsiteX10186" fmla="*/ 2552428 w 6942639"/>
                <a:gd name="connsiteY10186" fmla="*/ 1034956 h 9250612"/>
                <a:gd name="connsiteX10187" fmla="*/ 2543463 w 6942639"/>
                <a:gd name="connsiteY10187" fmla="*/ 1043920 h 9250612"/>
                <a:gd name="connsiteX10188" fmla="*/ 2534487 w 6942639"/>
                <a:gd name="connsiteY10188" fmla="*/ 1034956 h 9250612"/>
                <a:gd name="connsiteX10189" fmla="*/ 2543463 w 6942639"/>
                <a:gd name="connsiteY10189" fmla="*/ 1025993 h 9250612"/>
                <a:gd name="connsiteX10190" fmla="*/ 4568137 w 6942639"/>
                <a:gd name="connsiteY10190" fmla="*/ 1025991 h 9250612"/>
                <a:gd name="connsiteX10191" fmla="*/ 4577098 w 6942639"/>
                <a:gd name="connsiteY10191" fmla="*/ 1034953 h 9250612"/>
                <a:gd name="connsiteX10192" fmla="*/ 4568137 w 6942639"/>
                <a:gd name="connsiteY10192" fmla="*/ 1043917 h 9250612"/>
                <a:gd name="connsiteX10193" fmla="*/ 4559177 w 6942639"/>
                <a:gd name="connsiteY10193" fmla="*/ 1034953 h 9250612"/>
                <a:gd name="connsiteX10194" fmla="*/ 4568137 w 6942639"/>
                <a:gd name="connsiteY10194" fmla="*/ 1025991 h 9250612"/>
                <a:gd name="connsiteX10195" fmla="*/ 4399396 w 6942639"/>
                <a:gd name="connsiteY10195" fmla="*/ 1025991 h 9250612"/>
                <a:gd name="connsiteX10196" fmla="*/ 4408357 w 6942639"/>
                <a:gd name="connsiteY10196" fmla="*/ 1034953 h 9250612"/>
                <a:gd name="connsiteX10197" fmla="*/ 4399396 w 6942639"/>
                <a:gd name="connsiteY10197" fmla="*/ 1043917 h 9250612"/>
                <a:gd name="connsiteX10198" fmla="*/ 4390436 w 6942639"/>
                <a:gd name="connsiteY10198" fmla="*/ 1034953 h 9250612"/>
                <a:gd name="connsiteX10199" fmla="*/ 4399396 w 6942639"/>
                <a:gd name="connsiteY10199" fmla="*/ 1025991 h 9250612"/>
                <a:gd name="connsiteX10200" fmla="*/ 4230654 w 6942639"/>
                <a:gd name="connsiteY10200" fmla="*/ 1025991 h 9250612"/>
                <a:gd name="connsiteX10201" fmla="*/ 4239615 w 6942639"/>
                <a:gd name="connsiteY10201" fmla="*/ 1034955 h 9250612"/>
                <a:gd name="connsiteX10202" fmla="*/ 4230654 w 6942639"/>
                <a:gd name="connsiteY10202" fmla="*/ 1043917 h 9250612"/>
                <a:gd name="connsiteX10203" fmla="*/ 4221694 w 6942639"/>
                <a:gd name="connsiteY10203" fmla="*/ 1034955 h 9250612"/>
                <a:gd name="connsiteX10204" fmla="*/ 4230654 w 6942639"/>
                <a:gd name="connsiteY10204" fmla="*/ 1025991 h 9250612"/>
                <a:gd name="connsiteX10205" fmla="*/ 4061912 w 6942639"/>
                <a:gd name="connsiteY10205" fmla="*/ 1025991 h 9250612"/>
                <a:gd name="connsiteX10206" fmla="*/ 4070873 w 6942639"/>
                <a:gd name="connsiteY10206" fmla="*/ 1034955 h 9250612"/>
                <a:gd name="connsiteX10207" fmla="*/ 4061912 w 6942639"/>
                <a:gd name="connsiteY10207" fmla="*/ 1043917 h 9250612"/>
                <a:gd name="connsiteX10208" fmla="*/ 4052952 w 6942639"/>
                <a:gd name="connsiteY10208" fmla="*/ 1034955 h 9250612"/>
                <a:gd name="connsiteX10209" fmla="*/ 4061912 w 6942639"/>
                <a:gd name="connsiteY10209" fmla="*/ 1025991 h 9250612"/>
                <a:gd name="connsiteX10210" fmla="*/ 3893170 w 6942639"/>
                <a:gd name="connsiteY10210" fmla="*/ 1025991 h 9250612"/>
                <a:gd name="connsiteX10211" fmla="*/ 3902131 w 6942639"/>
                <a:gd name="connsiteY10211" fmla="*/ 1034955 h 9250612"/>
                <a:gd name="connsiteX10212" fmla="*/ 3893170 w 6942639"/>
                <a:gd name="connsiteY10212" fmla="*/ 1043918 h 9250612"/>
                <a:gd name="connsiteX10213" fmla="*/ 3884210 w 6942639"/>
                <a:gd name="connsiteY10213" fmla="*/ 1034955 h 9250612"/>
                <a:gd name="connsiteX10214" fmla="*/ 3893170 w 6942639"/>
                <a:gd name="connsiteY10214" fmla="*/ 1025991 h 9250612"/>
                <a:gd name="connsiteX10215" fmla="*/ 3724429 w 6942639"/>
                <a:gd name="connsiteY10215" fmla="*/ 1025991 h 9250612"/>
                <a:gd name="connsiteX10216" fmla="*/ 3733390 w 6942639"/>
                <a:gd name="connsiteY10216" fmla="*/ 1034955 h 9250612"/>
                <a:gd name="connsiteX10217" fmla="*/ 3724429 w 6942639"/>
                <a:gd name="connsiteY10217" fmla="*/ 1043918 h 9250612"/>
                <a:gd name="connsiteX10218" fmla="*/ 3715469 w 6942639"/>
                <a:gd name="connsiteY10218" fmla="*/ 1034955 h 9250612"/>
                <a:gd name="connsiteX10219" fmla="*/ 3724429 w 6942639"/>
                <a:gd name="connsiteY10219" fmla="*/ 1025991 h 9250612"/>
                <a:gd name="connsiteX10220" fmla="*/ 5749328 w 6942639"/>
                <a:gd name="connsiteY10220" fmla="*/ 1025990 h 9250612"/>
                <a:gd name="connsiteX10221" fmla="*/ 5758289 w 6942639"/>
                <a:gd name="connsiteY10221" fmla="*/ 1034952 h 9250612"/>
                <a:gd name="connsiteX10222" fmla="*/ 5749328 w 6942639"/>
                <a:gd name="connsiteY10222" fmla="*/ 1043915 h 9250612"/>
                <a:gd name="connsiteX10223" fmla="*/ 5740368 w 6942639"/>
                <a:gd name="connsiteY10223" fmla="*/ 1034952 h 9250612"/>
                <a:gd name="connsiteX10224" fmla="*/ 5749328 w 6942639"/>
                <a:gd name="connsiteY10224" fmla="*/ 1025990 h 9250612"/>
                <a:gd name="connsiteX10225" fmla="*/ 5580586 w 6942639"/>
                <a:gd name="connsiteY10225" fmla="*/ 1025990 h 9250612"/>
                <a:gd name="connsiteX10226" fmla="*/ 5589547 w 6942639"/>
                <a:gd name="connsiteY10226" fmla="*/ 1034952 h 9250612"/>
                <a:gd name="connsiteX10227" fmla="*/ 5580586 w 6942639"/>
                <a:gd name="connsiteY10227" fmla="*/ 1043915 h 9250612"/>
                <a:gd name="connsiteX10228" fmla="*/ 5571626 w 6942639"/>
                <a:gd name="connsiteY10228" fmla="*/ 1034952 h 9250612"/>
                <a:gd name="connsiteX10229" fmla="*/ 5580586 w 6942639"/>
                <a:gd name="connsiteY10229" fmla="*/ 1025990 h 9250612"/>
                <a:gd name="connsiteX10230" fmla="*/ 5411845 w 6942639"/>
                <a:gd name="connsiteY10230" fmla="*/ 1025990 h 9250612"/>
                <a:gd name="connsiteX10231" fmla="*/ 5420806 w 6942639"/>
                <a:gd name="connsiteY10231" fmla="*/ 1034953 h 9250612"/>
                <a:gd name="connsiteX10232" fmla="*/ 5411845 w 6942639"/>
                <a:gd name="connsiteY10232" fmla="*/ 1043915 h 9250612"/>
                <a:gd name="connsiteX10233" fmla="*/ 5402885 w 6942639"/>
                <a:gd name="connsiteY10233" fmla="*/ 1034953 h 9250612"/>
                <a:gd name="connsiteX10234" fmla="*/ 5411845 w 6942639"/>
                <a:gd name="connsiteY10234" fmla="*/ 1025990 h 9250612"/>
                <a:gd name="connsiteX10235" fmla="*/ 5243103 w 6942639"/>
                <a:gd name="connsiteY10235" fmla="*/ 1025990 h 9250612"/>
                <a:gd name="connsiteX10236" fmla="*/ 5252064 w 6942639"/>
                <a:gd name="connsiteY10236" fmla="*/ 1034953 h 9250612"/>
                <a:gd name="connsiteX10237" fmla="*/ 5243103 w 6942639"/>
                <a:gd name="connsiteY10237" fmla="*/ 1043915 h 9250612"/>
                <a:gd name="connsiteX10238" fmla="*/ 5234143 w 6942639"/>
                <a:gd name="connsiteY10238" fmla="*/ 1034953 h 9250612"/>
                <a:gd name="connsiteX10239" fmla="*/ 5243103 w 6942639"/>
                <a:gd name="connsiteY10239" fmla="*/ 1025990 h 9250612"/>
                <a:gd name="connsiteX10240" fmla="*/ 5074362 w 6942639"/>
                <a:gd name="connsiteY10240" fmla="*/ 1025990 h 9250612"/>
                <a:gd name="connsiteX10241" fmla="*/ 5083323 w 6942639"/>
                <a:gd name="connsiteY10241" fmla="*/ 1034953 h 9250612"/>
                <a:gd name="connsiteX10242" fmla="*/ 5074362 w 6942639"/>
                <a:gd name="connsiteY10242" fmla="*/ 1043915 h 9250612"/>
                <a:gd name="connsiteX10243" fmla="*/ 5065402 w 6942639"/>
                <a:gd name="connsiteY10243" fmla="*/ 1034953 h 9250612"/>
                <a:gd name="connsiteX10244" fmla="*/ 5074362 w 6942639"/>
                <a:gd name="connsiteY10244" fmla="*/ 1025990 h 9250612"/>
                <a:gd name="connsiteX10245" fmla="*/ 4905620 w 6942639"/>
                <a:gd name="connsiteY10245" fmla="*/ 1025990 h 9250612"/>
                <a:gd name="connsiteX10246" fmla="*/ 4914581 w 6942639"/>
                <a:gd name="connsiteY10246" fmla="*/ 1034953 h 9250612"/>
                <a:gd name="connsiteX10247" fmla="*/ 4905620 w 6942639"/>
                <a:gd name="connsiteY10247" fmla="*/ 1043917 h 9250612"/>
                <a:gd name="connsiteX10248" fmla="*/ 4896660 w 6942639"/>
                <a:gd name="connsiteY10248" fmla="*/ 1034953 h 9250612"/>
                <a:gd name="connsiteX10249" fmla="*/ 4905620 w 6942639"/>
                <a:gd name="connsiteY10249" fmla="*/ 1025990 h 9250612"/>
                <a:gd name="connsiteX10250" fmla="*/ 4736878 w 6942639"/>
                <a:gd name="connsiteY10250" fmla="*/ 1025990 h 9250612"/>
                <a:gd name="connsiteX10251" fmla="*/ 4745839 w 6942639"/>
                <a:gd name="connsiteY10251" fmla="*/ 1034953 h 9250612"/>
                <a:gd name="connsiteX10252" fmla="*/ 4736878 w 6942639"/>
                <a:gd name="connsiteY10252" fmla="*/ 1043917 h 9250612"/>
                <a:gd name="connsiteX10253" fmla="*/ 4727918 w 6942639"/>
                <a:gd name="connsiteY10253" fmla="*/ 1034953 h 9250612"/>
                <a:gd name="connsiteX10254" fmla="*/ 4736878 w 6942639"/>
                <a:gd name="connsiteY10254" fmla="*/ 1025990 h 9250612"/>
                <a:gd name="connsiteX10255" fmla="*/ 6933679 w 6942639"/>
                <a:gd name="connsiteY10255" fmla="*/ 1025988 h 9250612"/>
                <a:gd name="connsiteX10256" fmla="*/ 6942639 w 6942639"/>
                <a:gd name="connsiteY10256" fmla="*/ 1034951 h 9250612"/>
                <a:gd name="connsiteX10257" fmla="*/ 6933679 w 6942639"/>
                <a:gd name="connsiteY10257" fmla="*/ 1043914 h 9250612"/>
                <a:gd name="connsiteX10258" fmla="*/ 6924718 w 6942639"/>
                <a:gd name="connsiteY10258" fmla="*/ 1034951 h 9250612"/>
                <a:gd name="connsiteX10259" fmla="*/ 6933679 w 6942639"/>
                <a:gd name="connsiteY10259" fmla="*/ 1025988 h 9250612"/>
                <a:gd name="connsiteX10260" fmla="*/ 6763357 w 6942639"/>
                <a:gd name="connsiteY10260" fmla="*/ 1025988 h 9250612"/>
                <a:gd name="connsiteX10261" fmla="*/ 6772318 w 6942639"/>
                <a:gd name="connsiteY10261" fmla="*/ 1034951 h 9250612"/>
                <a:gd name="connsiteX10262" fmla="*/ 6763357 w 6942639"/>
                <a:gd name="connsiteY10262" fmla="*/ 1043914 h 9250612"/>
                <a:gd name="connsiteX10263" fmla="*/ 6754397 w 6942639"/>
                <a:gd name="connsiteY10263" fmla="*/ 1034951 h 9250612"/>
                <a:gd name="connsiteX10264" fmla="*/ 6763357 w 6942639"/>
                <a:gd name="connsiteY10264" fmla="*/ 1025988 h 9250612"/>
                <a:gd name="connsiteX10265" fmla="*/ 6593035 w 6942639"/>
                <a:gd name="connsiteY10265" fmla="*/ 1025988 h 9250612"/>
                <a:gd name="connsiteX10266" fmla="*/ 6601996 w 6942639"/>
                <a:gd name="connsiteY10266" fmla="*/ 1034951 h 9250612"/>
                <a:gd name="connsiteX10267" fmla="*/ 6593035 w 6942639"/>
                <a:gd name="connsiteY10267" fmla="*/ 1043914 h 9250612"/>
                <a:gd name="connsiteX10268" fmla="*/ 6584075 w 6942639"/>
                <a:gd name="connsiteY10268" fmla="*/ 1034951 h 9250612"/>
                <a:gd name="connsiteX10269" fmla="*/ 6593035 w 6942639"/>
                <a:gd name="connsiteY10269" fmla="*/ 1025988 h 9250612"/>
                <a:gd name="connsiteX10270" fmla="*/ 6424294 w 6942639"/>
                <a:gd name="connsiteY10270" fmla="*/ 1025988 h 9250612"/>
                <a:gd name="connsiteX10271" fmla="*/ 6433255 w 6942639"/>
                <a:gd name="connsiteY10271" fmla="*/ 1034952 h 9250612"/>
                <a:gd name="connsiteX10272" fmla="*/ 6424294 w 6942639"/>
                <a:gd name="connsiteY10272" fmla="*/ 1043914 h 9250612"/>
                <a:gd name="connsiteX10273" fmla="*/ 6415334 w 6942639"/>
                <a:gd name="connsiteY10273" fmla="*/ 1034952 h 9250612"/>
                <a:gd name="connsiteX10274" fmla="*/ 6424294 w 6942639"/>
                <a:gd name="connsiteY10274" fmla="*/ 1025988 h 9250612"/>
                <a:gd name="connsiteX10275" fmla="*/ 6255553 w 6942639"/>
                <a:gd name="connsiteY10275" fmla="*/ 1025988 h 9250612"/>
                <a:gd name="connsiteX10276" fmla="*/ 6264514 w 6942639"/>
                <a:gd name="connsiteY10276" fmla="*/ 1034952 h 9250612"/>
                <a:gd name="connsiteX10277" fmla="*/ 6255553 w 6942639"/>
                <a:gd name="connsiteY10277" fmla="*/ 1043914 h 9250612"/>
                <a:gd name="connsiteX10278" fmla="*/ 6246593 w 6942639"/>
                <a:gd name="connsiteY10278" fmla="*/ 1034952 h 9250612"/>
                <a:gd name="connsiteX10279" fmla="*/ 6255553 w 6942639"/>
                <a:gd name="connsiteY10279" fmla="*/ 1025988 h 9250612"/>
                <a:gd name="connsiteX10280" fmla="*/ 6086811 w 6942639"/>
                <a:gd name="connsiteY10280" fmla="*/ 1025988 h 9250612"/>
                <a:gd name="connsiteX10281" fmla="*/ 6095772 w 6942639"/>
                <a:gd name="connsiteY10281" fmla="*/ 1034952 h 9250612"/>
                <a:gd name="connsiteX10282" fmla="*/ 6086811 w 6942639"/>
                <a:gd name="connsiteY10282" fmla="*/ 1043915 h 9250612"/>
                <a:gd name="connsiteX10283" fmla="*/ 6077851 w 6942639"/>
                <a:gd name="connsiteY10283" fmla="*/ 1034952 h 9250612"/>
                <a:gd name="connsiteX10284" fmla="*/ 6086811 w 6942639"/>
                <a:gd name="connsiteY10284" fmla="*/ 1025988 h 9250612"/>
                <a:gd name="connsiteX10285" fmla="*/ 5918069 w 6942639"/>
                <a:gd name="connsiteY10285" fmla="*/ 1025988 h 9250612"/>
                <a:gd name="connsiteX10286" fmla="*/ 5927030 w 6942639"/>
                <a:gd name="connsiteY10286" fmla="*/ 1034952 h 9250612"/>
                <a:gd name="connsiteX10287" fmla="*/ 5918069 w 6942639"/>
                <a:gd name="connsiteY10287" fmla="*/ 1043915 h 9250612"/>
                <a:gd name="connsiteX10288" fmla="*/ 5909109 w 6942639"/>
                <a:gd name="connsiteY10288" fmla="*/ 1034952 h 9250612"/>
                <a:gd name="connsiteX10289" fmla="*/ 5918069 w 6942639"/>
                <a:gd name="connsiteY10289" fmla="*/ 1025988 h 9250612"/>
                <a:gd name="connsiteX10290" fmla="*/ 687312 w 6942639"/>
                <a:gd name="connsiteY10290" fmla="*/ 854972 h 9250612"/>
                <a:gd name="connsiteX10291" fmla="*/ 696272 w 6942639"/>
                <a:gd name="connsiteY10291" fmla="*/ 863935 h 9250612"/>
                <a:gd name="connsiteX10292" fmla="*/ 687312 w 6942639"/>
                <a:gd name="connsiteY10292" fmla="*/ 872898 h 9250612"/>
                <a:gd name="connsiteX10293" fmla="*/ 678354 w 6942639"/>
                <a:gd name="connsiteY10293" fmla="*/ 863935 h 9250612"/>
                <a:gd name="connsiteX10294" fmla="*/ 687312 w 6942639"/>
                <a:gd name="connsiteY10294" fmla="*/ 854972 h 9250612"/>
                <a:gd name="connsiteX10295" fmla="*/ 518530 w 6942639"/>
                <a:gd name="connsiteY10295" fmla="*/ 854972 h 9250612"/>
                <a:gd name="connsiteX10296" fmla="*/ 527491 w 6942639"/>
                <a:gd name="connsiteY10296" fmla="*/ 863935 h 9250612"/>
                <a:gd name="connsiteX10297" fmla="*/ 518530 w 6942639"/>
                <a:gd name="connsiteY10297" fmla="*/ 872898 h 9250612"/>
                <a:gd name="connsiteX10298" fmla="*/ 509570 w 6942639"/>
                <a:gd name="connsiteY10298" fmla="*/ 863935 h 9250612"/>
                <a:gd name="connsiteX10299" fmla="*/ 518530 w 6942639"/>
                <a:gd name="connsiteY10299" fmla="*/ 854972 h 9250612"/>
                <a:gd name="connsiteX10300" fmla="*/ 349793 w 6942639"/>
                <a:gd name="connsiteY10300" fmla="*/ 854972 h 9250612"/>
                <a:gd name="connsiteX10301" fmla="*/ 358754 w 6942639"/>
                <a:gd name="connsiteY10301" fmla="*/ 863936 h 9250612"/>
                <a:gd name="connsiteX10302" fmla="*/ 349793 w 6942639"/>
                <a:gd name="connsiteY10302" fmla="*/ 872898 h 9250612"/>
                <a:gd name="connsiteX10303" fmla="*/ 340834 w 6942639"/>
                <a:gd name="connsiteY10303" fmla="*/ 863936 h 9250612"/>
                <a:gd name="connsiteX10304" fmla="*/ 349793 w 6942639"/>
                <a:gd name="connsiteY10304" fmla="*/ 854972 h 9250612"/>
                <a:gd name="connsiteX10305" fmla="*/ 179477 w 6942639"/>
                <a:gd name="connsiteY10305" fmla="*/ 854972 h 9250612"/>
                <a:gd name="connsiteX10306" fmla="*/ 188438 w 6942639"/>
                <a:gd name="connsiteY10306" fmla="*/ 863936 h 9250612"/>
                <a:gd name="connsiteX10307" fmla="*/ 179477 w 6942639"/>
                <a:gd name="connsiteY10307" fmla="*/ 872898 h 9250612"/>
                <a:gd name="connsiteX10308" fmla="*/ 170517 w 6942639"/>
                <a:gd name="connsiteY10308" fmla="*/ 863936 h 9250612"/>
                <a:gd name="connsiteX10309" fmla="*/ 179477 w 6942639"/>
                <a:gd name="connsiteY10309" fmla="*/ 854972 h 9250612"/>
                <a:gd name="connsiteX10310" fmla="*/ 9163 w 6942639"/>
                <a:gd name="connsiteY10310" fmla="*/ 854972 h 9250612"/>
                <a:gd name="connsiteX10311" fmla="*/ 18122 w 6942639"/>
                <a:gd name="connsiteY10311" fmla="*/ 863936 h 9250612"/>
                <a:gd name="connsiteX10312" fmla="*/ 9163 w 6942639"/>
                <a:gd name="connsiteY10312" fmla="*/ 872898 h 9250612"/>
                <a:gd name="connsiteX10313" fmla="*/ 203 w 6942639"/>
                <a:gd name="connsiteY10313" fmla="*/ 863936 h 9250612"/>
                <a:gd name="connsiteX10314" fmla="*/ 9163 w 6942639"/>
                <a:gd name="connsiteY10314" fmla="*/ 854972 h 9250612"/>
                <a:gd name="connsiteX10315" fmla="*/ 1868524 w 6942639"/>
                <a:gd name="connsiteY10315" fmla="*/ 854971 h 9250612"/>
                <a:gd name="connsiteX10316" fmla="*/ 1877467 w 6942639"/>
                <a:gd name="connsiteY10316" fmla="*/ 863933 h 9250612"/>
                <a:gd name="connsiteX10317" fmla="*/ 1868524 w 6942639"/>
                <a:gd name="connsiteY10317" fmla="*/ 872897 h 9250612"/>
                <a:gd name="connsiteX10318" fmla="*/ 1859543 w 6942639"/>
                <a:gd name="connsiteY10318" fmla="*/ 863933 h 9250612"/>
                <a:gd name="connsiteX10319" fmla="*/ 1868524 w 6942639"/>
                <a:gd name="connsiteY10319" fmla="*/ 854971 h 9250612"/>
                <a:gd name="connsiteX10320" fmla="*/ 1699768 w 6942639"/>
                <a:gd name="connsiteY10320" fmla="*/ 854971 h 9250612"/>
                <a:gd name="connsiteX10321" fmla="*/ 1708740 w 6942639"/>
                <a:gd name="connsiteY10321" fmla="*/ 863933 h 9250612"/>
                <a:gd name="connsiteX10322" fmla="*/ 1699768 w 6942639"/>
                <a:gd name="connsiteY10322" fmla="*/ 872897 h 9250612"/>
                <a:gd name="connsiteX10323" fmla="*/ 1690797 w 6942639"/>
                <a:gd name="connsiteY10323" fmla="*/ 863933 h 9250612"/>
                <a:gd name="connsiteX10324" fmla="*/ 1699768 w 6942639"/>
                <a:gd name="connsiteY10324" fmla="*/ 854971 h 9250612"/>
                <a:gd name="connsiteX10325" fmla="*/ 1531027 w 6942639"/>
                <a:gd name="connsiteY10325" fmla="*/ 854971 h 9250612"/>
                <a:gd name="connsiteX10326" fmla="*/ 1539989 w 6942639"/>
                <a:gd name="connsiteY10326" fmla="*/ 863935 h 9250612"/>
                <a:gd name="connsiteX10327" fmla="*/ 1531027 w 6942639"/>
                <a:gd name="connsiteY10327" fmla="*/ 872897 h 9250612"/>
                <a:gd name="connsiteX10328" fmla="*/ 1522064 w 6942639"/>
                <a:gd name="connsiteY10328" fmla="*/ 863935 h 9250612"/>
                <a:gd name="connsiteX10329" fmla="*/ 1531027 w 6942639"/>
                <a:gd name="connsiteY10329" fmla="*/ 854971 h 9250612"/>
                <a:gd name="connsiteX10330" fmla="*/ 1362271 w 6942639"/>
                <a:gd name="connsiteY10330" fmla="*/ 854971 h 9250612"/>
                <a:gd name="connsiteX10331" fmla="*/ 1371234 w 6942639"/>
                <a:gd name="connsiteY10331" fmla="*/ 863935 h 9250612"/>
                <a:gd name="connsiteX10332" fmla="*/ 1362271 w 6942639"/>
                <a:gd name="connsiteY10332" fmla="*/ 872897 h 9250612"/>
                <a:gd name="connsiteX10333" fmla="*/ 1353310 w 6942639"/>
                <a:gd name="connsiteY10333" fmla="*/ 863935 h 9250612"/>
                <a:gd name="connsiteX10334" fmla="*/ 1362271 w 6942639"/>
                <a:gd name="connsiteY10334" fmla="*/ 854971 h 9250612"/>
                <a:gd name="connsiteX10335" fmla="*/ 1193529 w 6942639"/>
                <a:gd name="connsiteY10335" fmla="*/ 854971 h 9250612"/>
                <a:gd name="connsiteX10336" fmla="*/ 1202489 w 6942639"/>
                <a:gd name="connsiteY10336" fmla="*/ 863935 h 9250612"/>
                <a:gd name="connsiteX10337" fmla="*/ 1193529 w 6942639"/>
                <a:gd name="connsiteY10337" fmla="*/ 872898 h 9250612"/>
                <a:gd name="connsiteX10338" fmla="*/ 1184572 w 6942639"/>
                <a:gd name="connsiteY10338" fmla="*/ 863935 h 9250612"/>
                <a:gd name="connsiteX10339" fmla="*/ 1193529 w 6942639"/>
                <a:gd name="connsiteY10339" fmla="*/ 854971 h 9250612"/>
                <a:gd name="connsiteX10340" fmla="*/ 1024771 w 6942639"/>
                <a:gd name="connsiteY10340" fmla="*/ 854971 h 9250612"/>
                <a:gd name="connsiteX10341" fmla="*/ 1033739 w 6942639"/>
                <a:gd name="connsiteY10341" fmla="*/ 863935 h 9250612"/>
                <a:gd name="connsiteX10342" fmla="*/ 1024771 w 6942639"/>
                <a:gd name="connsiteY10342" fmla="*/ 872898 h 9250612"/>
                <a:gd name="connsiteX10343" fmla="*/ 1015811 w 6942639"/>
                <a:gd name="connsiteY10343" fmla="*/ 863935 h 9250612"/>
                <a:gd name="connsiteX10344" fmla="*/ 1024771 w 6942639"/>
                <a:gd name="connsiteY10344" fmla="*/ 854971 h 9250612"/>
                <a:gd name="connsiteX10345" fmla="*/ 856050 w 6942639"/>
                <a:gd name="connsiteY10345" fmla="*/ 854971 h 9250612"/>
                <a:gd name="connsiteX10346" fmla="*/ 865010 w 6942639"/>
                <a:gd name="connsiteY10346" fmla="*/ 863935 h 9250612"/>
                <a:gd name="connsiteX10347" fmla="*/ 856050 w 6942639"/>
                <a:gd name="connsiteY10347" fmla="*/ 872898 h 9250612"/>
                <a:gd name="connsiteX10348" fmla="*/ 847090 w 6942639"/>
                <a:gd name="connsiteY10348" fmla="*/ 863935 h 9250612"/>
                <a:gd name="connsiteX10349" fmla="*/ 856050 w 6942639"/>
                <a:gd name="connsiteY10349" fmla="*/ 854971 h 9250612"/>
                <a:gd name="connsiteX10350" fmla="*/ 3218320 w 6942639"/>
                <a:gd name="connsiteY10350" fmla="*/ 854970 h 9250612"/>
                <a:gd name="connsiteX10351" fmla="*/ 3227296 w 6942639"/>
                <a:gd name="connsiteY10351" fmla="*/ 863932 h 9250612"/>
                <a:gd name="connsiteX10352" fmla="*/ 3218320 w 6942639"/>
                <a:gd name="connsiteY10352" fmla="*/ 872895 h 9250612"/>
                <a:gd name="connsiteX10353" fmla="*/ 3209350 w 6942639"/>
                <a:gd name="connsiteY10353" fmla="*/ 863932 h 9250612"/>
                <a:gd name="connsiteX10354" fmla="*/ 3218320 w 6942639"/>
                <a:gd name="connsiteY10354" fmla="*/ 854970 h 9250612"/>
                <a:gd name="connsiteX10355" fmla="*/ 3049627 w 6942639"/>
                <a:gd name="connsiteY10355" fmla="*/ 854970 h 9250612"/>
                <a:gd name="connsiteX10356" fmla="*/ 3058584 w 6942639"/>
                <a:gd name="connsiteY10356" fmla="*/ 863932 h 9250612"/>
                <a:gd name="connsiteX10357" fmla="*/ 3049627 w 6942639"/>
                <a:gd name="connsiteY10357" fmla="*/ 872895 h 9250612"/>
                <a:gd name="connsiteX10358" fmla="*/ 3040657 w 6942639"/>
                <a:gd name="connsiteY10358" fmla="*/ 863932 h 9250612"/>
                <a:gd name="connsiteX10359" fmla="*/ 3049627 w 6942639"/>
                <a:gd name="connsiteY10359" fmla="*/ 854970 h 9250612"/>
                <a:gd name="connsiteX10360" fmla="*/ 2880913 w 6942639"/>
                <a:gd name="connsiteY10360" fmla="*/ 854970 h 9250612"/>
                <a:gd name="connsiteX10361" fmla="*/ 2889868 w 6942639"/>
                <a:gd name="connsiteY10361" fmla="*/ 863933 h 9250612"/>
                <a:gd name="connsiteX10362" fmla="*/ 2880913 w 6942639"/>
                <a:gd name="connsiteY10362" fmla="*/ 872895 h 9250612"/>
                <a:gd name="connsiteX10363" fmla="*/ 2871956 w 6942639"/>
                <a:gd name="connsiteY10363" fmla="*/ 863933 h 9250612"/>
                <a:gd name="connsiteX10364" fmla="*/ 2880913 w 6942639"/>
                <a:gd name="connsiteY10364" fmla="*/ 854970 h 9250612"/>
                <a:gd name="connsiteX10365" fmla="*/ 2712135 w 6942639"/>
                <a:gd name="connsiteY10365" fmla="*/ 854970 h 9250612"/>
                <a:gd name="connsiteX10366" fmla="*/ 2721116 w 6942639"/>
                <a:gd name="connsiteY10366" fmla="*/ 863933 h 9250612"/>
                <a:gd name="connsiteX10367" fmla="*/ 2712135 w 6942639"/>
                <a:gd name="connsiteY10367" fmla="*/ 872895 h 9250612"/>
                <a:gd name="connsiteX10368" fmla="*/ 2703184 w 6942639"/>
                <a:gd name="connsiteY10368" fmla="*/ 863933 h 9250612"/>
                <a:gd name="connsiteX10369" fmla="*/ 2712135 w 6942639"/>
                <a:gd name="connsiteY10369" fmla="*/ 854970 h 9250612"/>
                <a:gd name="connsiteX10370" fmla="*/ 2543468 w 6942639"/>
                <a:gd name="connsiteY10370" fmla="*/ 854970 h 9250612"/>
                <a:gd name="connsiteX10371" fmla="*/ 2552432 w 6942639"/>
                <a:gd name="connsiteY10371" fmla="*/ 863933 h 9250612"/>
                <a:gd name="connsiteX10372" fmla="*/ 2543468 w 6942639"/>
                <a:gd name="connsiteY10372" fmla="*/ 872897 h 9250612"/>
                <a:gd name="connsiteX10373" fmla="*/ 2534492 w 6942639"/>
                <a:gd name="connsiteY10373" fmla="*/ 863933 h 9250612"/>
                <a:gd name="connsiteX10374" fmla="*/ 2543468 w 6942639"/>
                <a:gd name="connsiteY10374" fmla="*/ 854970 h 9250612"/>
                <a:gd name="connsiteX10375" fmla="*/ 2374654 w 6942639"/>
                <a:gd name="connsiteY10375" fmla="*/ 854970 h 9250612"/>
                <a:gd name="connsiteX10376" fmla="*/ 2383676 w 6942639"/>
                <a:gd name="connsiteY10376" fmla="*/ 863933 h 9250612"/>
                <a:gd name="connsiteX10377" fmla="*/ 2374654 w 6942639"/>
                <a:gd name="connsiteY10377" fmla="*/ 872897 h 9250612"/>
                <a:gd name="connsiteX10378" fmla="*/ 2365691 w 6942639"/>
                <a:gd name="connsiteY10378" fmla="*/ 863933 h 9250612"/>
                <a:gd name="connsiteX10379" fmla="*/ 2374654 w 6942639"/>
                <a:gd name="connsiteY10379" fmla="*/ 854970 h 9250612"/>
                <a:gd name="connsiteX10380" fmla="*/ 2205964 w 6942639"/>
                <a:gd name="connsiteY10380" fmla="*/ 854970 h 9250612"/>
                <a:gd name="connsiteX10381" fmla="*/ 2214919 w 6942639"/>
                <a:gd name="connsiteY10381" fmla="*/ 863933 h 9250612"/>
                <a:gd name="connsiteX10382" fmla="*/ 2205964 w 6942639"/>
                <a:gd name="connsiteY10382" fmla="*/ 872897 h 9250612"/>
                <a:gd name="connsiteX10383" fmla="*/ 2196964 w 6942639"/>
                <a:gd name="connsiteY10383" fmla="*/ 863933 h 9250612"/>
                <a:gd name="connsiteX10384" fmla="*/ 2205964 w 6942639"/>
                <a:gd name="connsiteY10384" fmla="*/ 854970 h 9250612"/>
                <a:gd name="connsiteX10385" fmla="*/ 2037223 w 6942639"/>
                <a:gd name="connsiteY10385" fmla="*/ 854970 h 9250612"/>
                <a:gd name="connsiteX10386" fmla="*/ 2046158 w 6942639"/>
                <a:gd name="connsiteY10386" fmla="*/ 863933 h 9250612"/>
                <a:gd name="connsiteX10387" fmla="*/ 2037223 w 6942639"/>
                <a:gd name="connsiteY10387" fmla="*/ 872897 h 9250612"/>
                <a:gd name="connsiteX10388" fmla="*/ 2028287 w 6942639"/>
                <a:gd name="connsiteY10388" fmla="*/ 863933 h 9250612"/>
                <a:gd name="connsiteX10389" fmla="*/ 2037223 w 6942639"/>
                <a:gd name="connsiteY10389" fmla="*/ 854970 h 9250612"/>
                <a:gd name="connsiteX10390" fmla="*/ 4568137 w 6942639"/>
                <a:gd name="connsiteY10390" fmla="*/ 854968 h 9250612"/>
                <a:gd name="connsiteX10391" fmla="*/ 4577098 w 6942639"/>
                <a:gd name="connsiteY10391" fmla="*/ 863931 h 9250612"/>
                <a:gd name="connsiteX10392" fmla="*/ 4568137 w 6942639"/>
                <a:gd name="connsiteY10392" fmla="*/ 872894 h 9250612"/>
                <a:gd name="connsiteX10393" fmla="*/ 4559177 w 6942639"/>
                <a:gd name="connsiteY10393" fmla="*/ 863931 h 9250612"/>
                <a:gd name="connsiteX10394" fmla="*/ 4568137 w 6942639"/>
                <a:gd name="connsiteY10394" fmla="*/ 854968 h 9250612"/>
                <a:gd name="connsiteX10395" fmla="*/ 4399396 w 6942639"/>
                <a:gd name="connsiteY10395" fmla="*/ 854968 h 9250612"/>
                <a:gd name="connsiteX10396" fmla="*/ 4408357 w 6942639"/>
                <a:gd name="connsiteY10396" fmla="*/ 863931 h 9250612"/>
                <a:gd name="connsiteX10397" fmla="*/ 4399396 w 6942639"/>
                <a:gd name="connsiteY10397" fmla="*/ 872894 h 9250612"/>
                <a:gd name="connsiteX10398" fmla="*/ 4390436 w 6942639"/>
                <a:gd name="connsiteY10398" fmla="*/ 863931 h 9250612"/>
                <a:gd name="connsiteX10399" fmla="*/ 4399396 w 6942639"/>
                <a:gd name="connsiteY10399" fmla="*/ 854968 h 9250612"/>
                <a:gd name="connsiteX10400" fmla="*/ 4230654 w 6942639"/>
                <a:gd name="connsiteY10400" fmla="*/ 854968 h 9250612"/>
                <a:gd name="connsiteX10401" fmla="*/ 4239615 w 6942639"/>
                <a:gd name="connsiteY10401" fmla="*/ 863932 h 9250612"/>
                <a:gd name="connsiteX10402" fmla="*/ 4230654 w 6942639"/>
                <a:gd name="connsiteY10402" fmla="*/ 872894 h 9250612"/>
                <a:gd name="connsiteX10403" fmla="*/ 4221694 w 6942639"/>
                <a:gd name="connsiteY10403" fmla="*/ 863932 h 9250612"/>
                <a:gd name="connsiteX10404" fmla="*/ 4230654 w 6942639"/>
                <a:gd name="connsiteY10404" fmla="*/ 854968 h 9250612"/>
                <a:gd name="connsiteX10405" fmla="*/ 4061912 w 6942639"/>
                <a:gd name="connsiteY10405" fmla="*/ 854968 h 9250612"/>
                <a:gd name="connsiteX10406" fmla="*/ 4070873 w 6942639"/>
                <a:gd name="connsiteY10406" fmla="*/ 863932 h 9250612"/>
                <a:gd name="connsiteX10407" fmla="*/ 4061912 w 6942639"/>
                <a:gd name="connsiteY10407" fmla="*/ 872894 h 9250612"/>
                <a:gd name="connsiteX10408" fmla="*/ 4052952 w 6942639"/>
                <a:gd name="connsiteY10408" fmla="*/ 863932 h 9250612"/>
                <a:gd name="connsiteX10409" fmla="*/ 4061912 w 6942639"/>
                <a:gd name="connsiteY10409" fmla="*/ 854968 h 9250612"/>
                <a:gd name="connsiteX10410" fmla="*/ 3893170 w 6942639"/>
                <a:gd name="connsiteY10410" fmla="*/ 854968 h 9250612"/>
                <a:gd name="connsiteX10411" fmla="*/ 3902131 w 6942639"/>
                <a:gd name="connsiteY10411" fmla="*/ 863932 h 9250612"/>
                <a:gd name="connsiteX10412" fmla="*/ 3893170 w 6942639"/>
                <a:gd name="connsiteY10412" fmla="*/ 872894 h 9250612"/>
                <a:gd name="connsiteX10413" fmla="*/ 3884210 w 6942639"/>
                <a:gd name="connsiteY10413" fmla="*/ 863932 h 9250612"/>
                <a:gd name="connsiteX10414" fmla="*/ 3893170 w 6942639"/>
                <a:gd name="connsiteY10414" fmla="*/ 854968 h 9250612"/>
                <a:gd name="connsiteX10415" fmla="*/ 3724429 w 6942639"/>
                <a:gd name="connsiteY10415" fmla="*/ 854968 h 9250612"/>
                <a:gd name="connsiteX10416" fmla="*/ 3733390 w 6942639"/>
                <a:gd name="connsiteY10416" fmla="*/ 863932 h 9250612"/>
                <a:gd name="connsiteX10417" fmla="*/ 3724429 w 6942639"/>
                <a:gd name="connsiteY10417" fmla="*/ 872895 h 9250612"/>
                <a:gd name="connsiteX10418" fmla="*/ 3715469 w 6942639"/>
                <a:gd name="connsiteY10418" fmla="*/ 863932 h 9250612"/>
                <a:gd name="connsiteX10419" fmla="*/ 3724429 w 6942639"/>
                <a:gd name="connsiteY10419" fmla="*/ 854968 h 9250612"/>
                <a:gd name="connsiteX10420" fmla="*/ 3555688 w 6942639"/>
                <a:gd name="connsiteY10420" fmla="*/ 854968 h 9250612"/>
                <a:gd name="connsiteX10421" fmla="*/ 3564649 w 6942639"/>
                <a:gd name="connsiteY10421" fmla="*/ 863932 h 9250612"/>
                <a:gd name="connsiteX10422" fmla="*/ 3555688 w 6942639"/>
                <a:gd name="connsiteY10422" fmla="*/ 872895 h 9250612"/>
                <a:gd name="connsiteX10423" fmla="*/ 3546728 w 6942639"/>
                <a:gd name="connsiteY10423" fmla="*/ 863932 h 9250612"/>
                <a:gd name="connsiteX10424" fmla="*/ 3555688 w 6942639"/>
                <a:gd name="connsiteY10424" fmla="*/ 854968 h 9250612"/>
                <a:gd name="connsiteX10425" fmla="*/ 3387071 w 6942639"/>
                <a:gd name="connsiteY10425" fmla="*/ 854968 h 9250612"/>
                <a:gd name="connsiteX10426" fmla="*/ 3396055 w 6942639"/>
                <a:gd name="connsiteY10426" fmla="*/ 863932 h 9250612"/>
                <a:gd name="connsiteX10427" fmla="*/ 3387071 w 6942639"/>
                <a:gd name="connsiteY10427" fmla="*/ 872895 h 9250612"/>
                <a:gd name="connsiteX10428" fmla="*/ 3378060 w 6942639"/>
                <a:gd name="connsiteY10428" fmla="*/ 863932 h 9250612"/>
                <a:gd name="connsiteX10429" fmla="*/ 3387071 w 6942639"/>
                <a:gd name="connsiteY10429" fmla="*/ 854968 h 9250612"/>
                <a:gd name="connsiteX10430" fmla="*/ 5749328 w 6942639"/>
                <a:gd name="connsiteY10430" fmla="*/ 854967 h 9250612"/>
                <a:gd name="connsiteX10431" fmla="*/ 5758289 w 6942639"/>
                <a:gd name="connsiteY10431" fmla="*/ 863929 h 9250612"/>
                <a:gd name="connsiteX10432" fmla="*/ 5749328 w 6942639"/>
                <a:gd name="connsiteY10432" fmla="*/ 872893 h 9250612"/>
                <a:gd name="connsiteX10433" fmla="*/ 5740368 w 6942639"/>
                <a:gd name="connsiteY10433" fmla="*/ 863929 h 9250612"/>
                <a:gd name="connsiteX10434" fmla="*/ 5749328 w 6942639"/>
                <a:gd name="connsiteY10434" fmla="*/ 854967 h 9250612"/>
                <a:gd name="connsiteX10435" fmla="*/ 5580586 w 6942639"/>
                <a:gd name="connsiteY10435" fmla="*/ 854967 h 9250612"/>
                <a:gd name="connsiteX10436" fmla="*/ 5589547 w 6942639"/>
                <a:gd name="connsiteY10436" fmla="*/ 863929 h 9250612"/>
                <a:gd name="connsiteX10437" fmla="*/ 5580586 w 6942639"/>
                <a:gd name="connsiteY10437" fmla="*/ 872893 h 9250612"/>
                <a:gd name="connsiteX10438" fmla="*/ 5571626 w 6942639"/>
                <a:gd name="connsiteY10438" fmla="*/ 863929 h 9250612"/>
                <a:gd name="connsiteX10439" fmla="*/ 5580586 w 6942639"/>
                <a:gd name="connsiteY10439" fmla="*/ 854967 h 9250612"/>
                <a:gd name="connsiteX10440" fmla="*/ 5411845 w 6942639"/>
                <a:gd name="connsiteY10440" fmla="*/ 854967 h 9250612"/>
                <a:gd name="connsiteX10441" fmla="*/ 5420806 w 6942639"/>
                <a:gd name="connsiteY10441" fmla="*/ 863931 h 9250612"/>
                <a:gd name="connsiteX10442" fmla="*/ 5411845 w 6942639"/>
                <a:gd name="connsiteY10442" fmla="*/ 872893 h 9250612"/>
                <a:gd name="connsiteX10443" fmla="*/ 5402885 w 6942639"/>
                <a:gd name="connsiteY10443" fmla="*/ 863931 h 9250612"/>
                <a:gd name="connsiteX10444" fmla="*/ 5411845 w 6942639"/>
                <a:gd name="connsiteY10444" fmla="*/ 854967 h 9250612"/>
                <a:gd name="connsiteX10445" fmla="*/ 5243103 w 6942639"/>
                <a:gd name="connsiteY10445" fmla="*/ 854967 h 9250612"/>
                <a:gd name="connsiteX10446" fmla="*/ 5252064 w 6942639"/>
                <a:gd name="connsiteY10446" fmla="*/ 863931 h 9250612"/>
                <a:gd name="connsiteX10447" fmla="*/ 5243103 w 6942639"/>
                <a:gd name="connsiteY10447" fmla="*/ 872893 h 9250612"/>
                <a:gd name="connsiteX10448" fmla="*/ 5234143 w 6942639"/>
                <a:gd name="connsiteY10448" fmla="*/ 863931 h 9250612"/>
                <a:gd name="connsiteX10449" fmla="*/ 5243103 w 6942639"/>
                <a:gd name="connsiteY10449" fmla="*/ 854967 h 9250612"/>
                <a:gd name="connsiteX10450" fmla="*/ 5074362 w 6942639"/>
                <a:gd name="connsiteY10450" fmla="*/ 854967 h 9250612"/>
                <a:gd name="connsiteX10451" fmla="*/ 5083323 w 6942639"/>
                <a:gd name="connsiteY10451" fmla="*/ 863931 h 9250612"/>
                <a:gd name="connsiteX10452" fmla="*/ 5074362 w 6942639"/>
                <a:gd name="connsiteY10452" fmla="*/ 872894 h 9250612"/>
                <a:gd name="connsiteX10453" fmla="*/ 5065402 w 6942639"/>
                <a:gd name="connsiteY10453" fmla="*/ 863931 h 9250612"/>
                <a:gd name="connsiteX10454" fmla="*/ 5074362 w 6942639"/>
                <a:gd name="connsiteY10454" fmla="*/ 854967 h 9250612"/>
                <a:gd name="connsiteX10455" fmla="*/ 4905620 w 6942639"/>
                <a:gd name="connsiteY10455" fmla="*/ 854967 h 9250612"/>
                <a:gd name="connsiteX10456" fmla="*/ 4914581 w 6942639"/>
                <a:gd name="connsiteY10456" fmla="*/ 863931 h 9250612"/>
                <a:gd name="connsiteX10457" fmla="*/ 4905620 w 6942639"/>
                <a:gd name="connsiteY10457" fmla="*/ 872894 h 9250612"/>
                <a:gd name="connsiteX10458" fmla="*/ 4896660 w 6942639"/>
                <a:gd name="connsiteY10458" fmla="*/ 863931 h 9250612"/>
                <a:gd name="connsiteX10459" fmla="*/ 4905620 w 6942639"/>
                <a:gd name="connsiteY10459" fmla="*/ 854967 h 9250612"/>
                <a:gd name="connsiteX10460" fmla="*/ 4736878 w 6942639"/>
                <a:gd name="connsiteY10460" fmla="*/ 854967 h 9250612"/>
                <a:gd name="connsiteX10461" fmla="*/ 4745839 w 6942639"/>
                <a:gd name="connsiteY10461" fmla="*/ 863931 h 9250612"/>
                <a:gd name="connsiteX10462" fmla="*/ 4736878 w 6942639"/>
                <a:gd name="connsiteY10462" fmla="*/ 872894 h 9250612"/>
                <a:gd name="connsiteX10463" fmla="*/ 4727918 w 6942639"/>
                <a:gd name="connsiteY10463" fmla="*/ 863931 h 9250612"/>
                <a:gd name="connsiteX10464" fmla="*/ 4736878 w 6942639"/>
                <a:gd name="connsiteY10464" fmla="*/ 854967 h 9250612"/>
                <a:gd name="connsiteX10465" fmla="*/ 6933679 w 6942639"/>
                <a:gd name="connsiteY10465" fmla="*/ 854966 h 9250612"/>
                <a:gd name="connsiteX10466" fmla="*/ 6942639 w 6942639"/>
                <a:gd name="connsiteY10466" fmla="*/ 863928 h 9250612"/>
                <a:gd name="connsiteX10467" fmla="*/ 6933679 w 6942639"/>
                <a:gd name="connsiteY10467" fmla="*/ 872891 h 9250612"/>
                <a:gd name="connsiteX10468" fmla="*/ 6924718 w 6942639"/>
                <a:gd name="connsiteY10468" fmla="*/ 863928 h 9250612"/>
                <a:gd name="connsiteX10469" fmla="*/ 6933679 w 6942639"/>
                <a:gd name="connsiteY10469" fmla="*/ 854966 h 9250612"/>
                <a:gd name="connsiteX10470" fmla="*/ 6763357 w 6942639"/>
                <a:gd name="connsiteY10470" fmla="*/ 854966 h 9250612"/>
                <a:gd name="connsiteX10471" fmla="*/ 6772318 w 6942639"/>
                <a:gd name="connsiteY10471" fmla="*/ 863929 h 9250612"/>
                <a:gd name="connsiteX10472" fmla="*/ 6763357 w 6942639"/>
                <a:gd name="connsiteY10472" fmla="*/ 872891 h 9250612"/>
                <a:gd name="connsiteX10473" fmla="*/ 6754397 w 6942639"/>
                <a:gd name="connsiteY10473" fmla="*/ 863929 h 9250612"/>
                <a:gd name="connsiteX10474" fmla="*/ 6763357 w 6942639"/>
                <a:gd name="connsiteY10474" fmla="*/ 854966 h 9250612"/>
                <a:gd name="connsiteX10475" fmla="*/ 6593035 w 6942639"/>
                <a:gd name="connsiteY10475" fmla="*/ 854966 h 9250612"/>
                <a:gd name="connsiteX10476" fmla="*/ 6601996 w 6942639"/>
                <a:gd name="connsiteY10476" fmla="*/ 863929 h 9250612"/>
                <a:gd name="connsiteX10477" fmla="*/ 6593035 w 6942639"/>
                <a:gd name="connsiteY10477" fmla="*/ 872891 h 9250612"/>
                <a:gd name="connsiteX10478" fmla="*/ 6584075 w 6942639"/>
                <a:gd name="connsiteY10478" fmla="*/ 863929 h 9250612"/>
                <a:gd name="connsiteX10479" fmla="*/ 6593035 w 6942639"/>
                <a:gd name="connsiteY10479" fmla="*/ 854966 h 9250612"/>
                <a:gd name="connsiteX10480" fmla="*/ 6424294 w 6942639"/>
                <a:gd name="connsiteY10480" fmla="*/ 854966 h 9250612"/>
                <a:gd name="connsiteX10481" fmla="*/ 6433255 w 6942639"/>
                <a:gd name="connsiteY10481" fmla="*/ 863929 h 9250612"/>
                <a:gd name="connsiteX10482" fmla="*/ 6424294 w 6942639"/>
                <a:gd name="connsiteY10482" fmla="*/ 872891 h 9250612"/>
                <a:gd name="connsiteX10483" fmla="*/ 6415334 w 6942639"/>
                <a:gd name="connsiteY10483" fmla="*/ 863929 h 9250612"/>
                <a:gd name="connsiteX10484" fmla="*/ 6424294 w 6942639"/>
                <a:gd name="connsiteY10484" fmla="*/ 854966 h 9250612"/>
                <a:gd name="connsiteX10485" fmla="*/ 6255553 w 6942639"/>
                <a:gd name="connsiteY10485" fmla="*/ 854966 h 9250612"/>
                <a:gd name="connsiteX10486" fmla="*/ 6264514 w 6942639"/>
                <a:gd name="connsiteY10486" fmla="*/ 863929 h 9250612"/>
                <a:gd name="connsiteX10487" fmla="*/ 6255553 w 6942639"/>
                <a:gd name="connsiteY10487" fmla="*/ 872893 h 9250612"/>
                <a:gd name="connsiteX10488" fmla="*/ 6246593 w 6942639"/>
                <a:gd name="connsiteY10488" fmla="*/ 863929 h 9250612"/>
                <a:gd name="connsiteX10489" fmla="*/ 6255553 w 6942639"/>
                <a:gd name="connsiteY10489" fmla="*/ 854966 h 9250612"/>
                <a:gd name="connsiteX10490" fmla="*/ 6086811 w 6942639"/>
                <a:gd name="connsiteY10490" fmla="*/ 854966 h 9250612"/>
                <a:gd name="connsiteX10491" fmla="*/ 6095772 w 6942639"/>
                <a:gd name="connsiteY10491" fmla="*/ 863929 h 9250612"/>
                <a:gd name="connsiteX10492" fmla="*/ 6086811 w 6942639"/>
                <a:gd name="connsiteY10492" fmla="*/ 872893 h 9250612"/>
                <a:gd name="connsiteX10493" fmla="*/ 6077851 w 6942639"/>
                <a:gd name="connsiteY10493" fmla="*/ 863929 h 9250612"/>
                <a:gd name="connsiteX10494" fmla="*/ 6086811 w 6942639"/>
                <a:gd name="connsiteY10494" fmla="*/ 854966 h 9250612"/>
                <a:gd name="connsiteX10495" fmla="*/ 5918069 w 6942639"/>
                <a:gd name="connsiteY10495" fmla="*/ 854966 h 9250612"/>
                <a:gd name="connsiteX10496" fmla="*/ 5927030 w 6942639"/>
                <a:gd name="connsiteY10496" fmla="*/ 863929 h 9250612"/>
                <a:gd name="connsiteX10497" fmla="*/ 5918069 w 6942639"/>
                <a:gd name="connsiteY10497" fmla="*/ 872893 h 9250612"/>
                <a:gd name="connsiteX10498" fmla="*/ 5909109 w 6942639"/>
                <a:gd name="connsiteY10498" fmla="*/ 863929 h 9250612"/>
                <a:gd name="connsiteX10499" fmla="*/ 5918069 w 6942639"/>
                <a:gd name="connsiteY10499" fmla="*/ 854966 h 9250612"/>
                <a:gd name="connsiteX10500" fmla="*/ 349797 w 6942639"/>
                <a:gd name="connsiteY10500" fmla="*/ 683948 h 9250612"/>
                <a:gd name="connsiteX10501" fmla="*/ 358758 w 6942639"/>
                <a:gd name="connsiteY10501" fmla="*/ 692912 h 9250612"/>
                <a:gd name="connsiteX10502" fmla="*/ 349797 w 6942639"/>
                <a:gd name="connsiteY10502" fmla="*/ 701874 h 9250612"/>
                <a:gd name="connsiteX10503" fmla="*/ 340838 w 6942639"/>
                <a:gd name="connsiteY10503" fmla="*/ 692912 h 9250612"/>
                <a:gd name="connsiteX10504" fmla="*/ 349797 w 6942639"/>
                <a:gd name="connsiteY10504" fmla="*/ 683948 h 9250612"/>
                <a:gd name="connsiteX10505" fmla="*/ 179481 w 6942639"/>
                <a:gd name="connsiteY10505" fmla="*/ 683948 h 9250612"/>
                <a:gd name="connsiteX10506" fmla="*/ 188442 w 6942639"/>
                <a:gd name="connsiteY10506" fmla="*/ 692911 h 9250612"/>
                <a:gd name="connsiteX10507" fmla="*/ 179481 w 6942639"/>
                <a:gd name="connsiteY10507" fmla="*/ 701874 h 9250612"/>
                <a:gd name="connsiteX10508" fmla="*/ 170521 w 6942639"/>
                <a:gd name="connsiteY10508" fmla="*/ 692911 h 9250612"/>
                <a:gd name="connsiteX10509" fmla="*/ 179481 w 6942639"/>
                <a:gd name="connsiteY10509" fmla="*/ 683948 h 9250612"/>
                <a:gd name="connsiteX10510" fmla="*/ 9167 w 6942639"/>
                <a:gd name="connsiteY10510" fmla="*/ 683948 h 9250612"/>
                <a:gd name="connsiteX10511" fmla="*/ 18126 w 6942639"/>
                <a:gd name="connsiteY10511" fmla="*/ 692911 h 9250612"/>
                <a:gd name="connsiteX10512" fmla="*/ 9167 w 6942639"/>
                <a:gd name="connsiteY10512" fmla="*/ 701874 h 9250612"/>
                <a:gd name="connsiteX10513" fmla="*/ 207 w 6942639"/>
                <a:gd name="connsiteY10513" fmla="*/ 692911 h 9250612"/>
                <a:gd name="connsiteX10514" fmla="*/ 9167 w 6942639"/>
                <a:gd name="connsiteY10514" fmla="*/ 683948 h 9250612"/>
                <a:gd name="connsiteX10515" fmla="*/ 1868529 w 6942639"/>
                <a:gd name="connsiteY10515" fmla="*/ 683947 h 9250612"/>
                <a:gd name="connsiteX10516" fmla="*/ 1877471 w 6942639"/>
                <a:gd name="connsiteY10516" fmla="*/ 692909 h 9250612"/>
                <a:gd name="connsiteX10517" fmla="*/ 1868529 w 6942639"/>
                <a:gd name="connsiteY10517" fmla="*/ 701873 h 9250612"/>
                <a:gd name="connsiteX10518" fmla="*/ 1859548 w 6942639"/>
                <a:gd name="connsiteY10518" fmla="*/ 692909 h 9250612"/>
                <a:gd name="connsiteX10519" fmla="*/ 1868529 w 6942639"/>
                <a:gd name="connsiteY10519" fmla="*/ 683947 h 9250612"/>
                <a:gd name="connsiteX10520" fmla="*/ 1699772 w 6942639"/>
                <a:gd name="connsiteY10520" fmla="*/ 683947 h 9250612"/>
                <a:gd name="connsiteX10521" fmla="*/ 1708744 w 6942639"/>
                <a:gd name="connsiteY10521" fmla="*/ 692909 h 9250612"/>
                <a:gd name="connsiteX10522" fmla="*/ 1699772 w 6942639"/>
                <a:gd name="connsiteY10522" fmla="*/ 701873 h 9250612"/>
                <a:gd name="connsiteX10523" fmla="*/ 1690802 w 6942639"/>
                <a:gd name="connsiteY10523" fmla="*/ 692909 h 9250612"/>
                <a:gd name="connsiteX10524" fmla="*/ 1699772 w 6942639"/>
                <a:gd name="connsiteY10524" fmla="*/ 683947 h 9250612"/>
                <a:gd name="connsiteX10525" fmla="*/ 1531031 w 6942639"/>
                <a:gd name="connsiteY10525" fmla="*/ 683947 h 9250612"/>
                <a:gd name="connsiteX10526" fmla="*/ 1539994 w 6942639"/>
                <a:gd name="connsiteY10526" fmla="*/ 692909 h 9250612"/>
                <a:gd name="connsiteX10527" fmla="*/ 1531031 w 6942639"/>
                <a:gd name="connsiteY10527" fmla="*/ 701873 h 9250612"/>
                <a:gd name="connsiteX10528" fmla="*/ 1522069 w 6942639"/>
                <a:gd name="connsiteY10528" fmla="*/ 692909 h 9250612"/>
                <a:gd name="connsiteX10529" fmla="*/ 1531031 w 6942639"/>
                <a:gd name="connsiteY10529" fmla="*/ 683947 h 9250612"/>
                <a:gd name="connsiteX10530" fmla="*/ 1362276 w 6942639"/>
                <a:gd name="connsiteY10530" fmla="*/ 683947 h 9250612"/>
                <a:gd name="connsiteX10531" fmla="*/ 1371239 w 6942639"/>
                <a:gd name="connsiteY10531" fmla="*/ 692911 h 9250612"/>
                <a:gd name="connsiteX10532" fmla="*/ 1362276 w 6942639"/>
                <a:gd name="connsiteY10532" fmla="*/ 701873 h 9250612"/>
                <a:gd name="connsiteX10533" fmla="*/ 1353315 w 6942639"/>
                <a:gd name="connsiteY10533" fmla="*/ 692911 h 9250612"/>
                <a:gd name="connsiteX10534" fmla="*/ 1362276 w 6942639"/>
                <a:gd name="connsiteY10534" fmla="*/ 683947 h 9250612"/>
                <a:gd name="connsiteX10535" fmla="*/ 1193534 w 6942639"/>
                <a:gd name="connsiteY10535" fmla="*/ 683947 h 9250612"/>
                <a:gd name="connsiteX10536" fmla="*/ 1202494 w 6942639"/>
                <a:gd name="connsiteY10536" fmla="*/ 692911 h 9250612"/>
                <a:gd name="connsiteX10537" fmla="*/ 1193534 w 6942639"/>
                <a:gd name="connsiteY10537" fmla="*/ 701873 h 9250612"/>
                <a:gd name="connsiteX10538" fmla="*/ 1184577 w 6942639"/>
                <a:gd name="connsiteY10538" fmla="*/ 692911 h 9250612"/>
                <a:gd name="connsiteX10539" fmla="*/ 1193534 w 6942639"/>
                <a:gd name="connsiteY10539" fmla="*/ 683947 h 9250612"/>
                <a:gd name="connsiteX10540" fmla="*/ 1024774 w 6942639"/>
                <a:gd name="connsiteY10540" fmla="*/ 683947 h 9250612"/>
                <a:gd name="connsiteX10541" fmla="*/ 1033743 w 6942639"/>
                <a:gd name="connsiteY10541" fmla="*/ 692911 h 9250612"/>
                <a:gd name="connsiteX10542" fmla="*/ 1024774 w 6942639"/>
                <a:gd name="connsiteY10542" fmla="*/ 701874 h 9250612"/>
                <a:gd name="connsiteX10543" fmla="*/ 1015814 w 6942639"/>
                <a:gd name="connsiteY10543" fmla="*/ 692911 h 9250612"/>
                <a:gd name="connsiteX10544" fmla="*/ 1024774 w 6942639"/>
                <a:gd name="connsiteY10544" fmla="*/ 683947 h 9250612"/>
                <a:gd name="connsiteX10545" fmla="*/ 856054 w 6942639"/>
                <a:gd name="connsiteY10545" fmla="*/ 683947 h 9250612"/>
                <a:gd name="connsiteX10546" fmla="*/ 865014 w 6942639"/>
                <a:gd name="connsiteY10546" fmla="*/ 692911 h 9250612"/>
                <a:gd name="connsiteX10547" fmla="*/ 856054 w 6942639"/>
                <a:gd name="connsiteY10547" fmla="*/ 701874 h 9250612"/>
                <a:gd name="connsiteX10548" fmla="*/ 847094 w 6942639"/>
                <a:gd name="connsiteY10548" fmla="*/ 692911 h 9250612"/>
                <a:gd name="connsiteX10549" fmla="*/ 856054 w 6942639"/>
                <a:gd name="connsiteY10549" fmla="*/ 683947 h 9250612"/>
                <a:gd name="connsiteX10550" fmla="*/ 687317 w 6942639"/>
                <a:gd name="connsiteY10550" fmla="*/ 683947 h 9250612"/>
                <a:gd name="connsiteX10551" fmla="*/ 696277 w 6942639"/>
                <a:gd name="connsiteY10551" fmla="*/ 692911 h 9250612"/>
                <a:gd name="connsiteX10552" fmla="*/ 687317 w 6942639"/>
                <a:gd name="connsiteY10552" fmla="*/ 701874 h 9250612"/>
                <a:gd name="connsiteX10553" fmla="*/ 678358 w 6942639"/>
                <a:gd name="connsiteY10553" fmla="*/ 692911 h 9250612"/>
                <a:gd name="connsiteX10554" fmla="*/ 687317 w 6942639"/>
                <a:gd name="connsiteY10554" fmla="*/ 683947 h 9250612"/>
                <a:gd name="connsiteX10555" fmla="*/ 518534 w 6942639"/>
                <a:gd name="connsiteY10555" fmla="*/ 683947 h 9250612"/>
                <a:gd name="connsiteX10556" fmla="*/ 527495 w 6942639"/>
                <a:gd name="connsiteY10556" fmla="*/ 692911 h 9250612"/>
                <a:gd name="connsiteX10557" fmla="*/ 518534 w 6942639"/>
                <a:gd name="connsiteY10557" fmla="*/ 701874 h 9250612"/>
                <a:gd name="connsiteX10558" fmla="*/ 509574 w 6942639"/>
                <a:gd name="connsiteY10558" fmla="*/ 692911 h 9250612"/>
                <a:gd name="connsiteX10559" fmla="*/ 518534 w 6942639"/>
                <a:gd name="connsiteY10559" fmla="*/ 683947 h 9250612"/>
                <a:gd name="connsiteX10560" fmla="*/ 3218323 w 6942639"/>
                <a:gd name="connsiteY10560" fmla="*/ 683946 h 9250612"/>
                <a:gd name="connsiteX10561" fmla="*/ 3227299 w 6942639"/>
                <a:gd name="connsiteY10561" fmla="*/ 692908 h 9250612"/>
                <a:gd name="connsiteX10562" fmla="*/ 3218323 w 6942639"/>
                <a:gd name="connsiteY10562" fmla="*/ 701871 h 9250612"/>
                <a:gd name="connsiteX10563" fmla="*/ 3209353 w 6942639"/>
                <a:gd name="connsiteY10563" fmla="*/ 692908 h 9250612"/>
                <a:gd name="connsiteX10564" fmla="*/ 3218323 w 6942639"/>
                <a:gd name="connsiteY10564" fmla="*/ 683946 h 9250612"/>
                <a:gd name="connsiteX10565" fmla="*/ 3049630 w 6942639"/>
                <a:gd name="connsiteY10565" fmla="*/ 683946 h 9250612"/>
                <a:gd name="connsiteX10566" fmla="*/ 3058587 w 6942639"/>
                <a:gd name="connsiteY10566" fmla="*/ 692908 h 9250612"/>
                <a:gd name="connsiteX10567" fmla="*/ 3049630 w 6942639"/>
                <a:gd name="connsiteY10567" fmla="*/ 701871 h 9250612"/>
                <a:gd name="connsiteX10568" fmla="*/ 3040660 w 6942639"/>
                <a:gd name="connsiteY10568" fmla="*/ 692908 h 9250612"/>
                <a:gd name="connsiteX10569" fmla="*/ 3049630 w 6942639"/>
                <a:gd name="connsiteY10569" fmla="*/ 683946 h 9250612"/>
                <a:gd name="connsiteX10570" fmla="*/ 2880917 w 6942639"/>
                <a:gd name="connsiteY10570" fmla="*/ 683946 h 9250612"/>
                <a:gd name="connsiteX10571" fmla="*/ 2889872 w 6942639"/>
                <a:gd name="connsiteY10571" fmla="*/ 692909 h 9250612"/>
                <a:gd name="connsiteX10572" fmla="*/ 2880917 w 6942639"/>
                <a:gd name="connsiteY10572" fmla="*/ 701871 h 9250612"/>
                <a:gd name="connsiteX10573" fmla="*/ 2871960 w 6942639"/>
                <a:gd name="connsiteY10573" fmla="*/ 692909 h 9250612"/>
                <a:gd name="connsiteX10574" fmla="*/ 2880917 w 6942639"/>
                <a:gd name="connsiteY10574" fmla="*/ 683946 h 9250612"/>
                <a:gd name="connsiteX10575" fmla="*/ 2712138 w 6942639"/>
                <a:gd name="connsiteY10575" fmla="*/ 683946 h 9250612"/>
                <a:gd name="connsiteX10576" fmla="*/ 2721120 w 6942639"/>
                <a:gd name="connsiteY10576" fmla="*/ 692909 h 9250612"/>
                <a:gd name="connsiteX10577" fmla="*/ 2712138 w 6942639"/>
                <a:gd name="connsiteY10577" fmla="*/ 701871 h 9250612"/>
                <a:gd name="connsiteX10578" fmla="*/ 2703188 w 6942639"/>
                <a:gd name="connsiteY10578" fmla="*/ 692909 h 9250612"/>
                <a:gd name="connsiteX10579" fmla="*/ 2712138 w 6942639"/>
                <a:gd name="connsiteY10579" fmla="*/ 683946 h 9250612"/>
                <a:gd name="connsiteX10580" fmla="*/ 2543472 w 6942639"/>
                <a:gd name="connsiteY10580" fmla="*/ 683946 h 9250612"/>
                <a:gd name="connsiteX10581" fmla="*/ 2552437 w 6942639"/>
                <a:gd name="connsiteY10581" fmla="*/ 692909 h 9250612"/>
                <a:gd name="connsiteX10582" fmla="*/ 2543472 w 6942639"/>
                <a:gd name="connsiteY10582" fmla="*/ 701873 h 9250612"/>
                <a:gd name="connsiteX10583" fmla="*/ 2534496 w 6942639"/>
                <a:gd name="connsiteY10583" fmla="*/ 692909 h 9250612"/>
                <a:gd name="connsiteX10584" fmla="*/ 2543472 w 6942639"/>
                <a:gd name="connsiteY10584" fmla="*/ 683946 h 9250612"/>
                <a:gd name="connsiteX10585" fmla="*/ 2374657 w 6942639"/>
                <a:gd name="connsiteY10585" fmla="*/ 683946 h 9250612"/>
                <a:gd name="connsiteX10586" fmla="*/ 2383680 w 6942639"/>
                <a:gd name="connsiteY10586" fmla="*/ 692909 h 9250612"/>
                <a:gd name="connsiteX10587" fmla="*/ 2374657 w 6942639"/>
                <a:gd name="connsiteY10587" fmla="*/ 701873 h 9250612"/>
                <a:gd name="connsiteX10588" fmla="*/ 2365694 w 6942639"/>
                <a:gd name="connsiteY10588" fmla="*/ 692909 h 9250612"/>
                <a:gd name="connsiteX10589" fmla="*/ 2374657 w 6942639"/>
                <a:gd name="connsiteY10589" fmla="*/ 683946 h 9250612"/>
                <a:gd name="connsiteX10590" fmla="*/ 2205968 w 6942639"/>
                <a:gd name="connsiteY10590" fmla="*/ 683946 h 9250612"/>
                <a:gd name="connsiteX10591" fmla="*/ 2214923 w 6942639"/>
                <a:gd name="connsiteY10591" fmla="*/ 692909 h 9250612"/>
                <a:gd name="connsiteX10592" fmla="*/ 2205968 w 6942639"/>
                <a:gd name="connsiteY10592" fmla="*/ 701873 h 9250612"/>
                <a:gd name="connsiteX10593" fmla="*/ 2196969 w 6942639"/>
                <a:gd name="connsiteY10593" fmla="*/ 692909 h 9250612"/>
                <a:gd name="connsiteX10594" fmla="*/ 2205968 w 6942639"/>
                <a:gd name="connsiteY10594" fmla="*/ 683946 h 9250612"/>
                <a:gd name="connsiteX10595" fmla="*/ 2037227 w 6942639"/>
                <a:gd name="connsiteY10595" fmla="*/ 683946 h 9250612"/>
                <a:gd name="connsiteX10596" fmla="*/ 2046161 w 6942639"/>
                <a:gd name="connsiteY10596" fmla="*/ 692909 h 9250612"/>
                <a:gd name="connsiteX10597" fmla="*/ 2037227 w 6942639"/>
                <a:gd name="connsiteY10597" fmla="*/ 701873 h 9250612"/>
                <a:gd name="connsiteX10598" fmla="*/ 2028292 w 6942639"/>
                <a:gd name="connsiteY10598" fmla="*/ 692909 h 9250612"/>
                <a:gd name="connsiteX10599" fmla="*/ 2037227 w 6942639"/>
                <a:gd name="connsiteY10599" fmla="*/ 683946 h 9250612"/>
                <a:gd name="connsiteX10600" fmla="*/ 4736878 w 6942639"/>
                <a:gd name="connsiteY10600" fmla="*/ 683944 h 9250612"/>
                <a:gd name="connsiteX10601" fmla="*/ 4745839 w 6942639"/>
                <a:gd name="connsiteY10601" fmla="*/ 692906 h 9250612"/>
                <a:gd name="connsiteX10602" fmla="*/ 4736878 w 6942639"/>
                <a:gd name="connsiteY10602" fmla="*/ 701870 h 9250612"/>
                <a:gd name="connsiteX10603" fmla="*/ 4727918 w 6942639"/>
                <a:gd name="connsiteY10603" fmla="*/ 692906 h 9250612"/>
                <a:gd name="connsiteX10604" fmla="*/ 4736878 w 6942639"/>
                <a:gd name="connsiteY10604" fmla="*/ 683944 h 9250612"/>
                <a:gd name="connsiteX10605" fmla="*/ 4568137 w 6942639"/>
                <a:gd name="connsiteY10605" fmla="*/ 683944 h 9250612"/>
                <a:gd name="connsiteX10606" fmla="*/ 4577098 w 6942639"/>
                <a:gd name="connsiteY10606" fmla="*/ 692906 h 9250612"/>
                <a:gd name="connsiteX10607" fmla="*/ 4568137 w 6942639"/>
                <a:gd name="connsiteY10607" fmla="*/ 701870 h 9250612"/>
                <a:gd name="connsiteX10608" fmla="*/ 4559177 w 6942639"/>
                <a:gd name="connsiteY10608" fmla="*/ 692906 h 9250612"/>
                <a:gd name="connsiteX10609" fmla="*/ 4568137 w 6942639"/>
                <a:gd name="connsiteY10609" fmla="*/ 683944 h 9250612"/>
                <a:gd name="connsiteX10610" fmla="*/ 4399396 w 6942639"/>
                <a:gd name="connsiteY10610" fmla="*/ 683944 h 9250612"/>
                <a:gd name="connsiteX10611" fmla="*/ 4408357 w 6942639"/>
                <a:gd name="connsiteY10611" fmla="*/ 692908 h 9250612"/>
                <a:gd name="connsiteX10612" fmla="*/ 4399396 w 6942639"/>
                <a:gd name="connsiteY10612" fmla="*/ 701870 h 9250612"/>
                <a:gd name="connsiteX10613" fmla="*/ 4390436 w 6942639"/>
                <a:gd name="connsiteY10613" fmla="*/ 692908 h 9250612"/>
                <a:gd name="connsiteX10614" fmla="*/ 4399396 w 6942639"/>
                <a:gd name="connsiteY10614" fmla="*/ 683944 h 9250612"/>
                <a:gd name="connsiteX10615" fmla="*/ 4230654 w 6942639"/>
                <a:gd name="connsiteY10615" fmla="*/ 683944 h 9250612"/>
                <a:gd name="connsiteX10616" fmla="*/ 4239615 w 6942639"/>
                <a:gd name="connsiteY10616" fmla="*/ 692908 h 9250612"/>
                <a:gd name="connsiteX10617" fmla="*/ 4230654 w 6942639"/>
                <a:gd name="connsiteY10617" fmla="*/ 701870 h 9250612"/>
                <a:gd name="connsiteX10618" fmla="*/ 4221694 w 6942639"/>
                <a:gd name="connsiteY10618" fmla="*/ 692908 h 9250612"/>
                <a:gd name="connsiteX10619" fmla="*/ 4230654 w 6942639"/>
                <a:gd name="connsiteY10619" fmla="*/ 683944 h 9250612"/>
                <a:gd name="connsiteX10620" fmla="*/ 4061912 w 6942639"/>
                <a:gd name="connsiteY10620" fmla="*/ 683944 h 9250612"/>
                <a:gd name="connsiteX10621" fmla="*/ 4070873 w 6942639"/>
                <a:gd name="connsiteY10621" fmla="*/ 692908 h 9250612"/>
                <a:gd name="connsiteX10622" fmla="*/ 4061912 w 6942639"/>
                <a:gd name="connsiteY10622" fmla="*/ 701871 h 9250612"/>
                <a:gd name="connsiteX10623" fmla="*/ 4052952 w 6942639"/>
                <a:gd name="connsiteY10623" fmla="*/ 692908 h 9250612"/>
                <a:gd name="connsiteX10624" fmla="*/ 4061912 w 6942639"/>
                <a:gd name="connsiteY10624" fmla="*/ 683944 h 9250612"/>
                <a:gd name="connsiteX10625" fmla="*/ 3893170 w 6942639"/>
                <a:gd name="connsiteY10625" fmla="*/ 683944 h 9250612"/>
                <a:gd name="connsiteX10626" fmla="*/ 3902131 w 6942639"/>
                <a:gd name="connsiteY10626" fmla="*/ 692908 h 9250612"/>
                <a:gd name="connsiteX10627" fmla="*/ 3893170 w 6942639"/>
                <a:gd name="connsiteY10627" fmla="*/ 701871 h 9250612"/>
                <a:gd name="connsiteX10628" fmla="*/ 3884210 w 6942639"/>
                <a:gd name="connsiteY10628" fmla="*/ 692908 h 9250612"/>
                <a:gd name="connsiteX10629" fmla="*/ 3893170 w 6942639"/>
                <a:gd name="connsiteY10629" fmla="*/ 683944 h 9250612"/>
                <a:gd name="connsiteX10630" fmla="*/ 3724429 w 6942639"/>
                <a:gd name="connsiteY10630" fmla="*/ 683944 h 9250612"/>
                <a:gd name="connsiteX10631" fmla="*/ 3733390 w 6942639"/>
                <a:gd name="connsiteY10631" fmla="*/ 692908 h 9250612"/>
                <a:gd name="connsiteX10632" fmla="*/ 3724429 w 6942639"/>
                <a:gd name="connsiteY10632" fmla="*/ 701871 h 9250612"/>
                <a:gd name="connsiteX10633" fmla="*/ 3715469 w 6942639"/>
                <a:gd name="connsiteY10633" fmla="*/ 692908 h 9250612"/>
                <a:gd name="connsiteX10634" fmla="*/ 3724429 w 6942639"/>
                <a:gd name="connsiteY10634" fmla="*/ 683944 h 9250612"/>
                <a:gd name="connsiteX10635" fmla="*/ 3555688 w 6942639"/>
                <a:gd name="connsiteY10635" fmla="*/ 683944 h 9250612"/>
                <a:gd name="connsiteX10636" fmla="*/ 3564649 w 6942639"/>
                <a:gd name="connsiteY10636" fmla="*/ 692908 h 9250612"/>
                <a:gd name="connsiteX10637" fmla="*/ 3555688 w 6942639"/>
                <a:gd name="connsiteY10637" fmla="*/ 701871 h 9250612"/>
                <a:gd name="connsiteX10638" fmla="*/ 3546728 w 6942639"/>
                <a:gd name="connsiteY10638" fmla="*/ 692908 h 9250612"/>
                <a:gd name="connsiteX10639" fmla="*/ 3555688 w 6942639"/>
                <a:gd name="connsiteY10639" fmla="*/ 683944 h 9250612"/>
                <a:gd name="connsiteX10640" fmla="*/ 3387073 w 6942639"/>
                <a:gd name="connsiteY10640" fmla="*/ 683944 h 9250612"/>
                <a:gd name="connsiteX10641" fmla="*/ 3396058 w 6942639"/>
                <a:gd name="connsiteY10641" fmla="*/ 692908 h 9250612"/>
                <a:gd name="connsiteX10642" fmla="*/ 3387073 w 6942639"/>
                <a:gd name="connsiteY10642" fmla="*/ 701871 h 9250612"/>
                <a:gd name="connsiteX10643" fmla="*/ 3378062 w 6942639"/>
                <a:gd name="connsiteY10643" fmla="*/ 692908 h 9250612"/>
                <a:gd name="connsiteX10644" fmla="*/ 3387073 w 6942639"/>
                <a:gd name="connsiteY10644" fmla="*/ 683944 h 9250612"/>
                <a:gd name="connsiteX10645" fmla="*/ 6255553 w 6942639"/>
                <a:gd name="connsiteY10645" fmla="*/ 683943 h 9250612"/>
                <a:gd name="connsiteX10646" fmla="*/ 6264514 w 6942639"/>
                <a:gd name="connsiteY10646" fmla="*/ 692905 h 9250612"/>
                <a:gd name="connsiteX10647" fmla="*/ 6255553 w 6942639"/>
                <a:gd name="connsiteY10647" fmla="*/ 701869 h 9250612"/>
                <a:gd name="connsiteX10648" fmla="*/ 6246593 w 6942639"/>
                <a:gd name="connsiteY10648" fmla="*/ 692905 h 9250612"/>
                <a:gd name="connsiteX10649" fmla="*/ 6255553 w 6942639"/>
                <a:gd name="connsiteY10649" fmla="*/ 683943 h 9250612"/>
                <a:gd name="connsiteX10650" fmla="*/ 6086811 w 6942639"/>
                <a:gd name="connsiteY10650" fmla="*/ 683943 h 9250612"/>
                <a:gd name="connsiteX10651" fmla="*/ 6095772 w 6942639"/>
                <a:gd name="connsiteY10651" fmla="*/ 692905 h 9250612"/>
                <a:gd name="connsiteX10652" fmla="*/ 6086811 w 6942639"/>
                <a:gd name="connsiteY10652" fmla="*/ 701869 h 9250612"/>
                <a:gd name="connsiteX10653" fmla="*/ 6077851 w 6942639"/>
                <a:gd name="connsiteY10653" fmla="*/ 692905 h 9250612"/>
                <a:gd name="connsiteX10654" fmla="*/ 6086811 w 6942639"/>
                <a:gd name="connsiteY10654" fmla="*/ 683943 h 9250612"/>
                <a:gd name="connsiteX10655" fmla="*/ 5918069 w 6942639"/>
                <a:gd name="connsiteY10655" fmla="*/ 683943 h 9250612"/>
                <a:gd name="connsiteX10656" fmla="*/ 5927030 w 6942639"/>
                <a:gd name="connsiteY10656" fmla="*/ 692906 h 9250612"/>
                <a:gd name="connsiteX10657" fmla="*/ 5918069 w 6942639"/>
                <a:gd name="connsiteY10657" fmla="*/ 701869 h 9250612"/>
                <a:gd name="connsiteX10658" fmla="*/ 5909109 w 6942639"/>
                <a:gd name="connsiteY10658" fmla="*/ 692906 h 9250612"/>
                <a:gd name="connsiteX10659" fmla="*/ 5918069 w 6942639"/>
                <a:gd name="connsiteY10659" fmla="*/ 683943 h 9250612"/>
                <a:gd name="connsiteX10660" fmla="*/ 5749328 w 6942639"/>
                <a:gd name="connsiteY10660" fmla="*/ 683943 h 9250612"/>
                <a:gd name="connsiteX10661" fmla="*/ 5758289 w 6942639"/>
                <a:gd name="connsiteY10661" fmla="*/ 692906 h 9250612"/>
                <a:gd name="connsiteX10662" fmla="*/ 5749328 w 6942639"/>
                <a:gd name="connsiteY10662" fmla="*/ 701869 h 9250612"/>
                <a:gd name="connsiteX10663" fmla="*/ 5740368 w 6942639"/>
                <a:gd name="connsiteY10663" fmla="*/ 692906 h 9250612"/>
                <a:gd name="connsiteX10664" fmla="*/ 5749328 w 6942639"/>
                <a:gd name="connsiteY10664" fmla="*/ 683943 h 9250612"/>
                <a:gd name="connsiteX10665" fmla="*/ 5580586 w 6942639"/>
                <a:gd name="connsiteY10665" fmla="*/ 683943 h 9250612"/>
                <a:gd name="connsiteX10666" fmla="*/ 5589547 w 6942639"/>
                <a:gd name="connsiteY10666" fmla="*/ 692906 h 9250612"/>
                <a:gd name="connsiteX10667" fmla="*/ 5580586 w 6942639"/>
                <a:gd name="connsiteY10667" fmla="*/ 701869 h 9250612"/>
                <a:gd name="connsiteX10668" fmla="*/ 5571626 w 6942639"/>
                <a:gd name="connsiteY10668" fmla="*/ 692906 h 9250612"/>
                <a:gd name="connsiteX10669" fmla="*/ 5580586 w 6942639"/>
                <a:gd name="connsiteY10669" fmla="*/ 683943 h 9250612"/>
                <a:gd name="connsiteX10670" fmla="*/ 5411845 w 6942639"/>
                <a:gd name="connsiteY10670" fmla="*/ 683943 h 9250612"/>
                <a:gd name="connsiteX10671" fmla="*/ 5420806 w 6942639"/>
                <a:gd name="connsiteY10671" fmla="*/ 692906 h 9250612"/>
                <a:gd name="connsiteX10672" fmla="*/ 5411845 w 6942639"/>
                <a:gd name="connsiteY10672" fmla="*/ 701870 h 9250612"/>
                <a:gd name="connsiteX10673" fmla="*/ 5402885 w 6942639"/>
                <a:gd name="connsiteY10673" fmla="*/ 692906 h 9250612"/>
                <a:gd name="connsiteX10674" fmla="*/ 5411845 w 6942639"/>
                <a:gd name="connsiteY10674" fmla="*/ 683943 h 9250612"/>
                <a:gd name="connsiteX10675" fmla="*/ 5243103 w 6942639"/>
                <a:gd name="connsiteY10675" fmla="*/ 683943 h 9250612"/>
                <a:gd name="connsiteX10676" fmla="*/ 5252064 w 6942639"/>
                <a:gd name="connsiteY10676" fmla="*/ 692906 h 9250612"/>
                <a:gd name="connsiteX10677" fmla="*/ 5243103 w 6942639"/>
                <a:gd name="connsiteY10677" fmla="*/ 701870 h 9250612"/>
                <a:gd name="connsiteX10678" fmla="*/ 5234143 w 6942639"/>
                <a:gd name="connsiteY10678" fmla="*/ 692906 h 9250612"/>
                <a:gd name="connsiteX10679" fmla="*/ 5243103 w 6942639"/>
                <a:gd name="connsiteY10679" fmla="*/ 683943 h 9250612"/>
                <a:gd name="connsiteX10680" fmla="*/ 5074362 w 6942639"/>
                <a:gd name="connsiteY10680" fmla="*/ 683943 h 9250612"/>
                <a:gd name="connsiteX10681" fmla="*/ 5083323 w 6942639"/>
                <a:gd name="connsiteY10681" fmla="*/ 692906 h 9250612"/>
                <a:gd name="connsiteX10682" fmla="*/ 5074362 w 6942639"/>
                <a:gd name="connsiteY10682" fmla="*/ 701870 h 9250612"/>
                <a:gd name="connsiteX10683" fmla="*/ 5065402 w 6942639"/>
                <a:gd name="connsiteY10683" fmla="*/ 692906 h 9250612"/>
                <a:gd name="connsiteX10684" fmla="*/ 5074362 w 6942639"/>
                <a:gd name="connsiteY10684" fmla="*/ 683943 h 9250612"/>
                <a:gd name="connsiteX10685" fmla="*/ 4905620 w 6942639"/>
                <a:gd name="connsiteY10685" fmla="*/ 683943 h 9250612"/>
                <a:gd name="connsiteX10686" fmla="*/ 4914581 w 6942639"/>
                <a:gd name="connsiteY10686" fmla="*/ 692906 h 9250612"/>
                <a:gd name="connsiteX10687" fmla="*/ 4905620 w 6942639"/>
                <a:gd name="connsiteY10687" fmla="*/ 701870 h 9250612"/>
                <a:gd name="connsiteX10688" fmla="*/ 4896660 w 6942639"/>
                <a:gd name="connsiteY10688" fmla="*/ 692906 h 9250612"/>
                <a:gd name="connsiteX10689" fmla="*/ 4905620 w 6942639"/>
                <a:gd name="connsiteY10689" fmla="*/ 683943 h 9250612"/>
                <a:gd name="connsiteX10690" fmla="*/ 6933679 w 6942639"/>
                <a:gd name="connsiteY10690" fmla="*/ 683942 h 9250612"/>
                <a:gd name="connsiteX10691" fmla="*/ 6942639 w 6942639"/>
                <a:gd name="connsiteY10691" fmla="*/ 692905 h 9250612"/>
                <a:gd name="connsiteX10692" fmla="*/ 6933679 w 6942639"/>
                <a:gd name="connsiteY10692" fmla="*/ 701869 h 9250612"/>
                <a:gd name="connsiteX10693" fmla="*/ 6924718 w 6942639"/>
                <a:gd name="connsiteY10693" fmla="*/ 692905 h 9250612"/>
                <a:gd name="connsiteX10694" fmla="*/ 6933679 w 6942639"/>
                <a:gd name="connsiteY10694" fmla="*/ 683942 h 9250612"/>
                <a:gd name="connsiteX10695" fmla="*/ 6763357 w 6942639"/>
                <a:gd name="connsiteY10695" fmla="*/ 683942 h 9250612"/>
                <a:gd name="connsiteX10696" fmla="*/ 6772318 w 6942639"/>
                <a:gd name="connsiteY10696" fmla="*/ 692905 h 9250612"/>
                <a:gd name="connsiteX10697" fmla="*/ 6763357 w 6942639"/>
                <a:gd name="connsiteY10697" fmla="*/ 701869 h 9250612"/>
                <a:gd name="connsiteX10698" fmla="*/ 6754397 w 6942639"/>
                <a:gd name="connsiteY10698" fmla="*/ 692905 h 9250612"/>
                <a:gd name="connsiteX10699" fmla="*/ 6763357 w 6942639"/>
                <a:gd name="connsiteY10699" fmla="*/ 683942 h 9250612"/>
                <a:gd name="connsiteX10700" fmla="*/ 6593035 w 6942639"/>
                <a:gd name="connsiteY10700" fmla="*/ 683942 h 9250612"/>
                <a:gd name="connsiteX10701" fmla="*/ 6601996 w 6942639"/>
                <a:gd name="connsiteY10701" fmla="*/ 692905 h 9250612"/>
                <a:gd name="connsiteX10702" fmla="*/ 6593035 w 6942639"/>
                <a:gd name="connsiteY10702" fmla="*/ 701869 h 9250612"/>
                <a:gd name="connsiteX10703" fmla="*/ 6584075 w 6942639"/>
                <a:gd name="connsiteY10703" fmla="*/ 692905 h 9250612"/>
                <a:gd name="connsiteX10704" fmla="*/ 6593035 w 6942639"/>
                <a:gd name="connsiteY10704" fmla="*/ 683942 h 9250612"/>
                <a:gd name="connsiteX10705" fmla="*/ 6424294 w 6942639"/>
                <a:gd name="connsiteY10705" fmla="*/ 683942 h 9250612"/>
                <a:gd name="connsiteX10706" fmla="*/ 6433255 w 6942639"/>
                <a:gd name="connsiteY10706" fmla="*/ 692905 h 9250612"/>
                <a:gd name="connsiteX10707" fmla="*/ 6424294 w 6942639"/>
                <a:gd name="connsiteY10707" fmla="*/ 701869 h 9250612"/>
                <a:gd name="connsiteX10708" fmla="*/ 6415334 w 6942639"/>
                <a:gd name="connsiteY10708" fmla="*/ 692905 h 9250612"/>
                <a:gd name="connsiteX10709" fmla="*/ 6424294 w 6942639"/>
                <a:gd name="connsiteY10709" fmla="*/ 683942 h 9250612"/>
                <a:gd name="connsiteX10710" fmla="*/ 349801 w 6942639"/>
                <a:gd name="connsiteY10710" fmla="*/ 512916 h 9250612"/>
                <a:gd name="connsiteX10711" fmla="*/ 358762 w 6942639"/>
                <a:gd name="connsiteY10711" fmla="*/ 521876 h 9250612"/>
                <a:gd name="connsiteX10712" fmla="*/ 349801 w 6942639"/>
                <a:gd name="connsiteY10712" fmla="*/ 530837 h 9250612"/>
                <a:gd name="connsiteX10713" fmla="*/ 340842 w 6942639"/>
                <a:gd name="connsiteY10713" fmla="*/ 521876 h 9250612"/>
                <a:gd name="connsiteX10714" fmla="*/ 349801 w 6942639"/>
                <a:gd name="connsiteY10714" fmla="*/ 512916 h 9250612"/>
                <a:gd name="connsiteX10715" fmla="*/ 179485 w 6942639"/>
                <a:gd name="connsiteY10715" fmla="*/ 512916 h 9250612"/>
                <a:gd name="connsiteX10716" fmla="*/ 188446 w 6942639"/>
                <a:gd name="connsiteY10716" fmla="*/ 521876 h 9250612"/>
                <a:gd name="connsiteX10717" fmla="*/ 179485 w 6942639"/>
                <a:gd name="connsiteY10717" fmla="*/ 530837 h 9250612"/>
                <a:gd name="connsiteX10718" fmla="*/ 170525 w 6942639"/>
                <a:gd name="connsiteY10718" fmla="*/ 521876 h 9250612"/>
                <a:gd name="connsiteX10719" fmla="*/ 179485 w 6942639"/>
                <a:gd name="connsiteY10719" fmla="*/ 512916 h 9250612"/>
                <a:gd name="connsiteX10720" fmla="*/ 9171 w 6942639"/>
                <a:gd name="connsiteY10720" fmla="*/ 512916 h 9250612"/>
                <a:gd name="connsiteX10721" fmla="*/ 18130 w 6942639"/>
                <a:gd name="connsiteY10721" fmla="*/ 521876 h 9250612"/>
                <a:gd name="connsiteX10722" fmla="*/ 9171 w 6942639"/>
                <a:gd name="connsiteY10722" fmla="*/ 530837 h 9250612"/>
                <a:gd name="connsiteX10723" fmla="*/ 211 w 6942639"/>
                <a:gd name="connsiteY10723" fmla="*/ 521876 h 9250612"/>
                <a:gd name="connsiteX10724" fmla="*/ 9171 w 6942639"/>
                <a:gd name="connsiteY10724" fmla="*/ 512916 h 9250612"/>
                <a:gd name="connsiteX10725" fmla="*/ 687321 w 6942639"/>
                <a:gd name="connsiteY10725" fmla="*/ 512916 h 9250612"/>
                <a:gd name="connsiteX10726" fmla="*/ 696281 w 6942639"/>
                <a:gd name="connsiteY10726" fmla="*/ 521876 h 9250612"/>
                <a:gd name="connsiteX10727" fmla="*/ 687321 w 6942639"/>
                <a:gd name="connsiteY10727" fmla="*/ 530836 h 9250612"/>
                <a:gd name="connsiteX10728" fmla="*/ 678363 w 6942639"/>
                <a:gd name="connsiteY10728" fmla="*/ 521876 h 9250612"/>
                <a:gd name="connsiteX10729" fmla="*/ 687321 w 6942639"/>
                <a:gd name="connsiteY10729" fmla="*/ 512916 h 9250612"/>
                <a:gd name="connsiteX10730" fmla="*/ 518538 w 6942639"/>
                <a:gd name="connsiteY10730" fmla="*/ 512916 h 9250612"/>
                <a:gd name="connsiteX10731" fmla="*/ 527498 w 6942639"/>
                <a:gd name="connsiteY10731" fmla="*/ 521876 h 9250612"/>
                <a:gd name="connsiteX10732" fmla="*/ 518538 w 6942639"/>
                <a:gd name="connsiteY10732" fmla="*/ 530836 h 9250612"/>
                <a:gd name="connsiteX10733" fmla="*/ 509578 w 6942639"/>
                <a:gd name="connsiteY10733" fmla="*/ 521876 h 9250612"/>
                <a:gd name="connsiteX10734" fmla="*/ 518538 w 6942639"/>
                <a:gd name="connsiteY10734" fmla="*/ 512916 h 9250612"/>
                <a:gd name="connsiteX10735" fmla="*/ 856059 w 6942639"/>
                <a:gd name="connsiteY10735" fmla="*/ 512916 h 9250612"/>
                <a:gd name="connsiteX10736" fmla="*/ 865019 w 6942639"/>
                <a:gd name="connsiteY10736" fmla="*/ 521876 h 9250612"/>
                <a:gd name="connsiteX10737" fmla="*/ 856059 w 6942639"/>
                <a:gd name="connsiteY10737" fmla="*/ 530836 h 9250612"/>
                <a:gd name="connsiteX10738" fmla="*/ 847099 w 6942639"/>
                <a:gd name="connsiteY10738" fmla="*/ 521876 h 9250612"/>
                <a:gd name="connsiteX10739" fmla="*/ 856059 w 6942639"/>
                <a:gd name="connsiteY10739" fmla="*/ 512916 h 9250612"/>
                <a:gd name="connsiteX10740" fmla="*/ 1024779 w 6942639"/>
                <a:gd name="connsiteY10740" fmla="*/ 512916 h 9250612"/>
                <a:gd name="connsiteX10741" fmla="*/ 1033748 w 6942639"/>
                <a:gd name="connsiteY10741" fmla="*/ 521876 h 9250612"/>
                <a:gd name="connsiteX10742" fmla="*/ 1024779 w 6942639"/>
                <a:gd name="connsiteY10742" fmla="*/ 530836 h 9250612"/>
                <a:gd name="connsiteX10743" fmla="*/ 1015819 w 6942639"/>
                <a:gd name="connsiteY10743" fmla="*/ 521876 h 9250612"/>
                <a:gd name="connsiteX10744" fmla="*/ 1024779 w 6942639"/>
                <a:gd name="connsiteY10744" fmla="*/ 512916 h 9250612"/>
                <a:gd name="connsiteX10745" fmla="*/ 1193538 w 6942639"/>
                <a:gd name="connsiteY10745" fmla="*/ 512915 h 9250612"/>
                <a:gd name="connsiteX10746" fmla="*/ 1202498 w 6942639"/>
                <a:gd name="connsiteY10746" fmla="*/ 521876 h 9250612"/>
                <a:gd name="connsiteX10747" fmla="*/ 1193538 w 6942639"/>
                <a:gd name="connsiteY10747" fmla="*/ 530836 h 9250612"/>
                <a:gd name="connsiteX10748" fmla="*/ 1184581 w 6942639"/>
                <a:gd name="connsiteY10748" fmla="*/ 521876 h 9250612"/>
                <a:gd name="connsiteX10749" fmla="*/ 1193538 w 6942639"/>
                <a:gd name="connsiteY10749" fmla="*/ 512915 h 9250612"/>
                <a:gd name="connsiteX10750" fmla="*/ 1362280 w 6942639"/>
                <a:gd name="connsiteY10750" fmla="*/ 512915 h 9250612"/>
                <a:gd name="connsiteX10751" fmla="*/ 1371243 w 6942639"/>
                <a:gd name="connsiteY10751" fmla="*/ 521876 h 9250612"/>
                <a:gd name="connsiteX10752" fmla="*/ 1362280 w 6942639"/>
                <a:gd name="connsiteY10752" fmla="*/ 530836 h 9250612"/>
                <a:gd name="connsiteX10753" fmla="*/ 1353319 w 6942639"/>
                <a:gd name="connsiteY10753" fmla="*/ 521876 h 9250612"/>
                <a:gd name="connsiteX10754" fmla="*/ 1362280 w 6942639"/>
                <a:gd name="connsiteY10754" fmla="*/ 512915 h 9250612"/>
                <a:gd name="connsiteX10755" fmla="*/ 1531036 w 6942639"/>
                <a:gd name="connsiteY10755" fmla="*/ 512915 h 9250612"/>
                <a:gd name="connsiteX10756" fmla="*/ 1539999 w 6942639"/>
                <a:gd name="connsiteY10756" fmla="*/ 521875 h 9250612"/>
                <a:gd name="connsiteX10757" fmla="*/ 1531036 w 6942639"/>
                <a:gd name="connsiteY10757" fmla="*/ 530836 h 9250612"/>
                <a:gd name="connsiteX10758" fmla="*/ 1522073 w 6942639"/>
                <a:gd name="connsiteY10758" fmla="*/ 521875 h 9250612"/>
                <a:gd name="connsiteX10759" fmla="*/ 1531036 w 6942639"/>
                <a:gd name="connsiteY10759" fmla="*/ 512915 h 9250612"/>
                <a:gd name="connsiteX10760" fmla="*/ 1699777 w 6942639"/>
                <a:gd name="connsiteY10760" fmla="*/ 512915 h 9250612"/>
                <a:gd name="connsiteX10761" fmla="*/ 1708750 w 6942639"/>
                <a:gd name="connsiteY10761" fmla="*/ 521875 h 9250612"/>
                <a:gd name="connsiteX10762" fmla="*/ 1699777 w 6942639"/>
                <a:gd name="connsiteY10762" fmla="*/ 530836 h 9250612"/>
                <a:gd name="connsiteX10763" fmla="*/ 1690806 w 6942639"/>
                <a:gd name="connsiteY10763" fmla="*/ 521875 h 9250612"/>
                <a:gd name="connsiteX10764" fmla="*/ 1699777 w 6942639"/>
                <a:gd name="connsiteY10764" fmla="*/ 512915 h 9250612"/>
                <a:gd name="connsiteX10765" fmla="*/ 1868534 w 6942639"/>
                <a:gd name="connsiteY10765" fmla="*/ 512915 h 9250612"/>
                <a:gd name="connsiteX10766" fmla="*/ 1877477 w 6942639"/>
                <a:gd name="connsiteY10766" fmla="*/ 521875 h 9250612"/>
                <a:gd name="connsiteX10767" fmla="*/ 1868534 w 6942639"/>
                <a:gd name="connsiteY10767" fmla="*/ 530835 h 9250612"/>
                <a:gd name="connsiteX10768" fmla="*/ 1859552 w 6942639"/>
                <a:gd name="connsiteY10768" fmla="*/ 521875 h 9250612"/>
                <a:gd name="connsiteX10769" fmla="*/ 1868534 w 6942639"/>
                <a:gd name="connsiteY10769" fmla="*/ 512915 h 9250612"/>
                <a:gd name="connsiteX10770" fmla="*/ 2037232 w 6942639"/>
                <a:gd name="connsiteY10770" fmla="*/ 512915 h 9250612"/>
                <a:gd name="connsiteX10771" fmla="*/ 2046164 w 6942639"/>
                <a:gd name="connsiteY10771" fmla="*/ 521875 h 9250612"/>
                <a:gd name="connsiteX10772" fmla="*/ 2037232 w 6942639"/>
                <a:gd name="connsiteY10772" fmla="*/ 530835 h 9250612"/>
                <a:gd name="connsiteX10773" fmla="*/ 2028297 w 6942639"/>
                <a:gd name="connsiteY10773" fmla="*/ 521875 h 9250612"/>
                <a:gd name="connsiteX10774" fmla="*/ 2037232 w 6942639"/>
                <a:gd name="connsiteY10774" fmla="*/ 512915 h 9250612"/>
                <a:gd name="connsiteX10775" fmla="*/ 2374660 w 6942639"/>
                <a:gd name="connsiteY10775" fmla="*/ 512915 h 9250612"/>
                <a:gd name="connsiteX10776" fmla="*/ 2383685 w 6942639"/>
                <a:gd name="connsiteY10776" fmla="*/ 521875 h 9250612"/>
                <a:gd name="connsiteX10777" fmla="*/ 2374660 w 6942639"/>
                <a:gd name="connsiteY10777" fmla="*/ 530835 h 9250612"/>
                <a:gd name="connsiteX10778" fmla="*/ 2365697 w 6942639"/>
                <a:gd name="connsiteY10778" fmla="*/ 521875 h 9250612"/>
                <a:gd name="connsiteX10779" fmla="*/ 2374660 w 6942639"/>
                <a:gd name="connsiteY10779" fmla="*/ 512915 h 9250612"/>
                <a:gd name="connsiteX10780" fmla="*/ 2205973 w 6942639"/>
                <a:gd name="connsiteY10780" fmla="*/ 512915 h 9250612"/>
                <a:gd name="connsiteX10781" fmla="*/ 2214927 w 6942639"/>
                <a:gd name="connsiteY10781" fmla="*/ 521875 h 9250612"/>
                <a:gd name="connsiteX10782" fmla="*/ 2205973 w 6942639"/>
                <a:gd name="connsiteY10782" fmla="*/ 530835 h 9250612"/>
                <a:gd name="connsiteX10783" fmla="*/ 2196973 w 6942639"/>
                <a:gd name="connsiteY10783" fmla="*/ 521875 h 9250612"/>
                <a:gd name="connsiteX10784" fmla="*/ 2205973 w 6942639"/>
                <a:gd name="connsiteY10784" fmla="*/ 512915 h 9250612"/>
                <a:gd name="connsiteX10785" fmla="*/ 2543477 w 6942639"/>
                <a:gd name="connsiteY10785" fmla="*/ 512915 h 9250612"/>
                <a:gd name="connsiteX10786" fmla="*/ 2552441 w 6942639"/>
                <a:gd name="connsiteY10786" fmla="*/ 521875 h 9250612"/>
                <a:gd name="connsiteX10787" fmla="*/ 2543477 w 6942639"/>
                <a:gd name="connsiteY10787" fmla="*/ 530835 h 9250612"/>
                <a:gd name="connsiteX10788" fmla="*/ 2534501 w 6942639"/>
                <a:gd name="connsiteY10788" fmla="*/ 521875 h 9250612"/>
                <a:gd name="connsiteX10789" fmla="*/ 2543477 w 6942639"/>
                <a:gd name="connsiteY10789" fmla="*/ 512915 h 9250612"/>
                <a:gd name="connsiteX10790" fmla="*/ 2712141 w 6942639"/>
                <a:gd name="connsiteY10790" fmla="*/ 512914 h 9250612"/>
                <a:gd name="connsiteX10791" fmla="*/ 2721124 w 6942639"/>
                <a:gd name="connsiteY10791" fmla="*/ 521875 h 9250612"/>
                <a:gd name="connsiteX10792" fmla="*/ 2712141 w 6942639"/>
                <a:gd name="connsiteY10792" fmla="*/ 530835 h 9250612"/>
                <a:gd name="connsiteX10793" fmla="*/ 2703192 w 6942639"/>
                <a:gd name="connsiteY10793" fmla="*/ 521875 h 9250612"/>
                <a:gd name="connsiteX10794" fmla="*/ 2712141 w 6942639"/>
                <a:gd name="connsiteY10794" fmla="*/ 512914 h 9250612"/>
                <a:gd name="connsiteX10795" fmla="*/ 2880921 w 6942639"/>
                <a:gd name="connsiteY10795" fmla="*/ 512914 h 9250612"/>
                <a:gd name="connsiteX10796" fmla="*/ 2889876 w 6942639"/>
                <a:gd name="connsiteY10796" fmla="*/ 521874 h 9250612"/>
                <a:gd name="connsiteX10797" fmla="*/ 2880921 w 6942639"/>
                <a:gd name="connsiteY10797" fmla="*/ 530835 h 9250612"/>
                <a:gd name="connsiteX10798" fmla="*/ 2871964 w 6942639"/>
                <a:gd name="connsiteY10798" fmla="*/ 521874 h 9250612"/>
                <a:gd name="connsiteX10799" fmla="*/ 2880921 w 6942639"/>
                <a:gd name="connsiteY10799" fmla="*/ 512914 h 9250612"/>
                <a:gd name="connsiteX10800" fmla="*/ 3049633 w 6942639"/>
                <a:gd name="connsiteY10800" fmla="*/ 512914 h 9250612"/>
                <a:gd name="connsiteX10801" fmla="*/ 3058590 w 6942639"/>
                <a:gd name="connsiteY10801" fmla="*/ 521874 h 9250612"/>
                <a:gd name="connsiteX10802" fmla="*/ 3049633 w 6942639"/>
                <a:gd name="connsiteY10802" fmla="*/ 530834 h 9250612"/>
                <a:gd name="connsiteX10803" fmla="*/ 3040663 w 6942639"/>
                <a:gd name="connsiteY10803" fmla="*/ 521874 h 9250612"/>
                <a:gd name="connsiteX10804" fmla="*/ 3049633 w 6942639"/>
                <a:gd name="connsiteY10804" fmla="*/ 512914 h 9250612"/>
                <a:gd name="connsiteX10805" fmla="*/ 3218326 w 6942639"/>
                <a:gd name="connsiteY10805" fmla="*/ 512914 h 9250612"/>
                <a:gd name="connsiteX10806" fmla="*/ 3227302 w 6942639"/>
                <a:gd name="connsiteY10806" fmla="*/ 521874 h 9250612"/>
                <a:gd name="connsiteX10807" fmla="*/ 3218326 w 6942639"/>
                <a:gd name="connsiteY10807" fmla="*/ 530834 h 9250612"/>
                <a:gd name="connsiteX10808" fmla="*/ 3209356 w 6942639"/>
                <a:gd name="connsiteY10808" fmla="*/ 521874 h 9250612"/>
                <a:gd name="connsiteX10809" fmla="*/ 3218326 w 6942639"/>
                <a:gd name="connsiteY10809" fmla="*/ 512914 h 9250612"/>
                <a:gd name="connsiteX10810" fmla="*/ 3387076 w 6942639"/>
                <a:gd name="connsiteY10810" fmla="*/ 512914 h 9250612"/>
                <a:gd name="connsiteX10811" fmla="*/ 3396061 w 6942639"/>
                <a:gd name="connsiteY10811" fmla="*/ 521874 h 9250612"/>
                <a:gd name="connsiteX10812" fmla="*/ 3387076 w 6942639"/>
                <a:gd name="connsiteY10812" fmla="*/ 530834 h 9250612"/>
                <a:gd name="connsiteX10813" fmla="*/ 3378063 w 6942639"/>
                <a:gd name="connsiteY10813" fmla="*/ 521874 h 9250612"/>
                <a:gd name="connsiteX10814" fmla="*/ 3387076 w 6942639"/>
                <a:gd name="connsiteY10814" fmla="*/ 512914 h 9250612"/>
                <a:gd name="connsiteX10815" fmla="*/ 3555688 w 6942639"/>
                <a:gd name="connsiteY10815" fmla="*/ 512914 h 9250612"/>
                <a:gd name="connsiteX10816" fmla="*/ 3564649 w 6942639"/>
                <a:gd name="connsiteY10816" fmla="*/ 521874 h 9250612"/>
                <a:gd name="connsiteX10817" fmla="*/ 3555688 w 6942639"/>
                <a:gd name="connsiteY10817" fmla="*/ 530834 h 9250612"/>
                <a:gd name="connsiteX10818" fmla="*/ 3546728 w 6942639"/>
                <a:gd name="connsiteY10818" fmla="*/ 521874 h 9250612"/>
                <a:gd name="connsiteX10819" fmla="*/ 3555688 w 6942639"/>
                <a:gd name="connsiteY10819" fmla="*/ 512914 h 9250612"/>
                <a:gd name="connsiteX10820" fmla="*/ 3724429 w 6942639"/>
                <a:gd name="connsiteY10820" fmla="*/ 512914 h 9250612"/>
                <a:gd name="connsiteX10821" fmla="*/ 3733390 w 6942639"/>
                <a:gd name="connsiteY10821" fmla="*/ 521874 h 9250612"/>
                <a:gd name="connsiteX10822" fmla="*/ 3724429 w 6942639"/>
                <a:gd name="connsiteY10822" fmla="*/ 530834 h 9250612"/>
                <a:gd name="connsiteX10823" fmla="*/ 3715469 w 6942639"/>
                <a:gd name="connsiteY10823" fmla="*/ 521874 h 9250612"/>
                <a:gd name="connsiteX10824" fmla="*/ 3724429 w 6942639"/>
                <a:gd name="connsiteY10824" fmla="*/ 512914 h 9250612"/>
                <a:gd name="connsiteX10825" fmla="*/ 3893170 w 6942639"/>
                <a:gd name="connsiteY10825" fmla="*/ 512913 h 9250612"/>
                <a:gd name="connsiteX10826" fmla="*/ 3902131 w 6942639"/>
                <a:gd name="connsiteY10826" fmla="*/ 521874 h 9250612"/>
                <a:gd name="connsiteX10827" fmla="*/ 3893170 w 6942639"/>
                <a:gd name="connsiteY10827" fmla="*/ 530834 h 9250612"/>
                <a:gd name="connsiteX10828" fmla="*/ 3884210 w 6942639"/>
                <a:gd name="connsiteY10828" fmla="*/ 521874 h 9250612"/>
                <a:gd name="connsiteX10829" fmla="*/ 3893170 w 6942639"/>
                <a:gd name="connsiteY10829" fmla="*/ 512913 h 9250612"/>
                <a:gd name="connsiteX10830" fmla="*/ 4230654 w 6942639"/>
                <a:gd name="connsiteY10830" fmla="*/ 512913 h 9250612"/>
                <a:gd name="connsiteX10831" fmla="*/ 4239615 w 6942639"/>
                <a:gd name="connsiteY10831" fmla="*/ 521873 h 9250612"/>
                <a:gd name="connsiteX10832" fmla="*/ 4230654 w 6942639"/>
                <a:gd name="connsiteY10832" fmla="*/ 530834 h 9250612"/>
                <a:gd name="connsiteX10833" fmla="*/ 4221694 w 6942639"/>
                <a:gd name="connsiteY10833" fmla="*/ 521873 h 9250612"/>
                <a:gd name="connsiteX10834" fmla="*/ 4230654 w 6942639"/>
                <a:gd name="connsiteY10834" fmla="*/ 512913 h 9250612"/>
                <a:gd name="connsiteX10835" fmla="*/ 4061912 w 6942639"/>
                <a:gd name="connsiteY10835" fmla="*/ 512913 h 9250612"/>
                <a:gd name="connsiteX10836" fmla="*/ 4070873 w 6942639"/>
                <a:gd name="connsiteY10836" fmla="*/ 521874 h 9250612"/>
                <a:gd name="connsiteX10837" fmla="*/ 4061912 w 6942639"/>
                <a:gd name="connsiteY10837" fmla="*/ 530834 h 9250612"/>
                <a:gd name="connsiteX10838" fmla="*/ 4052952 w 6942639"/>
                <a:gd name="connsiteY10838" fmla="*/ 521874 h 9250612"/>
                <a:gd name="connsiteX10839" fmla="*/ 4061912 w 6942639"/>
                <a:gd name="connsiteY10839" fmla="*/ 512913 h 9250612"/>
                <a:gd name="connsiteX10840" fmla="*/ 4399396 w 6942639"/>
                <a:gd name="connsiteY10840" fmla="*/ 512913 h 9250612"/>
                <a:gd name="connsiteX10841" fmla="*/ 4408357 w 6942639"/>
                <a:gd name="connsiteY10841" fmla="*/ 521873 h 9250612"/>
                <a:gd name="connsiteX10842" fmla="*/ 4399396 w 6942639"/>
                <a:gd name="connsiteY10842" fmla="*/ 530834 h 9250612"/>
                <a:gd name="connsiteX10843" fmla="*/ 4390436 w 6942639"/>
                <a:gd name="connsiteY10843" fmla="*/ 521873 h 9250612"/>
                <a:gd name="connsiteX10844" fmla="*/ 4399396 w 6942639"/>
                <a:gd name="connsiteY10844" fmla="*/ 512913 h 9250612"/>
                <a:gd name="connsiteX10845" fmla="*/ 4568137 w 6942639"/>
                <a:gd name="connsiteY10845" fmla="*/ 512913 h 9250612"/>
                <a:gd name="connsiteX10846" fmla="*/ 4577098 w 6942639"/>
                <a:gd name="connsiteY10846" fmla="*/ 521873 h 9250612"/>
                <a:gd name="connsiteX10847" fmla="*/ 4568137 w 6942639"/>
                <a:gd name="connsiteY10847" fmla="*/ 530833 h 9250612"/>
                <a:gd name="connsiteX10848" fmla="*/ 4559177 w 6942639"/>
                <a:gd name="connsiteY10848" fmla="*/ 521873 h 9250612"/>
                <a:gd name="connsiteX10849" fmla="*/ 4568137 w 6942639"/>
                <a:gd name="connsiteY10849" fmla="*/ 512913 h 9250612"/>
                <a:gd name="connsiteX10850" fmla="*/ 4736878 w 6942639"/>
                <a:gd name="connsiteY10850" fmla="*/ 512913 h 9250612"/>
                <a:gd name="connsiteX10851" fmla="*/ 4745839 w 6942639"/>
                <a:gd name="connsiteY10851" fmla="*/ 521873 h 9250612"/>
                <a:gd name="connsiteX10852" fmla="*/ 4736878 w 6942639"/>
                <a:gd name="connsiteY10852" fmla="*/ 530833 h 9250612"/>
                <a:gd name="connsiteX10853" fmla="*/ 4727918 w 6942639"/>
                <a:gd name="connsiteY10853" fmla="*/ 521873 h 9250612"/>
                <a:gd name="connsiteX10854" fmla="*/ 4736878 w 6942639"/>
                <a:gd name="connsiteY10854" fmla="*/ 512913 h 9250612"/>
                <a:gd name="connsiteX10855" fmla="*/ 4905620 w 6942639"/>
                <a:gd name="connsiteY10855" fmla="*/ 512913 h 9250612"/>
                <a:gd name="connsiteX10856" fmla="*/ 4914581 w 6942639"/>
                <a:gd name="connsiteY10856" fmla="*/ 521873 h 9250612"/>
                <a:gd name="connsiteX10857" fmla="*/ 4905620 w 6942639"/>
                <a:gd name="connsiteY10857" fmla="*/ 530833 h 9250612"/>
                <a:gd name="connsiteX10858" fmla="*/ 4896660 w 6942639"/>
                <a:gd name="connsiteY10858" fmla="*/ 521873 h 9250612"/>
                <a:gd name="connsiteX10859" fmla="*/ 4905620 w 6942639"/>
                <a:gd name="connsiteY10859" fmla="*/ 512913 h 9250612"/>
                <a:gd name="connsiteX10860" fmla="*/ 5074362 w 6942639"/>
                <a:gd name="connsiteY10860" fmla="*/ 512913 h 9250612"/>
                <a:gd name="connsiteX10861" fmla="*/ 5083323 w 6942639"/>
                <a:gd name="connsiteY10861" fmla="*/ 521873 h 9250612"/>
                <a:gd name="connsiteX10862" fmla="*/ 5074362 w 6942639"/>
                <a:gd name="connsiteY10862" fmla="*/ 530833 h 9250612"/>
                <a:gd name="connsiteX10863" fmla="*/ 5065402 w 6942639"/>
                <a:gd name="connsiteY10863" fmla="*/ 521873 h 9250612"/>
                <a:gd name="connsiteX10864" fmla="*/ 5074362 w 6942639"/>
                <a:gd name="connsiteY10864" fmla="*/ 512913 h 9250612"/>
                <a:gd name="connsiteX10865" fmla="*/ 5243103 w 6942639"/>
                <a:gd name="connsiteY10865" fmla="*/ 512912 h 9250612"/>
                <a:gd name="connsiteX10866" fmla="*/ 5252064 w 6942639"/>
                <a:gd name="connsiteY10866" fmla="*/ 521873 h 9250612"/>
                <a:gd name="connsiteX10867" fmla="*/ 5243103 w 6942639"/>
                <a:gd name="connsiteY10867" fmla="*/ 530833 h 9250612"/>
                <a:gd name="connsiteX10868" fmla="*/ 5234143 w 6942639"/>
                <a:gd name="connsiteY10868" fmla="*/ 521873 h 9250612"/>
                <a:gd name="connsiteX10869" fmla="*/ 5243103 w 6942639"/>
                <a:gd name="connsiteY10869" fmla="*/ 512912 h 9250612"/>
                <a:gd name="connsiteX10870" fmla="*/ 5411845 w 6942639"/>
                <a:gd name="connsiteY10870" fmla="*/ 512912 h 9250612"/>
                <a:gd name="connsiteX10871" fmla="*/ 5420806 w 6942639"/>
                <a:gd name="connsiteY10871" fmla="*/ 521872 h 9250612"/>
                <a:gd name="connsiteX10872" fmla="*/ 5411845 w 6942639"/>
                <a:gd name="connsiteY10872" fmla="*/ 530833 h 9250612"/>
                <a:gd name="connsiteX10873" fmla="*/ 5402885 w 6942639"/>
                <a:gd name="connsiteY10873" fmla="*/ 521872 h 9250612"/>
                <a:gd name="connsiteX10874" fmla="*/ 5411845 w 6942639"/>
                <a:gd name="connsiteY10874" fmla="*/ 512912 h 9250612"/>
                <a:gd name="connsiteX10875" fmla="*/ 5580586 w 6942639"/>
                <a:gd name="connsiteY10875" fmla="*/ 512912 h 9250612"/>
                <a:gd name="connsiteX10876" fmla="*/ 5589547 w 6942639"/>
                <a:gd name="connsiteY10876" fmla="*/ 521872 h 9250612"/>
                <a:gd name="connsiteX10877" fmla="*/ 5580586 w 6942639"/>
                <a:gd name="connsiteY10877" fmla="*/ 530833 h 9250612"/>
                <a:gd name="connsiteX10878" fmla="*/ 5571626 w 6942639"/>
                <a:gd name="connsiteY10878" fmla="*/ 521872 h 9250612"/>
                <a:gd name="connsiteX10879" fmla="*/ 5580586 w 6942639"/>
                <a:gd name="connsiteY10879" fmla="*/ 512912 h 9250612"/>
                <a:gd name="connsiteX10880" fmla="*/ 5918069 w 6942639"/>
                <a:gd name="connsiteY10880" fmla="*/ 512912 h 9250612"/>
                <a:gd name="connsiteX10881" fmla="*/ 5927030 w 6942639"/>
                <a:gd name="connsiteY10881" fmla="*/ 521872 h 9250612"/>
                <a:gd name="connsiteX10882" fmla="*/ 5918069 w 6942639"/>
                <a:gd name="connsiteY10882" fmla="*/ 530832 h 9250612"/>
                <a:gd name="connsiteX10883" fmla="*/ 5909109 w 6942639"/>
                <a:gd name="connsiteY10883" fmla="*/ 521872 h 9250612"/>
                <a:gd name="connsiteX10884" fmla="*/ 5918069 w 6942639"/>
                <a:gd name="connsiteY10884" fmla="*/ 512912 h 9250612"/>
                <a:gd name="connsiteX10885" fmla="*/ 5749328 w 6942639"/>
                <a:gd name="connsiteY10885" fmla="*/ 512912 h 9250612"/>
                <a:gd name="connsiteX10886" fmla="*/ 5758289 w 6942639"/>
                <a:gd name="connsiteY10886" fmla="*/ 521872 h 9250612"/>
                <a:gd name="connsiteX10887" fmla="*/ 5749328 w 6942639"/>
                <a:gd name="connsiteY10887" fmla="*/ 530833 h 9250612"/>
                <a:gd name="connsiteX10888" fmla="*/ 5740368 w 6942639"/>
                <a:gd name="connsiteY10888" fmla="*/ 521872 h 9250612"/>
                <a:gd name="connsiteX10889" fmla="*/ 5749328 w 6942639"/>
                <a:gd name="connsiteY10889" fmla="*/ 512912 h 9250612"/>
                <a:gd name="connsiteX10890" fmla="*/ 6086811 w 6942639"/>
                <a:gd name="connsiteY10890" fmla="*/ 512912 h 9250612"/>
                <a:gd name="connsiteX10891" fmla="*/ 6095772 w 6942639"/>
                <a:gd name="connsiteY10891" fmla="*/ 521872 h 9250612"/>
                <a:gd name="connsiteX10892" fmla="*/ 6086811 w 6942639"/>
                <a:gd name="connsiteY10892" fmla="*/ 530832 h 9250612"/>
                <a:gd name="connsiteX10893" fmla="*/ 6077851 w 6942639"/>
                <a:gd name="connsiteY10893" fmla="*/ 521872 h 9250612"/>
                <a:gd name="connsiteX10894" fmla="*/ 6086811 w 6942639"/>
                <a:gd name="connsiteY10894" fmla="*/ 512912 h 9250612"/>
                <a:gd name="connsiteX10895" fmla="*/ 6255553 w 6942639"/>
                <a:gd name="connsiteY10895" fmla="*/ 512912 h 9250612"/>
                <a:gd name="connsiteX10896" fmla="*/ 6264514 w 6942639"/>
                <a:gd name="connsiteY10896" fmla="*/ 521872 h 9250612"/>
                <a:gd name="connsiteX10897" fmla="*/ 6255553 w 6942639"/>
                <a:gd name="connsiteY10897" fmla="*/ 530832 h 9250612"/>
                <a:gd name="connsiteX10898" fmla="*/ 6246593 w 6942639"/>
                <a:gd name="connsiteY10898" fmla="*/ 521872 h 9250612"/>
                <a:gd name="connsiteX10899" fmla="*/ 6255553 w 6942639"/>
                <a:gd name="connsiteY10899" fmla="*/ 512912 h 9250612"/>
                <a:gd name="connsiteX10900" fmla="*/ 6424294 w 6942639"/>
                <a:gd name="connsiteY10900" fmla="*/ 512912 h 9250612"/>
                <a:gd name="connsiteX10901" fmla="*/ 6433255 w 6942639"/>
                <a:gd name="connsiteY10901" fmla="*/ 521872 h 9250612"/>
                <a:gd name="connsiteX10902" fmla="*/ 6424294 w 6942639"/>
                <a:gd name="connsiteY10902" fmla="*/ 530832 h 9250612"/>
                <a:gd name="connsiteX10903" fmla="*/ 6415334 w 6942639"/>
                <a:gd name="connsiteY10903" fmla="*/ 521872 h 9250612"/>
                <a:gd name="connsiteX10904" fmla="*/ 6424294 w 6942639"/>
                <a:gd name="connsiteY10904" fmla="*/ 512912 h 9250612"/>
                <a:gd name="connsiteX10905" fmla="*/ 6593035 w 6942639"/>
                <a:gd name="connsiteY10905" fmla="*/ 512911 h 9250612"/>
                <a:gd name="connsiteX10906" fmla="*/ 6601996 w 6942639"/>
                <a:gd name="connsiteY10906" fmla="*/ 521872 h 9250612"/>
                <a:gd name="connsiteX10907" fmla="*/ 6593035 w 6942639"/>
                <a:gd name="connsiteY10907" fmla="*/ 530832 h 9250612"/>
                <a:gd name="connsiteX10908" fmla="*/ 6584075 w 6942639"/>
                <a:gd name="connsiteY10908" fmla="*/ 521872 h 9250612"/>
                <a:gd name="connsiteX10909" fmla="*/ 6593035 w 6942639"/>
                <a:gd name="connsiteY10909" fmla="*/ 512911 h 9250612"/>
                <a:gd name="connsiteX10910" fmla="*/ 6763357 w 6942639"/>
                <a:gd name="connsiteY10910" fmla="*/ 512911 h 9250612"/>
                <a:gd name="connsiteX10911" fmla="*/ 6772318 w 6942639"/>
                <a:gd name="connsiteY10911" fmla="*/ 521872 h 9250612"/>
                <a:gd name="connsiteX10912" fmla="*/ 6763357 w 6942639"/>
                <a:gd name="connsiteY10912" fmla="*/ 530832 h 9250612"/>
                <a:gd name="connsiteX10913" fmla="*/ 6754397 w 6942639"/>
                <a:gd name="connsiteY10913" fmla="*/ 521872 h 9250612"/>
                <a:gd name="connsiteX10914" fmla="*/ 6763357 w 6942639"/>
                <a:gd name="connsiteY10914" fmla="*/ 512911 h 9250612"/>
                <a:gd name="connsiteX10915" fmla="*/ 6933679 w 6942639"/>
                <a:gd name="connsiteY10915" fmla="*/ 512911 h 9250612"/>
                <a:gd name="connsiteX10916" fmla="*/ 6942639 w 6942639"/>
                <a:gd name="connsiteY10916" fmla="*/ 521871 h 9250612"/>
                <a:gd name="connsiteX10917" fmla="*/ 6933679 w 6942639"/>
                <a:gd name="connsiteY10917" fmla="*/ 530832 h 9250612"/>
                <a:gd name="connsiteX10918" fmla="*/ 6924718 w 6942639"/>
                <a:gd name="connsiteY10918" fmla="*/ 521871 h 9250612"/>
                <a:gd name="connsiteX10919" fmla="*/ 6933679 w 6942639"/>
                <a:gd name="connsiteY10919" fmla="*/ 512911 h 9250612"/>
                <a:gd name="connsiteX10920" fmla="*/ 349805 w 6942639"/>
                <a:gd name="connsiteY10920" fmla="*/ 341946 h 9250612"/>
                <a:gd name="connsiteX10921" fmla="*/ 358766 w 6942639"/>
                <a:gd name="connsiteY10921" fmla="*/ 350906 h 9250612"/>
                <a:gd name="connsiteX10922" fmla="*/ 349805 w 6942639"/>
                <a:gd name="connsiteY10922" fmla="*/ 359866 h 9250612"/>
                <a:gd name="connsiteX10923" fmla="*/ 340846 w 6942639"/>
                <a:gd name="connsiteY10923" fmla="*/ 350906 h 9250612"/>
                <a:gd name="connsiteX10924" fmla="*/ 349805 w 6942639"/>
                <a:gd name="connsiteY10924" fmla="*/ 341946 h 9250612"/>
                <a:gd name="connsiteX10925" fmla="*/ 179489 w 6942639"/>
                <a:gd name="connsiteY10925" fmla="*/ 341946 h 9250612"/>
                <a:gd name="connsiteX10926" fmla="*/ 188450 w 6942639"/>
                <a:gd name="connsiteY10926" fmla="*/ 350906 h 9250612"/>
                <a:gd name="connsiteX10927" fmla="*/ 179489 w 6942639"/>
                <a:gd name="connsiteY10927" fmla="*/ 359866 h 9250612"/>
                <a:gd name="connsiteX10928" fmla="*/ 170529 w 6942639"/>
                <a:gd name="connsiteY10928" fmla="*/ 350906 h 9250612"/>
                <a:gd name="connsiteX10929" fmla="*/ 179489 w 6942639"/>
                <a:gd name="connsiteY10929" fmla="*/ 341946 h 9250612"/>
                <a:gd name="connsiteX10930" fmla="*/ 9175 w 6942639"/>
                <a:gd name="connsiteY10930" fmla="*/ 341946 h 9250612"/>
                <a:gd name="connsiteX10931" fmla="*/ 18134 w 6942639"/>
                <a:gd name="connsiteY10931" fmla="*/ 350906 h 9250612"/>
                <a:gd name="connsiteX10932" fmla="*/ 9175 w 6942639"/>
                <a:gd name="connsiteY10932" fmla="*/ 359866 h 9250612"/>
                <a:gd name="connsiteX10933" fmla="*/ 215 w 6942639"/>
                <a:gd name="connsiteY10933" fmla="*/ 350906 h 9250612"/>
                <a:gd name="connsiteX10934" fmla="*/ 9175 w 6942639"/>
                <a:gd name="connsiteY10934" fmla="*/ 341946 h 9250612"/>
                <a:gd name="connsiteX10935" fmla="*/ 518542 w 6942639"/>
                <a:gd name="connsiteY10935" fmla="*/ 341946 h 9250612"/>
                <a:gd name="connsiteX10936" fmla="*/ 527502 w 6942639"/>
                <a:gd name="connsiteY10936" fmla="*/ 350906 h 9250612"/>
                <a:gd name="connsiteX10937" fmla="*/ 518542 w 6942639"/>
                <a:gd name="connsiteY10937" fmla="*/ 359866 h 9250612"/>
                <a:gd name="connsiteX10938" fmla="*/ 509581 w 6942639"/>
                <a:gd name="connsiteY10938" fmla="*/ 350906 h 9250612"/>
                <a:gd name="connsiteX10939" fmla="*/ 518542 w 6942639"/>
                <a:gd name="connsiteY10939" fmla="*/ 341946 h 9250612"/>
                <a:gd name="connsiteX10940" fmla="*/ 687326 w 6942639"/>
                <a:gd name="connsiteY10940" fmla="*/ 341946 h 9250612"/>
                <a:gd name="connsiteX10941" fmla="*/ 696286 w 6942639"/>
                <a:gd name="connsiteY10941" fmla="*/ 350906 h 9250612"/>
                <a:gd name="connsiteX10942" fmla="*/ 687326 w 6942639"/>
                <a:gd name="connsiteY10942" fmla="*/ 359866 h 9250612"/>
                <a:gd name="connsiteX10943" fmla="*/ 678368 w 6942639"/>
                <a:gd name="connsiteY10943" fmla="*/ 350906 h 9250612"/>
                <a:gd name="connsiteX10944" fmla="*/ 687326 w 6942639"/>
                <a:gd name="connsiteY10944" fmla="*/ 341946 h 9250612"/>
                <a:gd name="connsiteX10945" fmla="*/ 856063 w 6942639"/>
                <a:gd name="connsiteY10945" fmla="*/ 341945 h 9250612"/>
                <a:gd name="connsiteX10946" fmla="*/ 865023 w 6942639"/>
                <a:gd name="connsiteY10946" fmla="*/ 350906 h 9250612"/>
                <a:gd name="connsiteX10947" fmla="*/ 856063 w 6942639"/>
                <a:gd name="connsiteY10947" fmla="*/ 359866 h 9250612"/>
                <a:gd name="connsiteX10948" fmla="*/ 847104 w 6942639"/>
                <a:gd name="connsiteY10948" fmla="*/ 350906 h 9250612"/>
                <a:gd name="connsiteX10949" fmla="*/ 856063 w 6942639"/>
                <a:gd name="connsiteY10949" fmla="*/ 341945 h 9250612"/>
                <a:gd name="connsiteX10950" fmla="*/ 1024783 w 6942639"/>
                <a:gd name="connsiteY10950" fmla="*/ 341945 h 9250612"/>
                <a:gd name="connsiteX10951" fmla="*/ 1033752 w 6942639"/>
                <a:gd name="connsiteY10951" fmla="*/ 350905 h 9250612"/>
                <a:gd name="connsiteX10952" fmla="*/ 1024783 w 6942639"/>
                <a:gd name="connsiteY10952" fmla="*/ 359866 h 9250612"/>
                <a:gd name="connsiteX10953" fmla="*/ 1015823 w 6942639"/>
                <a:gd name="connsiteY10953" fmla="*/ 350905 h 9250612"/>
                <a:gd name="connsiteX10954" fmla="*/ 1024783 w 6942639"/>
                <a:gd name="connsiteY10954" fmla="*/ 341945 h 9250612"/>
                <a:gd name="connsiteX10955" fmla="*/ 1193543 w 6942639"/>
                <a:gd name="connsiteY10955" fmla="*/ 341945 h 9250612"/>
                <a:gd name="connsiteX10956" fmla="*/ 1202503 w 6942639"/>
                <a:gd name="connsiteY10956" fmla="*/ 350905 h 9250612"/>
                <a:gd name="connsiteX10957" fmla="*/ 1193543 w 6942639"/>
                <a:gd name="connsiteY10957" fmla="*/ 359865 h 9250612"/>
                <a:gd name="connsiteX10958" fmla="*/ 1184586 w 6942639"/>
                <a:gd name="connsiteY10958" fmla="*/ 350905 h 9250612"/>
                <a:gd name="connsiteX10959" fmla="*/ 1193543 w 6942639"/>
                <a:gd name="connsiteY10959" fmla="*/ 341945 h 9250612"/>
                <a:gd name="connsiteX10960" fmla="*/ 1362285 w 6942639"/>
                <a:gd name="connsiteY10960" fmla="*/ 341945 h 9250612"/>
                <a:gd name="connsiteX10961" fmla="*/ 1371248 w 6942639"/>
                <a:gd name="connsiteY10961" fmla="*/ 350905 h 9250612"/>
                <a:gd name="connsiteX10962" fmla="*/ 1362285 w 6942639"/>
                <a:gd name="connsiteY10962" fmla="*/ 359865 h 9250612"/>
                <a:gd name="connsiteX10963" fmla="*/ 1353324 w 6942639"/>
                <a:gd name="connsiteY10963" fmla="*/ 350905 h 9250612"/>
                <a:gd name="connsiteX10964" fmla="*/ 1362285 w 6942639"/>
                <a:gd name="connsiteY10964" fmla="*/ 341945 h 9250612"/>
                <a:gd name="connsiteX10965" fmla="*/ 1531041 w 6942639"/>
                <a:gd name="connsiteY10965" fmla="*/ 341945 h 9250612"/>
                <a:gd name="connsiteX10966" fmla="*/ 1540003 w 6942639"/>
                <a:gd name="connsiteY10966" fmla="*/ 350905 h 9250612"/>
                <a:gd name="connsiteX10967" fmla="*/ 1531041 w 6942639"/>
                <a:gd name="connsiteY10967" fmla="*/ 359865 h 9250612"/>
                <a:gd name="connsiteX10968" fmla="*/ 1522078 w 6942639"/>
                <a:gd name="connsiteY10968" fmla="*/ 350905 h 9250612"/>
                <a:gd name="connsiteX10969" fmla="*/ 1531041 w 6942639"/>
                <a:gd name="connsiteY10969" fmla="*/ 341945 h 9250612"/>
                <a:gd name="connsiteX10970" fmla="*/ 1699781 w 6942639"/>
                <a:gd name="connsiteY10970" fmla="*/ 341945 h 9250612"/>
                <a:gd name="connsiteX10971" fmla="*/ 1708755 w 6942639"/>
                <a:gd name="connsiteY10971" fmla="*/ 350905 h 9250612"/>
                <a:gd name="connsiteX10972" fmla="*/ 1699781 w 6942639"/>
                <a:gd name="connsiteY10972" fmla="*/ 359865 h 9250612"/>
                <a:gd name="connsiteX10973" fmla="*/ 1690811 w 6942639"/>
                <a:gd name="connsiteY10973" fmla="*/ 350905 h 9250612"/>
                <a:gd name="connsiteX10974" fmla="*/ 1699781 w 6942639"/>
                <a:gd name="connsiteY10974" fmla="*/ 341945 h 9250612"/>
                <a:gd name="connsiteX10975" fmla="*/ 1868539 w 6942639"/>
                <a:gd name="connsiteY10975" fmla="*/ 341945 h 9250612"/>
                <a:gd name="connsiteX10976" fmla="*/ 1877481 w 6942639"/>
                <a:gd name="connsiteY10976" fmla="*/ 350905 h 9250612"/>
                <a:gd name="connsiteX10977" fmla="*/ 1868539 w 6942639"/>
                <a:gd name="connsiteY10977" fmla="*/ 359865 h 9250612"/>
                <a:gd name="connsiteX10978" fmla="*/ 1859557 w 6942639"/>
                <a:gd name="connsiteY10978" fmla="*/ 350905 h 9250612"/>
                <a:gd name="connsiteX10979" fmla="*/ 1868539 w 6942639"/>
                <a:gd name="connsiteY10979" fmla="*/ 341945 h 9250612"/>
                <a:gd name="connsiteX10980" fmla="*/ 2037237 w 6942639"/>
                <a:gd name="connsiteY10980" fmla="*/ 341944 h 9250612"/>
                <a:gd name="connsiteX10981" fmla="*/ 2046167 w 6942639"/>
                <a:gd name="connsiteY10981" fmla="*/ 350905 h 9250612"/>
                <a:gd name="connsiteX10982" fmla="*/ 2037237 w 6942639"/>
                <a:gd name="connsiteY10982" fmla="*/ 359865 h 9250612"/>
                <a:gd name="connsiteX10983" fmla="*/ 2028303 w 6942639"/>
                <a:gd name="connsiteY10983" fmla="*/ 350905 h 9250612"/>
                <a:gd name="connsiteX10984" fmla="*/ 2037237 w 6942639"/>
                <a:gd name="connsiteY10984" fmla="*/ 341944 h 9250612"/>
                <a:gd name="connsiteX10985" fmla="*/ 2374663 w 6942639"/>
                <a:gd name="connsiteY10985" fmla="*/ 341944 h 9250612"/>
                <a:gd name="connsiteX10986" fmla="*/ 2383689 w 6942639"/>
                <a:gd name="connsiteY10986" fmla="*/ 350904 h 9250612"/>
                <a:gd name="connsiteX10987" fmla="*/ 2374663 w 6942639"/>
                <a:gd name="connsiteY10987" fmla="*/ 359865 h 9250612"/>
                <a:gd name="connsiteX10988" fmla="*/ 2365700 w 6942639"/>
                <a:gd name="connsiteY10988" fmla="*/ 350904 h 9250612"/>
                <a:gd name="connsiteX10989" fmla="*/ 2374663 w 6942639"/>
                <a:gd name="connsiteY10989" fmla="*/ 341944 h 9250612"/>
                <a:gd name="connsiteX10990" fmla="*/ 2205977 w 6942639"/>
                <a:gd name="connsiteY10990" fmla="*/ 341944 h 9250612"/>
                <a:gd name="connsiteX10991" fmla="*/ 2214931 w 6942639"/>
                <a:gd name="connsiteY10991" fmla="*/ 350905 h 9250612"/>
                <a:gd name="connsiteX10992" fmla="*/ 2205977 w 6942639"/>
                <a:gd name="connsiteY10992" fmla="*/ 359865 h 9250612"/>
                <a:gd name="connsiteX10993" fmla="*/ 2196978 w 6942639"/>
                <a:gd name="connsiteY10993" fmla="*/ 350905 h 9250612"/>
                <a:gd name="connsiteX10994" fmla="*/ 2205977 w 6942639"/>
                <a:gd name="connsiteY10994" fmla="*/ 341944 h 9250612"/>
                <a:gd name="connsiteX10995" fmla="*/ 2543481 w 6942639"/>
                <a:gd name="connsiteY10995" fmla="*/ 341944 h 9250612"/>
                <a:gd name="connsiteX10996" fmla="*/ 2552446 w 6942639"/>
                <a:gd name="connsiteY10996" fmla="*/ 350904 h 9250612"/>
                <a:gd name="connsiteX10997" fmla="*/ 2543481 w 6942639"/>
                <a:gd name="connsiteY10997" fmla="*/ 359865 h 9250612"/>
                <a:gd name="connsiteX10998" fmla="*/ 2534505 w 6942639"/>
                <a:gd name="connsiteY10998" fmla="*/ 350904 h 9250612"/>
                <a:gd name="connsiteX10999" fmla="*/ 2543481 w 6942639"/>
                <a:gd name="connsiteY10999" fmla="*/ 341944 h 9250612"/>
                <a:gd name="connsiteX11000" fmla="*/ 2712144 w 6942639"/>
                <a:gd name="connsiteY11000" fmla="*/ 341944 h 9250612"/>
                <a:gd name="connsiteX11001" fmla="*/ 2721129 w 6942639"/>
                <a:gd name="connsiteY11001" fmla="*/ 350904 h 9250612"/>
                <a:gd name="connsiteX11002" fmla="*/ 2712144 w 6942639"/>
                <a:gd name="connsiteY11002" fmla="*/ 359864 h 9250612"/>
                <a:gd name="connsiteX11003" fmla="*/ 2703196 w 6942639"/>
                <a:gd name="connsiteY11003" fmla="*/ 350904 h 9250612"/>
                <a:gd name="connsiteX11004" fmla="*/ 2712144 w 6942639"/>
                <a:gd name="connsiteY11004" fmla="*/ 341944 h 9250612"/>
                <a:gd name="connsiteX11005" fmla="*/ 2880925 w 6942639"/>
                <a:gd name="connsiteY11005" fmla="*/ 341944 h 9250612"/>
                <a:gd name="connsiteX11006" fmla="*/ 2889879 w 6942639"/>
                <a:gd name="connsiteY11006" fmla="*/ 350904 h 9250612"/>
                <a:gd name="connsiteX11007" fmla="*/ 2880925 w 6942639"/>
                <a:gd name="connsiteY11007" fmla="*/ 359864 h 9250612"/>
                <a:gd name="connsiteX11008" fmla="*/ 2871968 w 6942639"/>
                <a:gd name="connsiteY11008" fmla="*/ 350904 h 9250612"/>
                <a:gd name="connsiteX11009" fmla="*/ 2880925 w 6942639"/>
                <a:gd name="connsiteY11009" fmla="*/ 341944 h 9250612"/>
                <a:gd name="connsiteX11010" fmla="*/ 3049636 w 6942639"/>
                <a:gd name="connsiteY11010" fmla="*/ 341944 h 9250612"/>
                <a:gd name="connsiteX11011" fmla="*/ 3058593 w 6942639"/>
                <a:gd name="connsiteY11011" fmla="*/ 350904 h 9250612"/>
                <a:gd name="connsiteX11012" fmla="*/ 3049636 w 6942639"/>
                <a:gd name="connsiteY11012" fmla="*/ 359864 h 9250612"/>
                <a:gd name="connsiteX11013" fmla="*/ 3040666 w 6942639"/>
                <a:gd name="connsiteY11013" fmla="*/ 350904 h 9250612"/>
                <a:gd name="connsiteX11014" fmla="*/ 3049636 w 6942639"/>
                <a:gd name="connsiteY11014" fmla="*/ 341944 h 9250612"/>
                <a:gd name="connsiteX11015" fmla="*/ 3218329 w 6942639"/>
                <a:gd name="connsiteY11015" fmla="*/ 341944 h 9250612"/>
                <a:gd name="connsiteX11016" fmla="*/ 3227305 w 6942639"/>
                <a:gd name="connsiteY11016" fmla="*/ 350904 h 9250612"/>
                <a:gd name="connsiteX11017" fmla="*/ 3218329 w 6942639"/>
                <a:gd name="connsiteY11017" fmla="*/ 359864 h 9250612"/>
                <a:gd name="connsiteX11018" fmla="*/ 3209359 w 6942639"/>
                <a:gd name="connsiteY11018" fmla="*/ 350904 h 9250612"/>
                <a:gd name="connsiteX11019" fmla="*/ 3218329 w 6942639"/>
                <a:gd name="connsiteY11019" fmla="*/ 341944 h 9250612"/>
                <a:gd name="connsiteX11020" fmla="*/ 3387079 w 6942639"/>
                <a:gd name="connsiteY11020" fmla="*/ 341943 h 9250612"/>
                <a:gd name="connsiteX11021" fmla="*/ 3396064 w 6942639"/>
                <a:gd name="connsiteY11021" fmla="*/ 350904 h 9250612"/>
                <a:gd name="connsiteX11022" fmla="*/ 3387079 w 6942639"/>
                <a:gd name="connsiteY11022" fmla="*/ 359864 h 9250612"/>
                <a:gd name="connsiteX11023" fmla="*/ 3378065 w 6942639"/>
                <a:gd name="connsiteY11023" fmla="*/ 350904 h 9250612"/>
                <a:gd name="connsiteX11024" fmla="*/ 3387079 w 6942639"/>
                <a:gd name="connsiteY11024" fmla="*/ 341943 h 9250612"/>
                <a:gd name="connsiteX11025" fmla="*/ 3555688 w 6942639"/>
                <a:gd name="connsiteY11025" fmla="*/ 341943 h 9250612"/>
                <a:gd name="connsiteX11026" fmla="*/ 3564649 w 6942639"/>
                <a:gd name="connsiteY11026" fmla="*/ 350904 h 9250612"/>
                <a:gd name="connsiteX11027" fmla="*/ 3555688 w 6942639"/>
                <a:gd name="connsiteY11027" fmla="*/ 359864 h 9250612"/>
                <a:gd name="connsiteX11028" fmla="*/ 3546728 w 6942639"/>
                <a:gd name="connsiteY11028" fmla="*/ 350904 h 9250612"/>
                <a:gd name="connsiteX11029" fmla="*/ 3555688 w 6942639"/>
                <a:gd name="connsiteY11029" fmla="*/ 341943 h 9250612"/>
                <a:gd name="connsiteX11030" fmla="*/ 3724429 w 6942639"/>
                <a:gd name="connsiteY11030" fmla="*/ 341943 h 9250612"/>
                <a:gd name="connsiteX11031" fmla="*/ 3733390 w 6942639"/>
                <a:gd name="connsiteY11031" fmla="*/ 350903 h 9250612"/>
                <a:gd name="connsiteX11032" fmla="*/ 3724429 w 6942639"/>
                <a:gd name="connsiteY11032" fmla="*/ 359864 h 9250612"/>
                <a:gd name="connsiteX11033" fmla="*/ 3715469 w 6942639"/>
                <a:gd name="connsiteY11033" fmla="*/ 350903 h 9250612"/>
                <a:gd name="connsiteX11034" fmla="*/ 3724429 w 6942639"/>
                <a:gd name="connsiteY11034" fmla="*/ 341943 h 9250612"/>
                <a:gd name="connsiteX11035" fmla="*/ 3893170 w 6942639"/>
                <a:gd name="connsiteY11035" fmla="*/ 341943 h 9250612"/>
                <a:gd name="connsiteX11036" fmla="*/ 3902131 w 6942639"/>
                <a:gd name="connsiteY11036" fmla="*/ 350903 h 9250612"/>
                <a:gd name="connsiteX11037" fmla="*/ 3893170 w 6942639"/>
                <a:gd name="connsiteY11037" fmla="*/ 359864 h 9250612"/>
                <a:gd name="connsiteX11038" fmla="*/ 3884210 w 6942639"/>
                <a:gd name="connsiteY11038" fmla="*/ 350903 h 9250612"/>
                <a:gd name="connsiteX11039" fmla="*/ 3893170 w 6942639"/>
                <a:gd name="connsiteY11039" fmla="*/ 341943 h 9250612"/>
                <a:gd name="connsiteX11040" fmla="*/ 4061912 w 6942639"/>
                <a:gd name="connsiteY11040" fmla="*/ 341943 h 9250612"/>
                <a:gd name="connsiteX11041" fmla="*/ 4070873 w 6942639"/>
                <a:gd name="connsiteY11041" fmla="*/ 350903 h 9250612"/>
                <a:gd name="connsiteX11042" fmla="*/ 4061912 w 6942639"/>
                <a:gd name="connsiteY11042" fmla="*/ 359863 h 9250612"/>
                <a:gd name="connsiteX11043" fmla="*/ 4052952 w 6942639"/>
                <a:gd name="connsiteY11043" fmla="*/ 350903 h 9250612"/>
                <a:gd name="connsiteX11044" fmla="*/ 4061912 w 6942639"/>
                <a:gd name="connsiteY11044" fmla="*/ 341943 h 9250612"/>
                <a:gd name="connsiteX11045" fmla="*/ 4230654 w 6942639"/>
                <a:gd name="connsiteY11045" fmla="*/ 341943 h 9250612"/>
                <a:gd name="connsiteX11046" fmla="*/ 4239615 w 6942639"/>
                <a:gd name="connsiteY11046" fmla="*/ 350903 h 9250612"/>
                <a:gd name="connsiteX11047" fmla="*/ 4230654 w 6942639"/>
                <a:gd name="connsiteY11047" fmla="*/ 359863 h 9250612"/>
                <a:gd name="connsiteX11048" fmla="*/ 4221694 w 6942639"/>
                <a:gd name="connsiteY11048" fmla="*/ 350903 h 9250612"/>
                <a:gd name="connsiteX11049" fmla="*/ 4230654 w 6942639"/>
                <a:gd name="connsiteY11049" fmla="*/ 341943 h 9250612"/>
                <a:gd name="connsiteX11050" fmla="*/ 4568137 w 6942639"/>
                <a:gd name="connsiteY11050" fmla="*/ 341943 h 9250612"/>
                <a:gd name="connsiteX11051" fmla="*/ 4577098 w 6942639"/>
                <a:gd name="connsiteY11051" fmla="*/ 350903 h 9250612"/>
                <a:gd name="connsiteX11052" fmla="*/ 4568137 w 6942639"/>
                <a:gd name="connsiteY11052" fmla="*/ 359863 h 9250612"/>
                <a:gd name="connsiteX11053" fmla="*/ 4559177 w 6942639"/>
                <a:gd name="connsiteY11053" fmla="*/ 350903 h 9250612"/>
                <a:gd name="connsiteX11054" fmla="*/ 4568137 w 6942639"/>
                <a:gd name="connsiteY11054" fmla="*/ 341943 h 9250612"/>
                <a:gd name="connsiteX11055" fmla="*/ 4399396 w 6942639"/>
                <a:gd name="connsiteY11055" fmla="*/ 341943 h 9250612"/>
                <a:gd name="connsiteX11056" fmla="*/ 4408357 w 6942639"/>
                <a:gd name="connsiteY11056" fmla="*/ 350903 h 9250612"/>
                <a:gd name="connsiteX11057" fmla="*/ 4399396 w 6942639"/>
                <a:gd name="connsiteY11057" fmla="*/ 359863 h 9250612"/>
                <a:gd name="connsiteX11058" fmla="*/ 4390436 w 6942639"/>
                <a:gd name="connsiteY11058" fmla="*/ 350903 h 9250612"/>
                <a:gd name="connsiteX11059" fmla="*/ 4399396 w 6942639"/>
                <a:gd name="connsiteY11059" fmla="*/ 341943 h 9250612"/>
                <a:gd name="connsiteX11060" fmla="*/ 4736878 w 6942639"/>
                <a:gd name="connsiteY11060" fmla="*/ 341942 h 9250612"/>
                <a:gd name="connsiteX11061" fmla="*/ 4745839 w 6942639"/>
                <a:gd name="connsiteY11061" fmla="*/ 350903 h 9250612"/>
                <a:gd name="connsiteX11062" fmla="*/ 4736878 w 6942639"/>
                <a:gd name="connsiteY11062" fmla="*/ 359863 h 9250612"/>
                <a:gd name="connsiteX11063" fmla="*/ 4727918 w 6942639"/>
                <a:gd name="connsiteY11063" fmla="*/ 350903 h 9250612"/>
                <a:gd name="connsiteX11064" fmla="*/ 4736878 w 6942639"/>
                <a:gd name="connsiteY11064" fmla="*/ 341942 h 9250612"/>
                <a:gd name="connsiteX11065" fmla="*/ 4905620 w 6942639"/>
                <a:gd name="connsiteY11065" fmla="*/ 341942 h 9250612"/>
                <a:gd name="connsiteX11066" fmla="*/ 4914581 w 6942639"/>
                <a:gd name="connsiteY11066" fmla="*/ 350903 h 9250612"/>
                <a:gd name="connsiteX11067" fmla="*/ 4905620 w 6942639"/>
                <a:gd name="connsiteY11067" fmla="*/ 359863 h 9250612"/>
                <a:gd name="connsiteX11068" fmla="*/ 4896660 w 6942639"/>
                <a:gd name="connsiteY11068" fmla="*/ 350903 h 9250612"/>
                <a:gd name="connsiteX11069" fmla="*/ 4905620 w 6942639"/>
                <a:gd name="connsiteY11069" fmla="*/ 341942 h 9250612"/>
                <a:gd name="connsiteX11070" fmla="*/ 5074362 w 6942639"/>
                <a:gd name="connsiteY11070" fmla="*/ 341942 h 9250612"/>
                <a:gd name="connsiteX11071" fmla="*/ 5083323 w 6942639"/>
                <a:gd name="connsiteY11071" fmla="*/ 350902 h 9250612"/>
                <a:gd name="connsiteX11072" fmla="*/ 5074362 w 6942639"/>
                <a:gd name="connsiteY11072" fmla="*/ 359863 h 9250612"/>
                <a:gd name="connsiteX11073" fmla="*/ 5065402 w 6942639"/>
                <a:gd name="connsiteY11073" fmla="*/ 350902 h 9250612"/>
                <a:gd name="connsiteX11074" fmla="*/ 5074362 w 6942639"/>
                <a:gd name="connsiteY11074" fmla="*/ 341942 h 9250612"/>
                <a:gd name="connsiteX11075" fmla="*/ 5243103 w 6942639"/>
                <a:gd name="connsiteY11075" fmla="*/ 341942 h 9250612"/>
                <a:gd name="connsiteX11076" fmla="*/ 5252064 w 6942639"/>
                <a:gd name="connsiteY11076" fmla="*/ 350902 h 9250612"/>
                <a:gd name="connsiteX11077" fmla="*/ 5243103 w 6942639"/>
                <a:gd name="connsiteY11077" fmla="*/ 359862 h 9250612"/>
                <a:gd name="connsiteX11078" fmla="*/ 5234143 w 6942639"/>
                <a:gd name="connsiteY11078" fmla="*/ 350902 h 9250612"/>
                <a:gd name="connsiteX11079" fmla="*/ 5243103 w 6942639"/>
                <a:gd name="connsiteY11079" fmla="*/ 341942 h 9250612"/>
                <a:gd name="connsiteX11080" fmla="*/ 5411845 w 6942639"/>
                <a:gd name="connsiteY11080" fmla="*/ 341942 h 9250612"/>
                <a:gd name="connsiteX11081" fmla="*/ 5420806 w 6942639"/>
                <a:gd name="connsiteY11081" fmla="*/ 350902 h 9250612"/>
                <a:gd name="connsiteX11082" fmla="*/ 5411845 w 6942639"/>
                <a:gd name="connsiteY11082" fmla="*/ 359862 h 9250612"/>
                <a:gd name="connsiteX11083" fmla="*/ 5402885 w 6942639"/>
                <a:gd name="connsiteY11083" fmla="*/ 350902 h 9250612"/>
                <a:gd name="connsiteX11084" fmla="*/ 5411845 w 6942639"/>
                <a:gd name="connsiteY11084" fmla="*/ 341942 h 9250612"/>
                <a:gd name="connsiteX11085" fmla="*/ 5580586 w 6942639"/>
                <a:gd name="connsiteY11085" fmla="*/ 341942 h 9250612"/>
                <a:gd name="connsiteX11086" fmla="*/ 5589547 w 6942639"/>
                <a:gd name="connsiteY11086" fmla="*/ 350902 h 9250612"/>
                <a:gd name="connsiteX11087" fmla="*/ 5580586 w 6942639"/>
                <a:gd name="connsiteY11087" fmla="*/ 359862 h 9250612"/>
                <a:gd name="connsiteX11088" fmla="*/ 5571626 w 6942639"/>
                <a:gd name="connsiteY11088" fmla="*/ 350902 h 9250612"/>
                <a:gd name="connsiteX11089" fmla="*/ 5580586 w 6942639"/>
                <a:gd name="connsiteY11089" fmla="*/ 341942 h 9250612"/>
                <a:gd name="connsiteX11090" fmla="*/ 5749328 w 6942639"/>
                <a:gd name="connsiteY11090" fmla="*/ 341942 h 9250612"/>
                <a:gd name="connsiteX11091" fmla="*/ 5758289 w 6942639"/>
                <a:gd name="connsiteY11091" fmla="*/ 350902 h 9250612"/>
                <a:gd name="connsiteX11092" fmla="*/ 5749328 w 6942639"/>
                <a:gd name="connsiteY11092" fmla="*/ 359862 h 9250612"/>
                <a:gd name="connsiteX11093" fmla="*/ 5740368 w 6942639"/>
                <a:gd name="connsiteY11093" fmla="*/ 350902 h 9250612"/>
                <a:gd name="connsiteX11094" fmla="*/ 5749328 w 6942639"/>
                <a:gd name="connsiteY11094" fmla="*/ 341942 h 9250612"/>
                <a:gd name="connsiteX11095" fmla="*/ 5918069 w 6942639"/>
                <a:gd name="connsiteY11095" fmla="*/ 341942 h 9250612"/>
                <a:gd name="connsiteX11096" fmla="*/ 5927030 w 6942639"/>
                <a:gd name="connsiteY11096" fmla="*/ 350902 h 9250612"/>
                <a:gd name="connsiteX11097" fmla="*/ 5918069 w 6942639"/>
                <a:gd name="connsiteY11097" fmla="*/ 359862 h 9250612"/>
                <a:gd name="connsiteX11098" fmla="*/ 5909109 w 6942639"/>
                <a:gd name="connsiteY11098" fmla="*/ 350902 h 9250612"/>
                <a:gd name="connsiteX11099" fmla="*/ 5918069 w 6942639"/>
                <a:gd name="connsiteY11099" fmla="*/ 341942 h 9250612"/>
                <a:gd name="connsiteX11100" fmla="*/ 6086811 w 6942639"/>
                <a:gd name="connsiteY11100" fmla="*/ 341941 h 9250612"/>
                <a:gd name="connsiteX11101" fmla="*/ 6095772 w 6942639"/>
                <a:gd name="connsiteY11101" fmla="*/ 350902 h 9250612"/>
                <a:gd name="connsiteX11102" fmla="*/ 6086811 w 6942639"/>
                <a:gd name="connsiteY11102" fmla="*/ 359862 h 9250612"/>
                <a:gd name="connsiteX11103" fmla="*/ 6077851 w 6942639"/>
                <a:gd name="connsiteY11103" fmla="*/ 350902 h 9250612"/>
                <a:gd name="connsiteX11104" fmla="*/ 6086811 w 6942639"/>
                <a:gd name="connsiteY11104" fmla="*/ 341941 h 9250612"/>
                <a:gd name="connsiteX11105" fmla="*/ 6255553 w 6942639"/>
                <a:gd name="connsiteY11105" fmla="*/ 341941 h 9250612"/>
                <a:gd name="connsiteX11106" fmla="*/ 6264514 w 6942639"/>
                <a:gd name="connsiteY11106" fmla="*/ 350902 h 9250612"/>
                <a:gd name="connsiteX11107" fmla="*/ 6255553 w 6942639"/>
                <a:gd name="connsiteY11107" fmla="*/ 359862 h 9250612"/>
                <a:gd name="connsiteX11108" fmla="*/ 6246593 w 6942639"/>
                <a:gd name="connsiteY11108" fmla="*/ 350902 h 9250612"/>
                <a:gd name="connsiteX11109" fmla="*/ 6255553 w 6942639"/>
                <a:gd name="connsiteY11109" fmla="*/ 341941 h 9250612"/>
                <a:gd name="connsiteX11110" fmla="*/ 6424294 w 6942639"/>
                <a:gd name="connsiteY11110" fmla="*/ 341941 h 9250612"/>
                <a:gd name="connsiteX11111" fmla="*/ 6433255 w 6942639"/>
                <a:gd name="connsiteY11111" fmla="*/ 350901 h 9250612"/>
                <a:gd name="connsiteX11112" fmla="*/ 6424294 w 6942639"/>
                <a:gd name="connsiteY11112" fmla="*/ 359862 h 9250612"/>
                <a:gd name="connsiteX11113" fmla="*/ 6415334 w 6942639"/>
                <a:gd name="connsiteY11113" fmla="*/ 350901 h 9250612"/>
                <a:gd name="connsiteX11114" fmla="*/ 6424294 w 6942639"/>
                <a:gd name="connsiteY11114" fmla="*/ 341941 h 9250612"/>
                <a:gd name="connsiteX11115" fmla="*/ 6763357 w 6942639"/>
                <a:gd name="connsiteY11115" fmla="*/ 341941 h 9250612"/>
                <a:gd name="connsiteX11116" fmla="*/ 6772318 w 6942639"/>
                <a:gd name="connsiteY11116" fmla="*/ 350901 h 9250612"/>
                <a:gd name="connsiteX11117" fmla="*/ 6763357 w 6942639"/>
                <a:gd name="connsiteY11117" fmla="*/ 359861 h 9250612"/>
                <a:gd name="connsiteX11118" fmla="*/ 6754397 w 6942639"/>
                <a:gd name="connsiteY11118" fmla="*/ 350901 h 9250612"/>
                <a:gd name="connsiteX11119" fmla="*/ 6763357 w 6942639"/>
                <a:gd name="connsiteY11119" fmla="*/ 341941 h 9250612"/>
                <a:gd name="connsiteX11120" fmla="*/ 6593035 w 6942639"/>
                <a:gd name="connsiteY11120" fmla="*/ 341941 h 9250612"/>
                <a:gd name="connsiteX11121" fmla="*/ 6601996 w 6942639"/>
                <a:gd name="connsiteY11121" fmla="*/ 350901 h 9250612"/>
                <a:gd name="connsiteX11122" fmla="*/ 6593035 w 6942639"/>
                <a:gd name="connsiteY11122" fmla="*/ 359861 h 9250612"/>
                <a:gd name="connsiteX11123" fmla="*/ 6584075 w 6942639"/>
                <a:gd name="connsiteY11123" fmla="*/ 350901 h 9250612"/>
                <a:gd name="connsiteX11124" fmla="*/ 6593035 w 6942639"/>
                <a:gd name="connsiteY11124" fmla="*/ 341941 h 9250612"/>
                <a:gd name="connsiteX11125" fmla="*/ 6933679 w 6942639"/>
                <a:gd name="connsiteY11125" fmla="*/ 341941 h 9250612"/>
                <a:gd name="connsiteX11126" fmla="*/ 6942639 w 6942639"/>
                <a:gd name="connsiteY11126" fmla="*/ 350901 h 9250612"/>
                <a:gd name="connsiteX11127" fmla="*/ 6933679 w 6942639"/>
                <a:gd name="connsiteY11127" fmla="*/ 359861 h 9250612"/>
                <a:gd name="connsiteX11128" fmla="*/ 6924718 w 6942639"/>
                <a:gd name="connsiteY11128" fmla="*/ 350901 h 9250612"/>
                <a:gd name="connsiteX11129" fmla="*/ 6933679 w 6942639"/>
                <a:gd name="connsiteY11129" fmla="*/ 341941 h 9250612"/>
                <a:gd name="connsiteX11130" fmla="*/ 349809 w 6942639"/>
                <a:gd name="connsiteY11130" fmla="*/ 170975 h 9250612"/>
                <a:gd name="connsiteX11131" fmla="*/ 358770 w 6942639"/>
                <a:gd name="connsiteY11131" fmla="*/ 179935 h 9250612"/>
                <a:gd name="connsiteX11132" fmla="*/ 349809 w 6942639"/>
                <a:gd name="connsiteY11132" fmla="*/ 188895 h 9250612"/>
                <a:gd name="connsiteX11133" fmla="*/ 340850 w 6942639"/>
                <a:gd name="connsiteY11133" fmla="*/ 179935 h 9250612"/>
                <a:gd name="connsiteX11134" fmla="*/ 349809 w 6942639"/>
                <a:gd name="connsiteY11134" fmla="*/ 170975 h 9250612"/>
                <a:gd name="connsiteX11135" fmla="*/ 179493 w 6942639"/>
                <a:gd name="connsiteY11135" fmla="*/ 170975 h 9250612"/>
                <a:gd name="connsiteX11136" fmla="*/ 188454 w 6942639"/>
                <a:gd name="connsiteY11136" fmla="*/ 179935 h 9250612"/>
                <a:gd name="connsiteX11137" fmla="*/ 179493 w 6942639"/>
                <a:gd name="connsiteY11137" fmla="*/ 188895 h 9250612"/>
                <a:gd name="connsiteX11138" fmla="*/ 170533 w 6942639"/>
                <a:gd name="connsiteY11138" fmla="*/ 179935 h 9250612"/>
                <a:gd name="connsiteX11139" fmla="*/ 179493 w 6942639"/>
                <a:gd name="connsiteY11139" fmla="*/ 170975 h 9250612"/>
                <a:gd name="connsiteX11140" fmla="*/ 9179 w 6942639"/>
                <a:gd name="connsiteY11140" fmla="*/ 170975 h 9250612"/>
                <a:gd name="connsiteX11141" fmla="*/ 18138 w 6942639"/>
                <a:gd name="connsiteY11141" fmla="*/ 179935 h 9250612"/>
                <a:gd name="connsiteX11142" fmla="*/ 9179 w 6942639"/>
                <a:gd name="connsiteY11142" fmla="*/ 188895 h 9250612"/>
                <a:gd name="connsiteX11143" fmla="*/ 219 w 6942639"/>
                <a:gd name="connsiteY11143" fmla="*/ 179935 h 9250612"/>
                <a:gd name="connsiteX11144" fmla="*/ 9179 w 6942639"/>
                <a:gd name="connsiteY11144" fmla="*/ 170975 h 9250612"/>
                <a:gd name="connsiteX11145" fmla="*/ 518546 w 6942639"/>
                <a:gd name="connsiteY11145" fmla="*/ 170974 h 9250612"/>
                <a:gd name="connsiteX11146" fmla="*/ 527506 w 6942639"/>
                <a:gd name="connsiteY11146" fmla="*/ 179935 h 9250612"/>
                <a:gd name="connsiteX11147" fmla="*/ 518546 w 6942639"/>
                <a:gd name="connsiteY11147" fmla="*/ 188895 h 9250612"/>
                <a:gd name="connsiteX11148" fmla="*/ 509585 w 6942639"/>
                <a:gd name="connsiteY11148" fmla="*/ 179935 h 9250612"/>
                <a:gd name="connsiteX11149" fmla="*/ 518546 w 6942639"/>
                <a:gd name="connsiteY11149" fmla="*/ 170974 h 9250612"/>
                <a:gd name="connsiteX11150" fmla="*/ 687330 w 6942639"/>
                <a:gd name="connsiteY11150" fmla="*/ 170974 h 9250612"/>
                <a:gd name="connsiteX11151" fmla="*/ 696290 w 6942639"/>
                <a:gd name="connsiteY11151" fmla="*/ 179935 h 9250612"/>
                <a:gd name="connsiteX11152" fmla="*/ 687330 w 6942639"/>
                <a:gd name="connsiteY11152" fmla="*/ 188895 h 9250612"/>
                <a:gd name="connsiteX11153" fmla="*/ 678372 w 6942639"/>
                <a:gd name="connsiteY11153" fmla="*/ 179935 h 9250612"/>
                <a:gd name="connsiteX11154" fmla="*/ 687330 w 6942639"/>
                <a:gd name="connsiteY11154" fmla="*/ 170974 h 9250612"/>
                <a:gd name="connsiteX11155" fmla="*/ 856068 w 6942639"/>
                <a:gd name="connsiteY11155" fmla="*/ 170974 h 9250612"/>
                <a:gd name="connsiteX11156" fmla="*/ 865028 w 6942639"/>
                <a:gd name="connsiteY11156" fmla="*/ 179934 h 9250612"/>
                <a:gd name="connsiteX11157" fmla="*/ 856068 w 6942639"/>
                <a:gd name="connsiteY11157" fmla="*/ 188895 h 9250612"/>
                <a:gd name="connsiteX11158" fmla="*/ 847109 w 6942639"/>
                <a:gd name="connsiteY11158" fmla="*/ 179934 h 9250612"/>
                <a:gd name="connsiteX11159" fmla="*/ 856068 w 6942639"/>
                <a:gd name="connsiteY11159" fmla="*/ 170974 h 9250612"/>
                <a:gd name="connsiteX11160" fmla="*/ 1024788 w 6942639"/>
                <a:gd name="connsiteY11160" fmla="*/ 170974 h 9250612"/>
                <a:gd name="connsiteX11161" fmla="*/ 1033757 w 6942639"/>
                <a:gd name="connsiteY11161" fmla="*/ 179934 h 9250612"/>
                <a:gd name="connsiteX11162" fmla="*/ 1024788 w 6942639"/>
                <a:gd name="connsiteY11162" fmla="*/ 188895 h 9250612"/>
                <a:gd name="connsiteX11163" fmla="*/ 1015826 w 6942639"/>
                <a:gd name="connsiteY11163" fmla="*/ 179934 h 9250612"/>
                <a:gd name="connsiteX11164" fmla="*/ 1024788 w 6942639"/>
                <a:gd name="connsiteY11164" fmla="*/ 170974 h 9250612"/>
                <a:gd name="connsiteX11165" fmla="*/ 1193547 w 6942639"/>
                <a:gd name="connsiteY11165" fmla="*/ 170974 h 9250612"/>
                <a:gd name="connsiteX11166" fmla="*/ 1202507 w 6942639"/>
                <a:gd name="connsiteY11166" fmla="*/ 179934 h 9250612"/>
                <a:gd name="connsiteX11167" fmla="*/ 1193547 w 6942639"/>
                <a:gd name="connsiteY11167" fmla="*/ 188894 h 9250612"/>
                <a:gd name="connsiteX11168" fmla="*/ 1184590 w 6942639"/>
                <a:gd name="connsiteY11168" fmla="*/ 179934 h 9250612"/>
                <a:gd name="connsiteX11169" fmla="*/ 1193547 w 6942639"/>
                <a:gd name="connsiteY11169" fmla="*/ 170974 h 9250612"/>
                <a:gd name="connsiteX11170" fmla="*/ 1531046 w 6942639"/>
                <a:gd name="connsiteY11170" fmla="*/ 170974 h 9250612"/>
                <a:gd name="connsiteX11171" fmla="*/ 1540008 w 6942639"/>
                <a:gd name="connsiteY11171" fmla="*/ 179934 h 9250612"/>
                <a:gd name="connsiteX11172" fmla="*/ 1531046 w 6942639"/>
                <a:gd name="connsiteY11172" fmla="*/ 188894 h 9250612"/>
                <a:gd name="connsiteX11173" fmla="*/ 1522083 w 6942639"/>
                <a:gd name="connsiteY11173" fmla="*/ 179934 h 9250612"/>
                <a:gd name="connsiteX11174" fmla="*/ 1531046 w 6942639"/>
                <a:gd name="connsiteY11174" fmla="*/ 170974 h 9250612"/>
                <a:gd name="connsiteX11175" fmla="*/ 1362289 w 6942639"/>
                <a:gd name="connsiteY11175" fmla="*/ 170974 h 9250612"/>
                <a:gd name="connsiteX11176" fmla="*/ 1371253 w 6942639"/>
                <a:gd name="connsiteY11176" fmla="*/ 179934 h 9250612"/>
                <a:gd name="connsiteX11177" fmla="*/ 1362289 w 6942639"/>
                <a:gd name="connsiteY11177" fmla="*/ 188894 h 9250612"/>
                <a:gd name="connsiteX11178" fmla="*/ 1353328 w 6942639"/>
                <a:gd name="connsiteY11178" fmla="*/ 179934 h 9250612"/>
                <a:gd name="connsiteX11179" fmla="*/ 1362289 w 6942639"/>
                <a:gd name="connsiteY11179" fmla="*/ 170974 h 9250612"/>
                <a:gd name="connsiteX11180" fmla="*/ 1699786 w 6942639"/>
                <a:gd name="connsiteY11180" fmla="*/ 170974 h 9250612"/>
                <a:gd name="connsiteX11181" fmla="*/ 1708759 w 6942639"/>
                <a:gd name="connsiteY11181" fmla="*/ 179934 h 9250612"/>
                <a:gd name="connsiteX11182" fmla="*/ 1699786 w 6942639"/>
                <a:gd name="connsiteY11182" fmla="*/ 188894 h 9250612"/>
                <a:gd name="connsiteX11183" fmla="*/ 1690815 w 6942639"/>
                <a:gd name="connsiteY11183" fmla="*/ 179934 h 9250612"/>
                <a:gd name="connsiteX11184" fmla="*/ 1699786 w 6942639"/>
                <a:gd name="connsiteY11184" fmla="*/ 170974 h 9250612"/>
                <a:gd name="connsiteX11185" fmla="*/ 1868544 w 6942639"/>
                <a:gd name="connsiteY11185" fmla="*/ 170973 h 9250612"/>
                <a:gd name="connsiteX11186" fmla="*/ 1877486 w 6942639"/>
                <a:gd name="connsiteY11186" fmla="*/ 179934 h 9250612"/>
                <a:gd name="connsiteX11187" fmla="*/ 1868544 w 6942639"/>
                <a:gd name="connsiteY11187" fmla="*/ 188894 h 9250612"/>
                <a:gd name="connsiteX11188" fmla="*/ 1859562 w 6942639"/>
                <a:gd name="connsiteY11188" fmla="*/ 179934 h 9250612"/>
                <a:gd name="connsiteX11189" fmla="*/ 1868544 w 6942639"/>
                <a:gd name="connsiteY11189" fmla="*/ 170973 h 9250612"/>
                <a:gd name="connsiteX11190" fmla="*/ 2037240 w 6942639"/>
                <a:gd name="connsiteY11190" fmla="*/ 170973 h 9250612"/>
                <a:gd name="connsiteX11191" fmla="*/ 2046170 w 6942639"/>
                <a:gd name="connsiteY11191" fmla="*/ 179934 h 9250612"/>
                <a:gd name="connsiteX11192" fmla="*/ 2037240 w 6942639"/>
                <a:gd name="connsiteY11192" fmla="*/ 188894 h 9250612"/>
                <a:gd name="connsiteX11193" fmla="*/ 2028309 w 6942639"/>
                <a:gd name="connsiteY11193" fmla="*/ 179934 h 9250612"/>
                <a:gd name="connsiteX11194" fmla="*/ 2037240 w 6942639"/>
                <a:gd name="connsiteY11194" fmla="*/ 170973 h 9250612"/>
                <a:gd name="connsiteX11195" fmla="*/ 2205981 w 6942639"/>
                <a:gd name="connsiteY11195" fmla="*/ 170973 h 9250612"/>
                <a:gd name="connsiteX11196" fmla="*/ 2214935 w 6942639"/>
                <a:gd name="connsiteY11196" fmla="*/ 179933 h 9250612"/>
                <a:gd name="connsiteX11197" fmla="*/ 2205981 w 6942639"/>
                <a:gd name="connsiteY11197" fmla="*/ 188894 h 9250612"/>
                <a:gd name="connsiteX11198" fmla="*/ 2196982 w 6942639"/>
                <a:gd name="connsiteY11198" fmla="*/ 179933 h 9250612"/>
                <a:gd name="connsiteX11199" fmla="*/ 2205981 w 6942639"/>
                <a:gd name="connsiteY11199" fmla="*/ 170973 h 9250612"/>
                <a:gd name="connsiteX11200" fmla="*/ 2374666 w 6942639"/>
                <a:gd name="connsiteY11200" fmla="*/ 170973 h 9250612"/>
                <a:gd name="connsiteX11201" fmla="*/ 2383694 w 6942639"/>
                <a:gd name="connsiteY11201" fmla="*/ 179933 h 9250612"/>
                <a:gd name="connsiteX11202" fmla="*/ 2374666 w 6942639"/>
                <a:gd name="connsiteY11202" fmla="*/ 188893 h 9250612"/>
                <a:gd name="connsiteX11203" fmla="*/ 2365703 w 6942639"/>
                <a:gd name="connsiteY11203" fmla="*/ 179933 h 9250612"/>
                <a:gd name="connsiteX11204" fmla="*/ 2374666 w 6942639"/>
                <a:gd name="connsiteY11204" fmla="*/ 170973 h 9250612"/>
                <a:gd name="connsiteX11205" fmla="*/ 2543486 w 6942639"/>
                <a:gd name="connsiteY11205" fmla="*/ 170973 h 9250612"/>
                <a:gd name="connsiteX11206" fmla="*/ 2552450 w 6942639"/>
                <a:gd name="connsiteY11206" fmla="*/ 179933 h 9250612"/>
                <a:gd name="connsiteX11207" fmla="*/ 2543486 w 6942639"/>
                <a:gd name="connsiteY11207" fmla="*/ 188893 h 9250612"/>
                <a:gd name="connsiteX11208" fmla="*/ 2534510 w 6942639"/>
                <a:gd name="connsiteY11208" fmla="*/ 179933 h 9250612"/>
                <a:gd name="connsiteX11209" fmla="*/ 2543486 w 6942639"/>
                <a:gd name="connsiteY11209" fmla="*/ 170973 h 9250612"/>
                <a:gd name="connsiteX11210" fmla="*/ 2712147 w 6942639"/>
                <a:gd name="connsiteY11210" fmla="*/ 170973 h 9250612"/>
                <a:gd name="connsiteX11211" fmla="*/ 2721134 w 6942639"/>
                <a:gd name="connsiteY11211" fmla="*/ 179933 h 9250612"/>
                <a:gd name="connsiteX11212" fmla="*/ 2712147 w 6942639"/>
                <a:gd name="connsiteY11212" fmla="*/ 188893 h 9250612"/>
                <a:gd name="connsiteX11213" fmla="*/ 2703200 w 6942639"/>
                <a:gd name="connsiteY11213" fmla="*/ 179933 h 9250612"/>
                <a:gd name="connsiteX11214" fmla="*/ 2712147 w 6942639"/>
                <a:gd name="connsiteY11214" fmla="*/ 170973 h 9250612"/>
                <a:gd name="connsiteX11215" fmla="*/ 2880929 w 6942639"/>
                <a:gd name="connsiteY11215" fmla="*/ 170973 h 9250612"/>
                <a:gd name="connsiteX11216" fmla="*/ 2889883 w 6942639"/>
                <a:gd name="connsiteY11216" fmla="*/ 179933 h 9250612"/>
                <a:gd name="connsiteX11217" fmla="*/ 2880929 w 6942639"/>
                <a:gd name="connsiteY11217" fmla="*/ 188893 h 9250612"/>
                <a:gd name="connsiteX11218" fmla="*/ 2871972 w 6942639"/>
                <a:gd name="connsiteY11218" fmla="*/ 179933 h 9250612"/>
                <a:gd name="connsiteX11219" fmla="*/ 2880929 w 6942639"/>
                <a:gd name="connsiteY11219" fmla="*/ 170973 h 9250612"/>
                <a:gd name="connsiteX11220" fmla="*/ 3049639 w 6942639"/>
                <a:gd name="connsiteY11220" fmla="*/ 170973 h 9250612"/>
                <a:gd name="connsiteX11221" fmla="*/ 3058596 w 6942639"/>
                <a:gd name="connsiteY11221" fmla="*/ 179933 h 9250612"/>
                <a:gd name="connsiteX11222" fmla="*/ 3049639 w 6942639"/>
                <a:gd name="connsiteY11222" fmla="*/ 188893 h 9250612"/>
                <a:gd name="connsiteX11223" fmla="*/ 3040669 w 6942639"/>
                <a:gd name="connsiteY11223" fmla="*/ 179933 h 9250612"/>
                <a:gd name="connsiteX11224" fmla="*/ 3049639 w 6942639"/>
                <a:gd name="connsiteY11224" fmla="*/ 170973 h 9250612"/>
                <a:gd name="connsiteX11225" fmla="*/ 3218332 w 6942639"/>
                <a:gd name="connsiteY11225" fmla="*/ 170972 h 9250612"/>
                <a:gd name="connsiteX11226" fmla="*/ 3227308 w 6942639"/>
                <a:gd name="connsiteY11226" fmla="*/ 179933 h 9250612"/>
                <a:gd name="connsiteX11227" fmla="*/ 3218332 w 6942639"/>
                <a:gd name="connsiteY11227" fmla="*/ 188893 h 9250612"/>
                <a:gd name="connsiteX11228" fmla="*/ 3209362 w 6942639"/>
                <a:gd name="connsiteY11228" fmla="*/ 179933 h 9250612"/>
                <a:gd name="connsiteX11229" fmla="*/ 3218332 w 6942639"/>
                <a:gd name="connsiteY11229" fmla="*/ 170972 h 9250612"/>
                <a:gd name="connsiteX11230" fmla="*/ 3387082 w 6942639"/>
                <a:gd name="connsiteY11230" fmla="*/ 170972 h 9250612"/>
                <a:gd name="connsiteX11231" fmla="*/ 3396067 w 6942639"/>
                <a:gd name="connsiteY11231" fmla="*/ 179932 h 9250612"/>
                <a:gd name="connsiteX11232" fmla="*/ 3387082 w 6942639"/>
                <a:gd name="connsiteY11232" fmla="*/ 188893 h 9250612"/>
                <a:gd name="connsiteX11233" fmla="*/ 3378066 w 6942639"/>
                <a:gd name="connsiteY11233" fmla="*/ 179932 h 9250612"/>
                <a:gd name="connsiteX11234" fmla="*/ 3387082 w 6942639"/>
                <a:gd name="connsiteY11234" fmla="*/ 170972 h 9250612"/>
                <a:gd name="connsiteX11235" fmla="*/ 3555688 w 6942639"/>
                <a:gd name="connsiteY11235" fmla="*/ 170972 h 9250612"/>
                <a:gd name="connsiteX11236" fmla="*/ 3564649 w 6942639"/>
                <a:gd name="connsiteY11236" fmla="*/ 179932 h 9250612"/>
                <a:gd name="connsiteX11237" fmla="*/ 3555688 w 6942639"/>
                <a:gd name="connsiteY11237" fmla="*/ 188893 h 9250612"/>
                <a:gd name="connsiteX11238" fmla="*/ 3546728 w 6942639"/>
                <a:gd name="connsiteY11238" fmla="*/ 179932 h 9250612"/>
                <a:gd name="connsiteX11239" fmla="*/ 3555688 w 6942639"/>
                <a:gd name="connsiteY11239" fmla="*/ 170972 h 9250612"/>
                <a:gd name="connsiteX11240" fmla="*/ 3724429 w 6942639"/>
                <a:gd name="connsiteY11240" fmla="*/ 170972 h 9250612"/>
                <a:gd name="connsiteX11241" fmla="*/ 3733390 w 6942639"/>
                <a:gd name="connsiteY11241" fmla="*/ 179932 h 9250612"/>
                <a:gd name="connsiteX11242" fmla="*/ 3724429 w 6942639"/>
                <a:gd name="connsiteY11242" fmla="*/ 188893 h 9250612"/>
                <a:gd name="connsiteX11243" fmla="*/ 3715469 w 6942639"/>
                <a:gd name="connsiteY11243" fmla="*/ 179932 h 9250612"/>
                <a:gd name="connsiteX11244" fmla="*/ 3724429 w 6942639"/>
                <a:gd name="connsiteY11244" fmla="*/ 170972 h 9250612"/>
                <a:gd name="connsiteX11245" fmla="*/ 3893170 w 6942639"/>
                <a:gd name="connsiteY11245" fmla="*/ 170972 h 9250612"/>
                <a:gd name="connsiteX11246" fmla="*/ 3902131 w 6942639"/>
                <a:gd name="connsiteY11246" fmla="*/ 179932 h 9250612"/>
                <a:gd name="connsiteX11247" fmla="*/ 3893170 w 6942639"/>
                <a:gd name="connsiteY11247" fmla="*/ 188892 h 9250612"/>
                <a:gd name="connsiteX11248" fmla="*/ 3884210 w 6942639"/>
                <a:gd name="connsiteY11248" fmla="*/ 179932 h 9250612"/>
                <a:gd name="connsiteX11249" fmla="*/ 3893170 w 6942639"/>
                <a:gd name="connsiteY11249" fmla="*/ 170972 h 9250612"/>
                <a:gd name="connsiteX11250" fmla="*/ 4061912 w 6942639"/>
                <a:gd name="connsiteY11250" fmla="*/ 170972 h 9250612"/>
                <a:gd name="connsiteX11251" fmla="*/ 4070873 w 6942639"/>
                <a:gd name="connsiteY11251" fmla="*/ 179932 h 9250612"/>
                <a:gd name="connsiteX11252" fmla="*/ 4061912 w 6942639"/>
                <a:gd name="connsiteY11252" fmla="*/ 188892 h 9250612"/>
                <a:gd name="connsiteX11253" fmla="*/ 4052952 w 6942639"/>
                <a:gd name="connsiteY11253" fmla="*/ 179932 h 9250612"/>
                <a:gd name="connsiteX11254" fmla="*/ 4061912 w 6942639"/>
                <a:gd name="connsiteY11254" fmla="*/ 170972 h 9250612"/>
                <a:gd name="connsiteX11255" fmla="*/ 4399396 w 6942639"/>
                <a:gd name="connsiteY11255" fmla="*/ 170972 h 9250612"/>
                <a:gd name="connsiteX11256" fmla="*/ 4408357 w 6942639"/>
                <a:gd name="connsiteY11256" fmla="*/ 179932 h 9250612"/>
                <a:gd name="connsiteX11257" fmla="*/ 4399396 w 6942639"/>
                <a:gd name="connsiteY11257" fmla="*/ 188892 h 9250612"/>
                <a:gd name="connsiteX11258" fmla="*/ 4390436 w 6942639"/>
                <a:gd name="connsiteY11258" fmla="*/ 179932 h 9250612"/>
                <a:gd name="connsiteX11259" fmla="*/ 4399396 w 6942639"/>
                <a:gd name="connsiteY11259" fmla="*/ 170972 h 9250612"/>
                <a:gd name="connsiteX11260" fmla="*/ 4230654 w 6942639"/>
                <a:gd name="connsiteY11260" fmla="*/ 170972 h 9250612"/>
                <a:gd name="connsiteX11261" fmla="*/ 4239615 w 6942639"/>
                <a:gd name="connsiteY11261" fmla="*/ 179932 h 9250612"/>
                <a:gd name="connsiteX11262" fmla="*/ 4230654 w 6942639"/>
                <a:gd name="connsiteY11262" fmla="*/ 188892 h 9250612"/>
                <a:gd name="connsiteX11263" fmla="*/ 4221694 w 6942639"/>
                <a:gd name="connsiteY11263" fmla="*/ 179932 h 9250612"/>
                <a:gd name="connsiteX11264" fmla="*/ 4230654 w 6942639"/>
                <a:gd name="connsiteY11264" fmla="*/ 170972 h 9250612"/>
                <a:gd name="connsiteX11265" fmla="*/ 4568137 w 6942639"/>
                <a:gd name="connsiteY11265" fmla="*/ 170971 h 9250612"/>
                <a:gd name="connsiteX11266" fmla="*/ 4577098 w 6942639"/>
                <a:gd name="connsiteY11266" fmla="*/ 179932 h 9250612"/>
                <a:gd name="connsiteX11267" fmla="*/ 4568137 w 6942639"/>
                <a:gd name="connsiteY11267" fmla="*/ 188892 h 9250612"/>
                <a:gd name="connsiteX11268" fmla="*/ 4559177 w 6942639"/>
                <a:gd name="connsiteY11268" fmla="*/ 179932 h 9250612"/>
                <a:gd name="connsiteX11269" fmla="*/ 4568137 w 6942639"/>
                <a:gd name="connsiteY11269" fmla="*/ 170971 h 9250612"/>
                <a:gd name="connsiteX11270" fmla="*/ 4736878 w 6942639"/>
                <a:gd name="connsiteY11270" fmla="*/ 170971 h 9250612"/>
                <a:gd name="connsiteX11271" fmla="*/ 4745839 w 6942639"/>
                <a:gd name="connsiteY11271" fmla="*/ 179931 h 9250612"/>
                <a:gd name="connsiteX11272" fmla="*/ 4736878 w 6942639"/>
                <a:gd name="connsiteY11272" fmla="*/ 188892 h 9250612"/>
                <a:gd name="connsiteX11273" fmla="*/ 4727918 w 6942639"/>
                <a:gd name="connsiteY11273" fmla="*/ 179931 h 9250612"/>
                <a:gd name="connsiteX11274" fmla="*/ 4736878 w 6942639"/>
                <a:gd name="connsiteY11274" fmla="*/ 170971 h 9250612"/>
                <a:gd name="connsiteX11275" fmla="*/ 4905620 w 6942639"/>
                <a:gd name="connsiteY11275" fmla="*/ 170971 h 9250612"/>
                <a:gd name="connsiteX11276" fmla="*/ 4914581 w 6942639"/>
                <a:gd name="connsiteY11276" fmla="*/ 179931 h 9250612"/>
                <a:gd name="connsiteX11277" fmla="*/ 4905620 w 6942639"/>
                <a:gd name="connsiteY11277" fmla="*/ 188892 h 9250612"/>
                <a:gd name="connsiteX11278" fmla="*/ 4896660 w 6942639"/>
                <a:gd name="connsiteY11278" fmla="*/ 179931 h 9250612"/>
                <a:gd name="connsiteX11279" fmla="*/ 4905620 w 6942639"/>
                <a:gd name="connsiteY11279" fmla="*/ 170971 h 9250612"/>
                <a:gd name="connsiteX11280" fmla="*/ 5074362 w 6942639"/>
                <a:gd name="connsiteY11280" fmla="*/ 170971 h 9250612"/>
                <a:gd name="connsiteX11281" fmla="*/ 5083323 w 6942639"/>
                <a:gd name="connsiteY11281" fmla="*/ 179931 h 9250612"/>
                <a:gd name="connsiteX11282" fmla="*/ 5074362 w 6942639"/>
                <a:gd name="connsiteY11282" fmla="*/ 188891 h 9250612"/>
                <a:gd name="connsiteX11283" fmla="*/ 5065402 w 6942639"/>
                <a:gd name="connsiteY11283" fmla="*/ 179931 h 9250612"/>
                <a:gd name="connsiteX11284" fmla="*/ 5074362 w 6942639"/>
                <a:gd name="connsiteY11284" fmla="*/ 170971 h 9250612"/>
                <a:gd name="connsiteX11285" fmla="*/ 5243103 w 6942639"/>
                <a:gd name="connsiteY11285" fmla="*/ 170971 h 9250612"/>
                <a:gd name="connsiteX11286" fmla="*/ 5252064 w 6942639"/>
                <a:gd name="connsiteY11286" fmla="*/ 179931 h 9250612"/>
                <a:gd name="connsiteX11287" fmla="*/ 5243103 w 6942639"/>
                <a:gd name="connsiteY11287" fmla="*/ 188891 h 9250612"/>
                <a:gd name="connsiteX11288" fmla="*/ 5234143 w 6942639"/>
                <a:gd name="connsiteY11288" fmla="*/ 179931 h 9250612"/>
                <a:gd name="connsiteX11289" fmla="*/ 5243103 w 6942639"/>
                <a:gd name="connsiteY11289" fmla="*/ 170971 h 9250612"/>
                <a:gd name="connsiteX11290" fmla="*/ 5411845 w 6942639"/>
                <a:gd name="connsiteY11290" fmla="*/ 170971 h 9250612"/>
                <a:gd name="connsiteX11291" fmla="*/ 5420806 w 6942639"/>
                <a:gd name="connsiteY11291" fmla="*/ 179931 h 9250612"/>
                <a:gd name="connsiteX11292" fmla="*/ 5411845 w 6942639"/>
                <a:gd name="connsiteY11292" fmla="*/ 188891 h 9250612"/>
                <a:gd name="connsiteX11293" fmla="*/ 5402885 w 6942639"/>
                <a:gd name="connsiteY11293" fmla="*/ 179931 h 9250612"/>
                <a:gd name="connsiteX11294" fmla="*/ 5411845 w 6942639"/>
                <a:gd name="connsiteY11294" fmla="*/ 170971 h 9250612"/>
                <a:gd name="connsiteX11295" fmla="*/ 5580586 w 6942639"/>
                <a:gd name="connsiteY11295" fmla="*/ 170971 h 9250612"/>
                <a:gd name="connsiteX11296" fmla="*/ 5589547 w 6942639"/>
                <a:gd name="connsiteY11296" fmla="*/ 179931 h 9250612"/>
                <a:gd name="connsiteX11297" fmla="*/ 5580586 w 6942639"/>
                <a:gd name="connsiteY11297" fmla="*/ 188891 h 9250612"/>
                <a:gd name="connsiteX11298" fmla="*/ 5571626 w 6942639"/>
                <a:gd name="connsiteY11298" fmla="*/ 179931 h 9250612"/>
                <a:gd name="connsiteX11299" fmla="*/ 5580586 w 6942639"/>
                <a:gd name="connsiteY11299" fmla="*/ 170971 h 9250612"/>
                <a:gd name="connsiteX11300" fmla="*/ 5749328 w 6942639"/>
                <a:gd name="connsiteY11300" fmla="*/ 170970 h 9250612"/>
                <a:gd name="connsiteX11301" fmla="*/ 5758289 w 6942639"/>
                <a:gd name="connsiteY11301" fmla="*/ 179931 h 9250612"/>
                <a:gd name="connsiteX11302" fmla="*/ 5749328 w 6942639"/>
                <a:gd name="connsiteY11302" fmla="*/ 188891 h 9250612"/>
                <a:gd name="connsiteX11303" fmla="*/ 5740368 w 6942639"/>
                <a:gd name="connsiteY11303" fmla="*/ 179931 h 9250612"/>
                <a:gd name="connsiteX11304" fmla="*/ 5749328 w 6942639"/>
                <a:gd name="connsiteY11304" fmla="*/ 170970 h 9250612"/>
                <a:gd name="connsiteX11305" fmla="*/ 5918069 w 6942639"/>
                <a:gd name="connsiteY11305" fmla="*/ 170970 h 9250612"/>
                <a:gd name="connsiteX11306" fmla="*/ 5927030 w 6942639"/>
                <a:gd name="connsiteY11306" fmla="*/ 179931 h 9250612"/>
                <a:gd name="connsiteX11307" fmla="*/ 5918069 w 6942639"/>
                <a:gd name="connsiteY11307" fmla="*/ 188891 h 9250612"/>
                <a:gd name="connsiteX11308" fmla="*/ 5909109 w 6942639"/>
                <a:gd name="connsiteY11308" fmla="*/ 179931 h 9250612"/>
                <a:gd name="connsiteX11309" fmla="*/ 5918069 w 6942639"/>
                <a:gd name="connsiteY11309" fmla="*/ 170970 h 9250612"/>
                <a:gd name="connsiteX11310" fmla="*/ 6086811 w 6942639"/>
                <a:gd name="connsiteY11310" fmla="*/ 170970 h 9250612"/>
                <a:gd name="connsiteX11311" fmla="*/ 6095772 w 6942639"/>
                <a:gd name="connsiteY11311" fmla="*/ 179930 h 9250612"/>
                <a:gd name="connsiteX11312" fmla="*/ 6086811 w 6942639"/>
                <a:gd name="connsiteY11312" fmla="*/ 188891 h 9250612"/>
                <a:gd name="connsiteX11313" fmla="*/ 6077851 w 6942639"/>
                <a:gd name="connsiteY11313" fmla="*/ 179930 h 9250612"/>
                <a:gd name="connsiteX11314" fmla="*/ 6086811 w 6942639"/>
                <a:gd name="connsiteY11314" fmla="*/ 170970 h 9250612"/>
                <a:gd name="connsiteX11315" fmla="*/ 6255553 w 6942639"/>
                <a:gd name="connsiteY11315" fmla="*/ 170970 h 9250612"/>
                <a:gd name="connsiteX11316" fmla="*/ 6264514 w 6942639"/>
                <a:gd name="connsiteY11316" fmla="*/ 179930 h 9250612"/>
                <a:gd name="connsiteX11317" fmla="*/ 6255553 w 6942639"/>
                <a:gd name="connsiteY11317" fmla="*/ 188890 h 9250612"/>
                <a:gd name="connsiteX11318" fmla="*/ 6246593 w 6942639"/>
                <a:gd name="connsiteY11318" fmla="*/ 179930 h 9250612"/>
                <a:gd name="connsiteX11319" fmla="*/ 6255553 w 6942639"/>
                <a:gd name="connsiteY11319" fmla="*/ 170970 h 9250612"/>
                <a:gd name="connsiteX11320" fmla="*/ 6424294 w 6942639"/>
                <a:gd name="connsiteY11320" fmla="*/ 170970 h 9250612"/>
                <a:gd name="connsiteX11321" fmla="*/ 6433255 w 6942639"/>
                <a:gd name="connsiteY11321" fmla="*/ 179930 h 9250612"/>
                <a:gd name="connsiteX11322" fmla="*/ 6424294 w 6942639"/>
                <a:gd name="connsiteY11322" fmla="*/ 188890 h 9250612"/>
                <a:gd name="connsiteX11323" fmla="*/ 6415334 w 6942639"/>
                <a:gd name="connsiteY11323" fmla="*/ 179930 h 9250612"/>
                <a:gd name="connsiteX11324" fmla="*/ 6424294 w 6942639"/>
                <a:gd name="connsiteY11324" fmla="*/ 170970 h 9250612"/>
                <a:gd name="connsiteX11325" fmla="*/ 6593035 w 6942639"/>
                <a:gd name="connsiteY11325" fmla="*/ 170970 h 9250612"/>
                <a:gd name="connsiteX11326" fmla="*/ 6601996 w 6942639"/>
                <a:gd name="connsiteY11326" fmla="*/ 179930 h 9250612"/>
                <a:gd name="connsiteX11327" fmla="*/ 6593035 w 6942639"/>
                <a:gd name="connsiteY11327" fmla="*/ 188890 h 9250612"/>
                <a:gd name="connsiteX11328" fmla="*/ 6584075 w 6942639"/>
                <a:gd name="connsiteY11328" fmla="*/ 179930 h 9250612"/>
                <a:gd name="connsiteX11329" fmla="*/ 6593035 w 6942639"/>
                <a:gd name="connsiteY11329" fmla="*/ 170970 h 9250612"/>
                <a:gd name="connsiteX11330" fmla="*/ 6763357 w 6942639"/>
                <a:gd name="connsiteY11330" fmla="*/ 170970 h 9250612"/>
                <a:gd name="connsiteX11331" fmla="*/ 6772318 w 6942639"/>
                <a:gd name="connsiteY11331" fmla="*/ 179930 h 9250612"/>
                <a:gd name="connsiteX11332" fmla="*/ 6763357 w 6942639"/>
                <a:gd name="connsiteY11332" fmla="*/ 188890 h 9250612"/>
                <a:gd name="connsiteX11333" fmla="*/ 6754397 w 6942639"/>
                <a:gd name="connsiteY11333" fmla="*/ 179930 h 9250612"/>
                <a:gd name="connsiteX11334" fmla="*/ 6763357 w 6942639"/>
                <a:gd name="connsiteY11334" fmla="*/ 170970 h 9250612"/>
                <a:gd name="connsiteX11335" fmla="*/ 6933679 w 6942639"/>
                <a:gd name="connsiteY11335" fmla="*/ 170969 h 9250612"/>
                <a:gd name="connsiteX11336" fmla="*/ 6942639 w 6942639"/>
                <a:gd name="connsiteY11336" fmla="*/ 179930 h 9250612"/>
                <a:gd name="connsiteX11337" fmla="*/ 6933679 w 6942639"/>
                <a:gd name="connsiteY11337" fmla="*/ 188890 h 9250612"/>
                <a:gd name="connsiteX11338" fmla="*/ 6924718 w 6942639"/>
                <a:gd name="connsiteY11338" fmla="*/ 179930 h 9250612"/>
                <a:gd name="connsiteX11339" fmla="*/ 6933679 w 6942639"/>
                <a:gd name="connsiteY11339" fmla="*/ 170969 h 9250612"/>
                <a:gd name="connsiteX11340" fmla="*/ 349813 w 6942639"/>
                <a:gd name="connsiteY11340" fmla="*/ 5 h 9250612"/>
                <a:gd name="connsiteX11341" fmla="*/ 358774 w 6942639"/>
                <a:gd name="connsiteY11341" fmla="*/ 8965 h 9250612"/>
                <a:gd name="connsiteX11342" fmla="*/ 349813 w 6942639"/>
                <a:gd name="connsiteY11342" fmla="*/ 17926 h 9250612"/>
                <a:gd name="connsiteX11343" fmla="*/ 340854 w 6942639"/>
                <a:gd name="connsiteY11343" fmla="*/ 8965 h 9250612"/>
                <a:gd name="connsiteX11344" fmla="*/ 349813 w 6942639"/>
                <a:gd name="connsiteY11344" fmla="*/ 5 h 9250612"/>
                <a:gd name="connsiteX11345" fmla="*/ 179497 w 6942639"/>
                <a:gd name="connsiteY11345" fmla="*/ 5 h 9250612"/>
                <a:gd name="connsiteX11346" fmla="*/ 188458 w 6942639"/>
                <a:gd name="connsiteY11346" fmla="*/ 8965 h 9250612"/>
                <a:gd name="connsiteX11347" fmla="*/ 179497 w 6942639"/>
                <a:gd name="connsiteY11347" fmla="*/ 17925 h 9250612"/>
                <a:gd name="connsiteX11348" fmla="*/ 170537 w 6942639"/>
                <a:gd name="connsiteY11348" fmla="*/ 8965 h 9250612"/>
                <a:gd name="connsiteX11349" fmla="*/ 179497 w 6942639"/>
                <a:gd name="connsiteY11349" fmla="*/ 5 h 9250612"/>
                <a:gd name="connsiteX11350" fmla="*/ 9183 w 6942639"/>
                <a:gd name="connsiteY11350" fmla="*/ 5 h 9250612"/>
                <a:gd name="connsiteX11351" fmla="*/ 18142 w 6942639"/>
                <a:gd name="connsiteY11351" fmla="*/ 8965 h 9250612"/>
                <a:gd name="connsiteX11352" fmla="*/ 9183 w 6942639"/>
                <a:gd name="connsiteY11352" fmla="*/ 17925 h 9250612"/>
                <a:gd name="connsiteX11353" fmla="*/ 223 w 6942639"/>
                <a:gd name="connsiteY11353" fmla="*/ 8965 h 9250612"/>
                <a:gd name="connsiteX11354" fmla="*/ 9183 w 6942639"/>
                <a:gd name="connsiteY11354" fmla="*/ 5 h 9250612"/>
                <a:gd name="connsiteX11355" fmla="*/ 518550 w 6942639"/>
                <a:gd name="connsiteY11355" fmla="*/ 5 h 9250612"/>
                <a:gd name="connsiteX11356" fmla="*/ 527510 w 6942639"/>
                <a:gd name="connsiteY11356" fmla="*/ 8965 h 9250612"/>
                <a:gd name="connsiteX11357" fmla="*/ 518550 w 6942639"/>
                <a:gd name="connsiteY11357" fmla="*/ 17925 h 9250612"/>
                <a:gd name="connsiteX11358" fmla="*/ 509589 w 6942639"/>
                <a:gd name="connsiteY11358" fmla="*/ 8965 h 9250612"/>
                <a:gd name="connsiteX11359" fmla="*/ 518550 w 6942639"/>
                <a:gd name="connsiteY11359" fmla="*/ 5 h 9250612"/>
                <a:gd name="connsiteX11360" fmla="*/ 687335 w 6942639"/>
                <a:gd name="connsiteY11360" fmla="*/ 5 h 9250612"/>
                <a:gd name="connsiteX11361" fmla="*/ 696295 w 6942639"/>
                <a:gd name="connsiteY11361" fmla="*/ 8965 h 9250612"/>
                <a:gd name="connsiteX11362" fmla="*/ 687335 w 6942639"/>
                <a:gd name="connsiteY11362" fmla="*/ 17925 h 9250612"/>
                <a:gd name="connsiteX11363" fmla="*/ 678377 w 6942639"/>
                <a:gd name="connsiteY11363" fmla="*/ 8965 h 9250612"/>
                <a:gd name="connsiteX11364" fmla="*/ 687335 w 6942639"/>
                <a:gd name="connsiteY11364" fmla="*/ 5 h 9250612"/>
                <a:gd name="connsiteX11365" fmla="*/ 856072 w 6942639"/>
                <a:gd name="connsiteY11365" fmla="*/ 5 h 9250612"/>
                <a:gd name="connsiteX11366" fmla="*/ 865032 w 6942639"/>
                <a:gd name="connsiteY11366" fmla="*/ 8965 h 9250612"/>
                <a:gd name="connsiteX11367" fmla="*/ 856072 w 6942639"/>
                <a:gd name="connsiteY11367" fmla="*/ 17925 h 9250612"/>
                <a:gd name="connsiteX11368" fmla="*/ 847113 w 6942639"/>
                <a:gd name="connsiteY11368" fmla="*/ 8965 h 9250612"/>
                <a:gd name="connsiteX11369" fmla="*/ 856072 w 6942639"/>
                <a:gd name="connsiteY11369" fmla="*/ 5 h 9250612"/>
                <a:gd name="connsiteX11370" fmla="*/ 1024792 w 6942639"/>
                <a:gd name="connsiteY11370" fmla="*/ 4 h 9250612"/>
                <a:gd name="connsiteX11371" fmla="*/ 1033761 w 6942639"/>
                <a:gd name="connsiteY11371" fmla="*/ 8965 h 9250612"/>
                <a:gd name="connsiteX11372" fmla="*/ 1024792 w 6942639"/>
                <a:gd name="connsiteY11372" fmla="*/ 17925 h 9250612"/>
                <a:gd name="connsiteX11373" fmla="*/ 1015831 w 6942639"/>
                <a:gd name="connsiteY11373" fmla="*/ 8965 h 9250612"/>
                <a:gd name="connsiteX11374" fmla="*/ 1024792 w 6942639"/>
                <a:gd name="connsiteY11374" fmla="*/ 4 h 9250612"/>
                <a:gd name="connsiteX11375" fmla="*/ 1193552 w 6942639"/>
                <a:gd name="connsiteY11375" fmla="*/ 4 h 9250612"/>
                <a:gd name="connsiteX11376" fmla="*/ 1202512 w 6942639"/>
                <a:gd name="connsiteY11376" fmla="*/ 8964 h 9250612"/>
                <a:gd name="connsiteX11377" fmla="*/ 1193552 w 6942639"/>
                <a:gd name="connsiteY11377" fmla="*/ 17925 h 9250612"/>
                <a:gd name="connsiteX11378" fmla="*/ 1184595 w 6942639"/>
                <a:gd name="connsiteY11378" fmla="*/ 8964 h 9250612"/>
                <a:gd name="connsiteX11379" fmla="*/ 1193552 w 6942639"/>
                <a:gd name="connsiteY11379" fmla="*/ 4 h 9250612"/>
                <a:gd name="connsiteX11380" fmla="*/ 1362294 w 6942639"/>
                <a:gd name="connsiteY11380" fmla="*/ 4 h 9250612"/>
                <a:gd name="connsiteX11381" fmla="*/ 1371257 w 6942639"/>
                <a:gd name="connsiteY11381" fmla="*/ 8964 h 9250612"/>
                <a:gd name="connsiteX11382" fmla="*/ 1362294 w 6942639"/>
                <a:gd name="connsiteY11382" fmla="*/ 17924 h 9250612"/>
                <a:gd name="connsiteX11383" fmla="*/ 1353333 w 6942639"/>
                <a:gd name="connsiteY11383" fmla="*/ 8964 h 9250612"/>
                <a:gd name="connsiteX11384" fmla="*/ 1362294 w 6942639"/>
                <a:gd name="connsiteY11384" fmla="*/ 4 h 9250612"/>
                <a:gd name="connsiteX11385" fmla="*/ 1531050 w 6942639"/>
                <a:gd name="connsiteY11385" fmla="*/ 4 h 9250612"/>
                <a:gd name="connsiteX11386" fmla="*/ 1540013 w 6942639"/>
                <a:gd name="connsiteY11386" fmla="*/ 8964 h 9250612"/>
                <a:gd name="connsiteX11387" fmla="*/ 1531050 w 6942639"/>
                <a:gd name="connsiteY11387" fmla="*/ 17924 h 9250612"/>
                <a:gd name="connsiteX11388" fmla="*/ 1522087 w 6942639"/>
                <a:gd name="connsiteY11388" fmla="*/ 8964 h 9250612"/>
                <a:gd name="connsiteX11389" fmla="*/ 1531050 w 6942639"/>
                <a:gd name="connsiteY11389" fmla="*/ 4 h 9250612"/>
                <a:gd name="connsiteX11390" fmla="*/ 1699790 w 6942639"/>
                <a:gd name="connsiteY11390" fmla="*/ 4 h 9250612"/>
                <a:gd name="connsiteX11391" fmla="*/ 1708765 w 6942639"/>
                <a:gd name="connsiteY11391" fmla="*/ 8964 h 9250612"/>
                <a:gd name="connsiteX11392" fmla="*/ 1699790 w 6942639"/>
                <a:gd name="connsiteY11392" fmla="*/ 17924 h 9250612"/>
                <a:gd name="connsiteX11393" fmla="*/ 1690820 w 6942639"/>
                <a:gd name="connsiteY11393" fmla="*/ 8964 h 9250612"/>
                <a:gd name="connsiteX11394" fmla="*/ 1699790 w 6942639"/>
                <a:gd name="connsiteY11394" fmla="*/ 4 h 9250612"/>
                <a:gd name="connsiteX11395" fmla="*/ 1868550 w 6942639"/>
                <a:gd name="connsiteY11395" fmla="*/ 4 h 9250612"/>
                <a:gd name="connsiteX11396" fmla="*/ 1877491 w 6942639"/>
                <a:gd name="connsiteY11396" fmla="*/ 8964 h 9250612"/>
                <a:gd name="connsiteX11397" fmla="*/ 1868550 w 6942639"/>
                <a:gd name="connsiteY11397" fmla="*/ 17924 h 9250612"/>
                <a:gd name="connsiteX11398" fmla="*/ 1859567 w 6942639"/>
                <a:gd name="connsiteY11398" fmla="*/ 8964 h 9250612"/>
                <a:gd name="connsiteX11399" fmla="*/ 1868550 w 6942639"/>
                <a:gd name="connsiteY11399" fmla="*/ 4 h 9250612"/>
                <a:gd name="connsiteX11400" fmla="*/ 2037243 w 6942639"/>
                <a:gd name="connsiteY11400" fmla="*/ 4 h 9250612"/>
                <a:gd name="connsiteX11401" fmla="*/ 2046174 w 6942639"/>
                <a:gd name="connsiteY11401" fmla="*/ 8964 h 9250612"/>
                <a:gd name="connsiteX11402" fmla="*/ 2037243 w 6942639"/>
                <a:gd name="connsiteY11402" fmla="*/ 17924 h 9250612"/>
                <a:gd name="connsiteX11403" fmla="*/ 2028314 w 6942639"/>
                <a:gd name="connsiteY11403" fmla="*/ 8964 h 9250612"/>
                <a:gd name="connsiteX11404" fmla="*/ 2037243 w 6942639"/>
                <a:gd name="connsiteY11404" fmla="*/ 4 h 9250612"/>
                <a:gd name="connsiteX11405" fmla="*/ 2205985 w 6942639"/>
                <a:gd name="connsiteY11405" fmla="*/ 3 h 9250612"/>
                <a:gd name="connsiteX11406" fmla="*/ 2214939 w 6942639"/>
                <a:gd name="connsiteY11406" fmla="*/ 8964 h 9250612"/>
                <a:gd name="connsiteX11407" fmla="*/ 2205985 w 6942639"/>
                <a:gd name="connsiteY11407" fmla="*/ 17924 h 9250612"/>
                <a:gd name="connsiteX11408" fmla="*/ 2196987 w 6942639"/>
                <a:gd name="connsiteY11408" fmla="*/ 8964 h 9250612"/>
                <a:gd name="connsiteX11409" fmla="*/ 2205985 w 6942639"/>
                <a:gd name="connsiteY11409" fmla="*/ 3 h 9250612"/>
                <a:gd name="connsiteX11410" fmla="*/ 2374669 w 6942639"/>
                <a:gd name="connsiteY11410" fmla="*/ 3 h 9250612"/>
                <a:gd name="connsiteX11411" fmla="*/ 2383698 w 6942639"/>
                <a:gd name="connsiteY11411" fmla="*/ 8963 h 9250612"/>
                <a:gd name="connsiteX11412" fmla="*/ 2374669 w 6942639"/>
                <a:gd name="connsiteY11412" fmla="*/ 17924 h 9250612"/>
                <a:gd name="connsiteX11413" fmla="*/ 2365706 w 6942639"/>
                <a:gd name="connsiteY11413" fmla="*/ 8963 h 9250612"/>
                <a:gd name="connsiteX11414" fmla="*/ 2374669 w 6942639"/>
                <a:gd name="connsiteY11414" fmla="*/ 3 h 9250612"/>
                <a:gd name="connsiteX11415" fmla="*/ 2543490 w 6942639"/>
                <a:gd name="connsiteY11415" fmla="*/ 3 h 9250612"/>
                <a:gd name="connsiteX11416" fmla="*/ 2552455 w 6942639"/>
                <a:gd name="connsiteY11416" fmla="*/ 8963 h 9250612"/>
                <a:gd name="connsiteX11417" fmla="*/ 2543490 w 6942639"/>
                <a:gd name="connsiteY11417" fmla="*/ 17924 h 9250612"/>
                <a:gd name="connsiteX11418" fmla="*/ 2534513 w 6942639"/>
                <a:gd name="connsiteY11418" fmla="*/ 8963 h 9250612"/>
                <a:gd name="connsiteX11419" fmla="*/ 2543490 w 6942639"/>
                <a:gd name="connsiteY11419" fmla="*/ 3 h 9250612"/>
                <a:gd name="connsiteX11420" fmla="*/ 2712150 w 6942639"/>
                <a:gd name="connsiteY11420" fmla="*/ 3 h 9250612"/>
                <a:gd name="connsiteX11421" fmla="*/ 2721138 w 6942639"/>
                <a:gd name="connsiteY11421" fmla="*/ 8963 h 9250612"/>
                <a:gd name="connsiteX11422" fmla="*/ 2712150 w 6942639"/>
                <a:gd name="connsiteY11422" fmla="*/ 17923 h 9250612"/>
                <a:gd name="connsiteX11423" fmla="*/ 2703204 w 6942639"/>
                <a:gd name="connsiteY11423" fmla="*/ 8963 h 9250612"/>
                <a:gd name="connsiteX11424" fmla="*/ 2712150 w 6942639"/>
                <a:gd name="connsiteY11424" fmla="*/ 3 h 9250612"/>
                <a:gd name="connsiteX11425" fmla="*/ 2880933 w 6942639"/>
                <a:gd name="connsiteY11425" fmla="*/ 3 h 9250612"/>
                <a:gd name="connsiteX11426" fmla="*/ 2889887 w 6942639"/>
                <a:gd name="connsiteY11426" fmla="*/ 8963 h 9250612"/>
                <a:gd name="connsiteX11427" fmla="*/ 2880933 w 6942639"/>
                <a:gd name="connsiteY11427" fmla="*/ 17923 h 9250612"/>
                <a:gd name="connsiteX11428" fmla="*/ 2871975 w 6942639"/>
                <a:gd name="connsiteY11428" fmla="*/ 8963 h 9250612"/>
                <a:gd name="connsiteX11429" fmla="*/ 2880933 w 6942639"/>
                <a:gd name="connsiteY11429" fmla="*/ 3 h 9250612"/>
                <a:gd name="connsiteX11430" fmla="*/ 3049642 w 6942639"/>
                <a:gd name="connsiteY11430" fmla="*/ 3 h 9250612"/>
                <a:gd name="connsiteX11431" fmla="*/ 3058599 w 6942639"/>
                <a:gd name="connsiteY11431" fmla="*/ 8963 h 9250612"/>
                <a:gd name="connsiteX11432" fmla="*/ 3049642 w 6942639"/>
                <a:gd name="connsiteY11432" fmla="*/ 17923 h 9250612"/>
                <a:gd name="connsiteX11433" fmla="*/ 3040672 w 6942639"/>
                <a:gd name="connsiteY11433" fmla="*/ 8963 h 9250612"/>
                <a:gd name="connsiteX11434" fmla="*/ 3049642 w 6942639"/>
                <a:gd name="connsiteY11434" fmla="*/ 3 h 9250612"/>
                <a:gd name="connsiteX11435" fmla="*/ 3218335 w 6942639"/>
                <a:gd name="connsiteY11435" fmla="*/ 3 h 9250612"/>
                <a:gd name="connsiteX11436" fmla="*/ 3227311 w 6942639"/>
                <a:gd name="connsiteY11436" fmla="*/ 8963 h 9250612"/>
                <a:gd name="connsiteX11437" fmla="*/ 3218335 w 6942639"/>
                <a:gd name="connsiteY11437" fmla="*/ 17923 h 9250612"/>
                <a:gd name="connsiteX11438" fmla="*/ 3209365 w 6942639"/>
                <a:gd name="connsiteY11438" fmla="*/ 8963 h 9250612"/>
                <a:gd name="connsiteX11439" fmla="*/ 3218335 w 6942639"/>
                <a:gd name="connsiteY11439" fmla="*/ 3 h 9250612"/>
                <a:gd name="connsiteX11440" fmla="*/ 3387085 w 6942639"/>
                <a:gd name="connsiteY11440" fmla="*/ 2 h 9250612"/>
                <a:gd name="connsiteX11441" fmla="*/ 3396070 w 6942639"/>
                <a:gd name="connsiteY11441" fmla="*/ 8963 h 9250612"/>
                <a:gd name="connsiteX11442" fmla="*/ 3387085 w 6942639"/>
                <a:gd name="connsiteY11442" fmla="*/ 17923 h 9250612"/>
                <a:gd name="connsiteX11443" fmla="*/ 3378068 w 6942639"/>
                <a:gd name="connsiteY11443" fmla="*/ 8963 h 9250612"/>
                <a:gd name="connsiteX11444" fmla="*/ 3387085 w 6942639"/>
                <a:gd name="connsiteY11444" fmla="*/ 2 h 9250612"/>
                <a:gd name="connsiteX11445" fmla="*/ 3555688 w 6942639"/>
                <a:gd name="connsiteY11445" fmla="*/ 2 h 9250612"/>
                <a:gd name="connsiteX11446" fmla="*/ 3564649 w 6942639"/>
                <a:gd name="connsiteY11446" fmla="*/ 8963 h 9250612"/>
                <a:gd name="connsiteX11447" fmla="*/ 3555688 w 6942639"/>
                <a:gd name="connsiteY11447" fmla="*/ 17923 h 9250612"/>
                <a:gd name="connsiteX11448" fmla="*/ 3546728 w 6942639"/>
                <a:gd name="connsiteY11448" fmla="*/ 8963 h 9250612"/>
                <a:gd name="connsiteX11449" fmla="*/ 3555688 w 6942639"/>
                <a:gd name="connsiteY11449" fmla="*/ 2 h 9250612"/>
                <a:gd name="connsiteX11450" fmla="*/ 3724429 w 6942639"/>
                <a:gd name="connsiteY11450" fmla="*/ 2 h 9250612"/>
                <a:gd name="connsiteX11451" fmla="*/ 3733390 w 6942639"/>
                <a:gd name="connsiteY11451" fmla="*/ 8962 h 9250612"/>
                <a:gd name="connsiteX11452" fmla="*/ 3724429 w 6942639"/>
                <a:gd name="connsiteY11452" fmla="*/ 17923 h 9250612"/>
                <a:gd name="connsiteX11453" fmla="*/ 3715469 w 6942639"/>
                <a:gd name="connsiteY11453" fmla="*/ 8962 h 9250612"/>
                <a:gd name="connsiteX11454" fmla="*/ 3724429 w 6942639"/>
                <a:gd name="connsiteY11454" fmla="*/ 2 h 9250612"/>
                <a:gd name="connsiteX11455" fmla="*/ 3893170 w 6942639"/>
                <a:gd name="connsiteY11455" fmla="*/ 2 h 9250612"/>
                <a:gd name="connsiteX11456" fmla="*/ 3902131 w 6942639"/>
                <a:gd name="connsiteY11456" fmla="*/ 8962 h 9250612"/>
                <a:gd name="connsiteX11457" fmla="*/ 3893170 w 6942639"/>
                <a:gd name="connsiteY11457" fmla="*/ 17922 h 9250612"/>
                <a:gd name="connsiteX11458" fmla="*/ 3884210 w 6942639"/>
                <a:gd name="connsiteY11458" fmla="*/ 8962 h 9250612"/>
                <a:gd name="connsiteX11459" fmla="*/ 3893170 w 6942639"/>
                <a:gd name="connsiteY11459" fmla="*/ 2 h 9250612"/>
                <a:gd name="connsiteX11460" fmla="*/ 4061912 w 6942639"/>
                <a:gd name="connsiteY11460" fmla="*/ 2 h 9250612"/>
                <a:gd name="connsiteX11461" fmla="*/ 4070873 w 6942639"/>
                <a:gd name="connsiteY11461" fmla="*/ 8962 h 9250612"/>
                <a:gd name="connsiteX11462" fmla="*/ 4061912 w 6942639"/>
                <a:gd name="connsiteY11462" fmla="*/ 17922 h 9250612"/>
                <a:gd name="connsiteX11463" fmla="*/ 4052952 w 6942639"/>
                <a:gd name="connsiteY11463" fmla="*/ 8962 h 9250612"/>
                <a:gd name="connsiteX11464" fmla="*/ 4061912 w 6942639"/>
                <a:gd name="connsiteY11464" fmla="*/ 2 h 9250612"/>
                <a:gd name="connsiteX11465" fmla="*/ 4230654 w 6942639"/>
                <a:gd name="connsiteY11465" fmla="*/ 2 h 9250612"/>
                <a:gd name="connsiteX11466" fmla="*/ 4239615 w 6942639"/>
                <a:gd name="connsiteY11466" fmla="*/ 8962 h 9250612"/>
                <a:gd name="connsiteX11467" fmla="*/ 4230654 w 6942639"/>
                <a:gd name="connsiteY11467" fmla="*/ 17922 h 9250612"/>
                <a:gd name="connsiteX11468" fmla="*/ 4221694 w 6942639"/>
                <a:gd name="connsiteY11468" fmla="*/ 8962 h 9250612"/>
                <a:gd name="connsiteX11469" fmla="*/ 4230654 w 6942639"/>
                <a:gd name="connsiteY11469" fmla="*/ 2 h 9250612"/>
                <a:gd name="connsiteX11470" fmla="*/ 4399396 w 6942639"/>
                <a:gd name="connsiteY11470" fmla="*/ 2 h 9250612"/>
                <a:gd name="connsiteX11471" fmla="*/ 4408357 w 6942639"/>
                <a:gd name="connsiteY11471" fmla="*/ 8962 h 9250612"/>
                <a:gd name="connsiteX11472" fmla="*/ 4399396 w 6942639"/>
                <a:gd name="connsiteY11472" fmla="*/ 17922 h 9250612"/>
                <a:gd name="connsiteX11473" fmla="*/ 4390436 w 6942639"/>
                <a:gd name="connsiteY11473" fmla="*/ 8962 h 9250612"/>
                <a:gd name="connsiteX11474" fmla="*/ 4399396 w 6942639"/>
                <a:gd name="connsiteY11474" fmla="*/ 2 h 9250612"/>
                <a:gd name="connsiteX11475" fmla="*/ 4568137 w 6942639"/>
                <a:gd name="connsiteY11475" fmla="*/ 1 h 9250612"/>
                <a:gd name="connsiteX11476" fmla="*/ 4577098 w 6942639"/>
                <a:gd name="connsiteY11476" fmla="*/ 8962 h 9250612"/>
                <a:gd name="connsiteX11477" fmla="*/ 4568137 w 6942639"/>
                <a:gd name="connsiteY11477" fmla="*/ 17922 h 9250612"/>
                <a:gd name="connsiteX11478" fmla="*/ 4559177 w 6942639"/>
                <a:gd name="connsiteY11478" fmla="*/ 8962 h 9250612"/>
                <a:gd name="connsiteX11479" fmla="*/ 4568137 w 6942639"/>
                <a:gd name="connsiteY11479" fmla="*/ 1 h 9250612"/>
                <a:gd name="connsiteX11480" fmla="*/ 4736878 w 6942639"/>
                <a:gd name="connsiteY11480" fmla="*/ 1 h 9250612"/>
                <a:gd name="connsiteX11481" fmla="*/ 4745839 w 6942639"/>
                <a:gd name="connsiteY11481" fmla="*/ 8962 h 9250612"/>
                <a:gd name="connsiteX11482" fmla="*/ 4736878 w 6942639"/>
                <a:gd name="connsiteY11482" fmla="*/ 17922 h 9250612"/>
                <a:gd name="connsiteX11483" fmla="*/ 4727918 w 6942639"/>
                <a:gd name="connsiteY11483" fmla="*/ 8962 h 9250612"/>
                <a:gd name="connsiteX11484" fmla="*/ 4736878 w 6942639"/>
                <a:gd name="connsiteY11484" fmla="*/ 1 h 9250612"/>
                <a:gd name="connsiteX11485" fmla="*/ 4905620 w 6942639"/>
                <a:gd name="connsiteY11485" fmla="*/ 1 h 9250612"/>
                <a:gd name="connsiteX11486" fmla="*/ 4914581 w 6942639"/>
                <a:gd name="connsiteY11486" fmla="*/ 8961 h 9250612"/>
                <a:gd name="connsiteX11487" fmla="*/ 4905620 w 6942639"/>
                <a:gd name="connsiteY11487" fmla="*/ 17922 h 9250612"/>
                <a:gd name="connsiteX11488" fmla="*/ 4896660 w 6942639"/>
                <a:gd name="connsiteY11488" fmla="*/ 8961 h 9250612"/>
                <a:gd name="connsiteX11489" fmla="*/ 4905620 w 6942639"/>
                <a:gd name="connsiteY11489" fmla="*/ 1 h 9250612"/>
                <a:gd name="connsiteX11490" fmla="*/ 5074362 w 6942639"/>
                <a:gd name="connsiteY11490" fmla="*/ 1 h 9250612"/>
                <a:gd name="connsiteX11491" fmla="*/ 5083323 w 6942639"/>
                <a:gd name="connsiteY11491" fmla="*/ 8961 h 9250612"/>
                <a:gd name="connsiteX11492" fmla="*/ 5074362 w 6942639"/>
                <a:gd name="connsiteY11492" fmla="*/ 17921 h 9250612"/>
                <a:gd name="connsiteX11493" fmla="*/ 5065402 w 6942639"/>
                <a:gd name="connsiteY11493" fmla="*/ 8961 h 9250612"/>
                <a:gd name="connsiteX11494" fmla="*/ 5074362 w 6942639"/>
                <a:gd name="connsiteY11494" fmla="*/ 1 h 9250612"/>
                <a:gd name="connsiteX11495" fmla="*/ 5243103 w 6942639"/>
                <a:gd name="connsiteY11495" fmla="*/ 1 h 9250612"/>
                <a:gd name="connsiteX11496" fmla="*/ 5252064 w 6942639"/>
                <a:gd name="connsiteY11496" fmla="*/ 8961 h 9250612"/>
                <a:gd name="connsiteX11497" fmla="*/ 5243103 w 6942639"/>
                <a:gd name="connsiteY11497" fmla="*/ 17921 h 9250612"/>
                <a:gd name="connsiteX11498" fmla="*/ 5234143 w 6942639"/>
                <a:gd name="connsiteY11498" fmla="*/ 8961 h 9250612"/>
                <a:gd name="connsiteX11499" fmla="*/ 5243103 w 6942639"/>
                <a:gd name="connsiteY11499" fmla="*/ 1 h 9250612"/>
                <a:gd name="connsiteX11500" fmla="*/ 5411845 w 6942639"/>
                <a:gd name="connsiteY11500" fmla="*/ 1 h 9250612"/>
                <a:gd name="connsiteX11501" fmla="*/ 5420806 w 6942639"/>
                <a:gd name="connsiteY11501" fmla="*/ 8961 h 9250612"/>
                <a:gd name="connsiteX11502" fmla="*/ 5411845 w 6942639"/>
                <a:gd name="connsiteY11502" fmla="*/ 17921 h 9250612"/>
                <a:gd name="connsiteX11503" fmla="*/ 5402885 w 6942639"/>
                <a:gd name="connsiteY11503" fmla="*/ 8961 h 9250612"/>
                <a:gd name="connsiteX11504" fmla="*/ 5411845 w 6942639"/>
                <a:gd name="connsiteY11504" fmla="*/ 1 h 9250612"/>
                <a:gd name="connsiteX11505" fmla="*/ 5580586 w 6942639"/>
                <a:gd name="connsiteY11505" fmla="*/ 1 h 9250612"/>
                <a:gd name="connsiteX11506" fmla="*/ 5589547 w 6942639"/>
                <a:gd name="connsiteY11506" fmla="*/ 8961 h 9250612"/>
                <a:gd name="connsiteX11507" fmla="*/ 5580586 w 6942639"/>
                <a:gd name="connsiteY11507" fmla="*/ 17921 h 9250612"/>
                <a:gd name="connsiteX11508" fmla="*/ 5571626 w 6942639"/>
                <a:gd name="connsiteY11508" fmla="*/ 8961 h 9250612"/>
                <a:gd name="connsiteX11509" fmla="*/ 5580586 w 6942639"/>
                <a:gd name="connsiteY11509" fmla="*/ 1 h 9250612"/>
                <a:gd name="connsiteX11510" fmla="*/ 5749328 w 6942639"/>
                <a:gd name="connsiteY11510" fmla="*/ 1 h 9250612"/>
                <a:gd name="connsiteX11511" fmla="*/ 5758289 w 6942639"/>
                <a:gd name="connsiteY11511" fmla="*/ 8961 h 9250612"/>
                <a:gd name="connsiteX11512" fmla="*/ 5749328 w 6942639"/>
                <a:gd name="connsiteY11512" fmla="*/ 17921 h 9250612"/>
                <a:gd name="connsiteX11513" fmla="*/ 5740368 w 6942639"/>
                <a:gd name="connsiteY11513" fmla="*/ 8961 h 9250612"/>
                <a:gd name="connsiteX11514" fmla="*/ 5749328 w 6942639"/>
                <a:gd name="connsiteY11514" fmla="*/ 1 h 9250612"/>
                <a:gd name="connsiteX11515" fmla="*/ 5918069 w 6942639"/>
                <a:gd name="connsiteY11515" fmla="*/ 0 h 9250612"/>
                <a:gd name="connsiteX11516" fmla="*/ 5927030 w 6942639"/>
                <a:gd name="connsiteY11516" fmla="*/ 8961 h 9250612"/>
                <a:gd name="connsiteX11517" fmla="*/ 5918069 w 6942639"/>
                <a:gd name="connsiteY11517" fmla="*/ 17921 h 9250612"/>
                <a:gd name="connsiteX11518" fmla="*/ 5909109 w 6942639"/>
                <a:gd name="connsiteY11518" fmla="*/ 8961 h 9250612"/>
                <a:gd name="connsiteX11519" fmla="*/ 5918069 w 6942639"/>
                <a:gd name="connsiteY11519" fmla="*/ 0 h 9250612"/>
                <a:gd name="connsiteX11520" fmla="*/ 6086811 w 6942639"/>
                <a:gd name="connsiteY11520" fmla="*/ 0 h 9250612"/>
                <a:gd name="connsiteX11521" fmla="*/ 6095772 w 6942639"/>
                <a:gd name="connsiteY11521" fmla="*/ 8960 h 9250612"/>
                <a:gd name="connsiteX11522" fmla="*/ 6086811 w 6942639"/>
                <a:gd name="connsiteY11522" fmla="*/ 17921 h 9250612"/>
                <a:gd name="connsiteX11523" fmla="*/ 6077851 w 6942639"/>
                <a:gd name="connsiteY11523" fmla="*/ 8960 h 9250612"/>
                <a:gd name="connsiteX11524" fmla="*/ 6086811 w 6942639"/>
                <a:gd name="connsiteY11524" fmla="*/ 0 h 9250612"/>
                <a:gd name="connsiteX11525" fmla="*/ 6255553 w 6942639"/>
                <a:gd name="connsiteY11525" fmla="*/ 0 h 9250612"/>
                <a:gd name="connsiteX11526" fmla="*/ 6264514 w 6942639"/>
                <a:gd name="connsiteY11526" fmla="*/ 8960 h 9250612"/>
                <a:gd name="connsiteX11527" fmla="*/ 6255553 w 6942639"/>
                <a:gd name="connsiteY11527" fmla="*/ 17920 h 9250612"/>
                <a:gd name="connsiteX11528" fmla="*/ 6246593 w 6942639"/>
                <a:gd name="connsiteY11528" fmla="*/ 8960 h 9250612"/>
                <a:gd name="connsiteX11529" fmla="*/ 6255553 w 6942639"/>
                <a:gd name="connsiteY11529" fmla="*/ 0 h 9250612"/>
                <a:gd name="connsiteX11530" fmla="*/ 6424294 w 6942639"/>
                <a:gd name="connsiteY11530" fmla="*/ 0 h 9250612"/>
                <a:gd name="connsiteX11531" fmla="*/ 6433255 w 6942639"/>
                <a:gd name="connsiteY11531" fmla="*/ 8960 h 9250612"/>
                <a:gd name="connsiteX11532" fmla="*/ 6424294 w 6942639"/>
                <a:gd name="connsiteY11532" fmla="*/ 17920 h 9250612"/>
                <a:gd name="connsiteX11533" fmla="*/ 6415334 w 6942639"/>
                <a:gd name="connsiteY11533" fmla="*/ 8960 h 9250612"/>
                <a:gd name="connsiteX11534" fmla="*/ 6424294 w 6942639"/>
                <a:gd name="connsiteY11534" fmla="*/ 0 h 9250612"/>
                <a:gd name="connsiteX11535" fmla="*/ 6593035 w 6942639"/>
                <a:gd name="connsiteY11535" fmla="*/ 0 h 9250612"/>
                <a:gd name="connsiteX11536" fmla="*/ 6601996 w 6942639"/>
                <a:gd name="connsiteY11536" fmla="*/ 8960 h 9250612"/>
                <a:gd name="connsiteX11537" fmla="*/ 6593035 w 6942639"/>
                <a:gd name="connsiteY11537" fmla="*/ 17920 h 9250612"/>
                <a:gd name="connsiteX11538" fmla="*/ 6584075 w 6942639"/>
                <a:gd name="connsiteY11538" fmla="*/ 8960 h 9250612"/>
                <a:gd name="connsiteX11539" fmla="*/ 6593035 w 6942639"/>
                <a:gd name="connsiteY11539" fmla="*/ 0 h 9250612"/>
                <a:gd name="connsiteX11540" fmla="*/ 6763357 w 6942639"/>
                <a:gd name="connsiteY11540" fmla="*/ 0 h 9250612"/>
                <a:gd name="connsiteX11541" fmla="*/ 6772318 w 6942639"/>
                <a:gd name="connsiteY11541" fmla="*/ 8960 h 9250612"/>
                <a:gd name="connsiteX11542" fmla="*/ 6763357 w 6942639"/>
                <a:gd name="connsiteY11542" fmla="*/ 17920 h 9250612"/>
                <a:gd name="connsiteX11543" fmla="*/ 6754397 w 6942639"/>
                <a:gd name="connsiteY11543" fmla="*/ 8960 h 9250612"/>
                <a:gd name="connsiteX11544" fmla="*/ 6763357 w 6942639"/>
                <a:gd name="connsiteY11544" fmla="*/ 0 h 9250612"/>
                <a:gd name="connsiteX11545" fmla="*/ 6933679 w 6942639"/>
                <a:gd name="connsiteY11545" fmla="*/ 0 h 9250612"/>
                <a:gd name="connsiteX11546" fmla="*/ 6942639 w 6942639"/>
                <a:gd name="connsiteY11546" fmla="*/ 8960 h 9250612"/>
                <a:gd name="connsiteX11547" fmla="*/ 6933679 w 6942639"/>
                <a:gd name="connsiteY11547" fmla="*/ 17920 h 9250612"/>
                <a:gd name="connsiteX11548" fmla="*/ 6924718 w 6942639"/>
                <a:gd name="connsiteY11548" fmla="*/ 8960 h 9250612"/>
                <a:gd name="connsiteX11549" fmla="*/ 6933679 w 6942639"/>
                <a:gd name="connsiteY11549" fmla="*/ 0 h 925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  <a:cxn ang="0">
                  <a:pos x="connsiteX10954" y="connsiteY10954"/>
                </a:cxn>
                <a:cxn ang="0">
                  <a:pos x="connsiteX10955" y="connsiteY10955"/>
                </a:cxn>
                <a:cxn ang="0">
                  <a:pos x="connsiteX10956" y="connsiteY10956"/>
                </a:cxn>
                <a:cxn ang="0">
                  <a:pos x="connsiteX10957" y="connsiteY10957"/>
                </a:cxn>
                <a:cxn ang="0">
                  <a:pos x="connsiteX10958" y="connsiteY10958"/>
                </a:cxn>
                <a:cxn ang="0">
                  <a:pos x="connsiteX10959" y="connsiteY10959"/>
                </a:cxn>
                <a:cxn ang="0">
                  <a:pos x="connsiteX10960" y="connsiteY10960"/>
                </a:cxn>
                <a:cxn ang="0">
                  <a:pos x="connsiteX10961" y="connsiteY10961"/>
                </a:cxn>
                <a:cxn ang="0">
                  <a:pos x="connsiteX10962" y="connsiteY10962"/>
                </a:cxn>
                <a:cxn ang="0">
                  <a:pos x="connsiteX10963" y="connsiteY10963"/>
                </a:cxn>
                <a:cxn ang="0">
                  <a:pos x="connsiteX10964" y="connsiteY10964"/>
                </a:cxn>
                <a:cxn ang="0">
                  <a:pos x="connsiteX10965" y="connsiteY10965"/>
                </a:cxn>
                <a:cxn ang="0">
                  <a:pos x="connsiteX10966" y="connsiteY10966"/>
                </a:cxn>
                <a:cxn ang="0">
                  <a:pos x="connsiteX10967" y="connsiteY10967"/>
                </a:cxn>
                <a:cxn ang="0">
                  <a:pos x="connsiteX10968" y="connsiteY10968"/>
                </a:cxn>
                <a:cxn ang="0">
                  <a:pos x="connsiteX10969" y="connsiteY10969"/>
                </a:cxn>
                <a:cxn ang="0">
                  <a:pos x="connsiteX10970" y="connsiteY10970"/>
                </a:cxn>
                <a:cxn ang="0">
                  <a:pos x="connsiteX10971" y="connsiteY10971"/>
                </a:cxn>
                <a:cxn ang="0">
                  <a:pos x="connsiteX10972" y="connsiteY10972"/>
                </a:cxn>
                <a:cxn ang="0">
                  <a:pos x="connsiteX10973" y="connsiteY10973"/>
                </a:cxn>
                <a:cxn ang="0">
                  <a:pos x="connsiteX10974" y="connsiteY10974"/>
                </a:cxn>
                <a:cxn ang="0">
                  <a:pos x="connsiteX10975" y="connsiteY10975"/>
                </a:cxn>
                <a:cxn ang="0">
                  <a:pos x="connsiteX10976" y="connsiteY10976"/>
                </a:cxn>
                <a:cxn ang="0">
                  <a:pos x="connsiteX10977" y="connsiteY10977"/>
                </a:cxn>
                <a:cxn ang="0">
                  <a:pos x="connsiteX10978" y="connsiteY10978"/>
                </a:cxn>
                <a:cxn ang="0">
                  <a:pos x="connsiteX10979" y="connsiteY10979"/>
                </a:cxn>
                <a:cxn ang="0">
                  <a:pos x="connsiteX10980" y="connsiteY10980"/>
                </a:cxn>
                <a:cxn ang="0">
                  <a:pos x="connsiteX10981" y="connsiteY10981"/>
                </a:cxn>
                <a:cxn ang="0">
                  <a:pos x="connsiteX10982" y="connsiteY10982"/>
                </a:cxn>
                <a:cxn ang="0">
                  <a:pos x="connsiteX10983" y="connsiteY10983"/>
                </a:cxn>
                <a:cxn ang="0">
                  <a:pos x="connsiteX10984" y="connsiteY10984"/>
                </a:cxn>
                <a:cxn ang="0">
                  <a:pos x="connsiteX10985" y="connsiteY10985"/>
                </a:cxn>
                <a:cxn ang="0">
                  <a:pos x="connsiteX10986" y="connsiteY10986"/>
                </a:cxn>
                <a:cxn ang="0">
                  <a:pos x="connsiteX10987" y="connsiteY10987"/>
                </a:cxn>
                <a:cxn ang="0">
                  <a:pos x="connsiteX10988" y="connsiteY10988"/>
                </a:cxn>
                <a:cxn ang="0">
                  <a:pos x="connsiteX10989" y="connsiteY10989"/>
                </a:cxn>
                <a:cxn ang="0">
                  <a:pos x="connsiteX10990" y="connsiteY10990"/>
                </a:cxn>
                <a:cxn ang="0">
                  <a:pos x="connsiteX10991" y="connsiteY10991"/>
                </a:cxn>
                <a:cxn ang="0">
                  <a:pos x="connsiteX10992" y="connsiteY10992"/>
                </a:cxn>
                <a:cxn ang="0">
                  <a:pos x="connsiteX10993" y="connsiteY10993"/>
                </a:cxn>
                <a:cxn ang="0">
                  <a:pos x="connsiteX10994" y="connsiteY10994"/>
                </a:cxn>
                <a:cxn ang="0">
                  <a:pos x="connsiteX10995" y="connsiteY10995"/>
                </a:cxn>
                <a:cxn ang="0">
                  <a:pos x="connsiteX10996" y="connsiteY10996"/>
                </a:cxn>
                <a:cxn ang="0">
                  <a:pos x="connsiteX10997" y="connsiteY10997"/>
                </a:cxn>
                <a:cxn ang="0">
                  <a:pos x="connsiteX10998" y="connsiteY10998"/>
                </a:cxn>
                <a:cxn ang="0">
                  <a:pos x="connsiteX10999" y="connsiteY10999"/>
                </a:cxn>
                <a:cxn ang="0">
                  <a:pos x="connsiteX11000" y="connsiteY11000"/>
                </a:cxn>
                <a:cxn ang="0">
                  <a:pos x="connsiteX11001" y="connsiteY11001"/>
                </a:cxn>
                <a:cxn ang="0">
                  <a:pos x="connsiteX11002" y="connsiteY11002"/>
                </a:cxn>
                <a:cxn ang="0">
                  <a:pos x="connsiteX11003" y="connsiteY11003"/>
                </a:cxn>
                <a:cxn ang="0">
                  <a:pos x="connsiteX11004" y="connsiteY11004"/>
                </a:cxn>
                <a:cxn ang="0">
                  <a:pos x="connsiteX11005" y="connsiteY11005"/>
                </a:cxn>
                <a:cxn ang="0">
                  <a:pos x="connsiteX11006" y="connsiteY11006"/>
                </a:cxn>
                <a:cxn ang="0">
                  <a:pos x="connsiteX11007" y="connsiteY11007"/>
                </a:cxn>
                <a:cxn ang="0">
                  <a:pos x="connsiteX11008" y="connsiteY11008"/>
                </a:cxn>
                <a:cxn ang="0">
                  <a:pos x="connsiteX11009" y="connsiteY11009"/>
                </a:cxn>
                <a:cxn ang="0">
                  <a:pos x="connsiteX11010" y="connsiteY11010"/>
                </a:cxn>
                <a:cxn ang="0">
                  <a:pos x="connsiteX11011" y="connsiteY11011"/>
                </a:cxn>
                <a:cxn ang="0">
                  <a:pos x="connsiteX11012" y="connsiteY11012"/>
                </a:cxn>
                <a:cxn ang="0">
                  <a:pos x="connsiteX11013" y="connsiteY11013"/>
                </a:cxn>
                <a:cxn ang="0">
                  <a:pos x="connsiteX11014" y="connsiteY11014"/>
                </a:cxn>
                <a:cxn ang="0">
                  <a:pos x="connsiteX11015" y="connsiteY11015"/>
                </a:cxn>
                <a:cxn ang="0">
                  <a:pos x="connsiteX11016" y="connsiteY11016"/>
                </a:cxn>
                <a:cxn ang="0">
                  <a:pos x="connsiteX11017" y="connsiteY11017"/>
                </a:cxn>
                <a:cxn ang="0">
                  <a:pos x="connsiteX11018" y="connsiteY11018"/>
                </a:cxn>
                <a:cxn ang="0">
                  <a:pos x="connsiteX11019" y="connsiteY11019"/>
                </a:cxn>
                <a:cxn ang="0">
                  <a:pos x="connsiteX11020" y="connsiteY11020"/>
                </a:cxn>
                <a:cxn ang="0">
                  <a:pos x="connsiteX11021" y="connsiteY11021"/>
                </a:cxn>
                <a:cxn ang="0">
                  <a:pos x="connsiteX11022" y="connsiteY11022"/>
                </a:cxn>
                <a:cxn ang="0">
                  <a:pos x="connsiteX11023" y="connsiteY11023"/>
                </a:cxn>
                <a:cxn ang="0">
                  <a:pos x="connsiteX11024" y="connsiteY11024"/>
                </a:cxn>
                <a:cxn ang="0">
                  <a:pos x="connsiteX11025" y="connsiteY11025"/>
                </a:cxn>
                <a:cxn ang="0">
                  <a:pos x="connsiteX11026" y="connsiteY11026"/>
                </a:cxn>
                <a:cxn ang="0">
                  <a:pos x="connsiteX11027" y="connsiteY11027"/>
                </a:cxn>
                <a:cxn ang="0">
                  <a:pos x="connsiteX11028" y="connsiteY11028"/>
                </a:cxn>
                <a:cxn ang="0">
                  <a:pos x="connsiteX11029" y="connsiteY11029"/>
                </a:cxn>
                <a:cxn ang="0">
                  <a:pos x="connsiteX11030" y="connsiteY11030"/>
                </a:cxn>
                <a:cxn ang="0">
                  <a:pos x="connsiteX11031" y="connsiteY11031"/>
                </a:cxn>
                <a:cxn ang="0">
                  <a:pos x="connsiteX11032" y="connsiteY11032"/>
                </a:cxn>
                <a:cxn ang="0">
                  <a:pos x="connsiteX11033" y="connsiteY11033"/>
                </a:cxn>
                <a:cxn ang="0">
                  <a:pos x="connsiteX11034" y="connsiteY11034"/>
                </a:cxn>
                <a:cxn ang="0">
                  <a:pos x="connsiteX11035" y="connsiteY11035"/>
                </a:cxn>
                <a:cxn ang="0">
                  <a:pos x="connsiteX11036" y="connsiteY11036"/>
                </a:cxn>
                <a:cxn ang="0">
                  <a:pos x="connsiteX11037" y="connsiteY11037"/>
                </a:cxn>
                <a:cxn ang="0">
                  <a:pos x="connsiteX11038" y="connsiteY11038"/>
                </a:cxn>
                <a:cxn ang="0">
                  <a:pos x="connsiteX11039" y="connsiteY11039"/>
                </a:cxn>
                <a:cxn ang="0">
                  <a:pos x="connsiteX11040" y="connsiteY11040"/>
                </a:cxn>
                <a:cxn ang="0">
                  <a:pos x="connsiteX11041" y="connsiteY11041"/>
                </a:cxn>
                <a:cxn ang="0">
                  <a:pos x="connsiteX11042" y="connsiteY11042"/>
                </a:cxn>
                <a:cxn ang="0">
                  <a:pos x="connsiteX11043" y="connsiteY11043"/>
                </a:cxn>
                <a:cxn ang="0">
                  <a:pos x="connsiteX11044" y="connsiteY11044"/>
                </a:cxn>
                <a:cxn ang="0">
                  <a:pos x="connsiteX11045" y="connsiteY11045"/>
                </a:cxn>
                <a:cxn ang="0">
                  <a:pos x="connsiteX11046" y="connsiteY11046"/>
                </a:cxn>
                <a:cxn ang="0">
                  <a:pos x="connsiteX11047" y="connsiteY11047"/>
                </a:cxn>
                <a:cxn ang="0">
                  <a:pos x="connsiteX11048" y="connsiteY11048"/>
                </a:cxn>
                <a:cxn ang="0">
                  <a:pos x="connsiteX11049" y="connsiteY11049"/>
                </a:cxn>
                <a:cxn ang="0">
                  <a:pos x="connsiteX11050" y="connsiteY11050"/>
                </a:cxn>
                <a:cxn ang="0">
                  <a:pos x="connsiteX11051" y="connsiteY11051"/>
                </a:cxn>
                <a:cxn ang="0">
                  <a:pos x="connsiteX11052" y="connsiteY11052"/>
                </a:cxn>
                <a:cxn ang="0">
                  <a:pos x="connsiteX11053" y="connsiteY11053"/>
                </a:cxn>
                <a:cxn ang="0">
                  <a:pos x="connsiteX11054" y="connsiteY11054"/>
                </a:cxn>
                <a:cxn ang="0">
                  <a:pos x="connsiteX11055" y="connsiteY11055"/>
                </a:cxn>
                <a:cxn ang="0">
                  <a:pos x="connsiteX11056" y="connsiteY11056"/>
                </a:cxn>
                <a:cxn ang="0">
                  <a:pos x="connsiteX11057" y="connsiteY11057"/>
                </a:cxn>
                <a:cxn ang="0">
                  <a:pos x="connsiteX11058" y="connsiteY11058"/>
                </a:cxn>
                <a:cxn ang="0">
                  <a:pos x="connsiteX11059" y="connsiteY11059"/>
                </a:cxn>
                <a:cxn ang="0">
                  <a:pos x="connsiteX11060" y="connsiteY11060"/>
                </a:cxn>
                <a:cxn ang="0">
                  <a:pos x="connsiteX11061" y="connsiteY11061"/>
                </a:cxn>
                <a:cxn ang="0">
                  <a:pos x="connsiteX11062" y="connsiteY11062"/>
                </a:cxn>
                <a:cxn ang="0">
                  <a:pos x="connsiteX11063" y="connsiteY11063"/>
                </a:cxn>
                <a:cxn ang="0">
                  <a:pos x="connsiteX11064" y="connsiteY11064"/>
                </a:cxn>
                <a:cxn ang="0">
                  <a:pos x="connsiteX11065" y="connsiteY11065"/>
                </a:cxn>
                <a:cxn ang="0">
                  <a:pos x="connsiteX11066" y="connsiteY11066"/>
                </a:cxn>
                <a:cxn ang="0">
                  <a:pos x="connsiteX11067" y="connsiteY11067"/>
                </a:cxn>
                <a:cxn ang="0">
                  <a:pos x="connsiteX11068" y="connsiteY11068"/>
                </a:cxn>
                <a:cxn ang="0">
                  <a:pos x="connsiteX11069" y="connsiteY11069"/>
                </a:cxn>
                <a:cxn ang="0">
                  <a:pos x="connsiteX11070" y="connsiteY11070"/>
                </a:cxn>
                <a:cxn ang="0">
                  <a:pos x="connsiteX11071" y="connsiteY11071"/>
                </a:cxn>
                <a:cxn ang="0">
                  <a:pos x="connsiteX11072" y="connsiteY11072"/>
                </a:cxn>
                <a:cxn ang="0">
                  <a:pos x="connsiteX11073" y="connsiteY11073"/>
                </a:cxn>
                <a:cxn ang="0">
                  <a:pos x="connsiteX11074" y="connsiteY11074"/>
                </a:cxn>
                <a:cxn ang="0">
                  <a:pos x="connsiteX11075" y="connsiteY11075"/>
                </a:cxn>
                <a:cxn ang="0">
                  <a:pos x="connsiteX11076" y="connsiteY11076"/>
                </a:cxn>
                <a:cxn ang="0">
                  <a:pos x="connsiteX11077" y="connsiteY11077"/>
                </a:cxn>
                <a:cxn ang="0">
                  <a:pos x="connsiteX11078" y="connsiteY11078"/>
                </a:cxn>
                <a:cxn ang="0">
                  <a:pos x="connsiteX11079" y="connsiteY11079"/>
                </a:cxn>
                <a:cxn ang="0">
                  <a:pos x="connsiteX11080" y="connsiteY11080"/>
                </a:cxn>
                <a:cxn ang="0">
                  <a:pos x="connsiteX11081" y="connsiteY11081"/>
                </a:cxn>
                <a:cxn ang="0">
                  <a:pos x="connsiteX11082" y="connsiteY11082"/>
                </a:cxn>
                <a:cxn ang="0">
                  <a:pos x="connsiteX11083" y="connsiteY11083"/>
                </a:cxn>
                <a:cxn ang="0">
                  <a:pos x="connsiteX11084" y="connsiteY11084"/>
                </a:cxn>
                <a:cxn ang="0">
                  <a:pos x="connsiteX11085" y="connsiteY11085"/>
                </a:cxn>
                <a:cxn ang="0">
                  <a:pos x="connsiteX11086" y="connsiteY11086"/>
                </a:cxn>
                <a:cxn ang="0">
                  <a:pos x="connsiteX11087" y="connsiteY11087"/>
                </a:cxn>
                <a:cxn ang="0">
                  <a:pos x="connsiteX11088" y="connsiteY11088"/>
                </a:cxn>
                <a:cxn ang="0">
                  <a:pos x="connsiteX11089" y="connsiteY11089"/>
                </a:cxn>
                <a:cxn ang="0">
                  <a:pos x="connsiteX11090" y="connsiteY11090"/>
                </a:cxn>
                <a:cxn ang="0">
                  <a:pos x="connsiteX11091" y="connsiteY11091"/>
                </a:cxn>
                <a:cxn ang="0">
                  <a:pos x="connsiteX11092" y="connsiteY11092"/>
                </a:cxn>
                <a:cxn ang="0">
                  <a:pos x="connsiteX11093" y="connsiteY11093"/>
                </a:cxn>
                <a:cxn ang="0">
                  <a:pos x="connsiteX11094" y="connsiteY11094"/>
                </a:cxn>
                <a:cxn ang="0">
                  <a:pos x="connsiteX11095" y="connsiteY11095"/>
                </a:cxn>
                <a:cxn ang="0">
                  <a:pos x="connsiteX11096" y="connsiteY11096"/>
                </a:cxn>
                <a:cxn ang="0">
                  <a:pos x="connsiteX11097" y="connsiteY11097"/>
                </a:cxn>
                <a:cxn ang="0">
                  <a:pos x="connsiteX11098" y="connsiteY11098"/>
                </a:cxn>
                <a:cxn ang="0">
                  <a:pos x="connsiteX11099" y="connsiteY11099"/>
                </a:cxn>
                <a:cxn ang="0">
                  <a:pos x="connsiteX11100" y="connsiteY11100"/>
                </a:cxn>
                <a:cxn ang="0">
                  <a:pos x="connsiteX11101" y="connsiteY11101"/>
                </a:cxn>
                <a:cxn ang="0">
                  <a:pos x="connsiteX11102" y="connsiteY11102"/>
                </a:cxn>
                <a:cxn ang="0">
                  <a:pos x="connsiteX11103" y="connsiteY11103"/>
                </a:cxn>
                <a:cxn ang="0">
                  <a:pos x="connsiteX11104" y="connsiteY11104"/>
                </a:cxn>
                <a:cxn ang="0">
                  <a:pos x="connsiteX11105" y="connsiteY11105"/>
                </a:cxn>
                <a:cxn ang="0">
                  <a:pos x="connsiteX11106" y="connsiteY11106"/>
                </a:cxn>
                <a:cxn ang="0">
                  <a:pos x="connsiteX11107" y="connsiteY11107"/>
                </a:cxn>
                <a:cxn ang="0">
                  <a:pos x="connsiteX11108" y="connsiteY11108"/>
                </a:cxn>
                <a:cxn ang="0">
                  <a:pos x="connsiteX11109" y="connsiteY11109"/>
                </a:cxn>
                <a:cxn ang="0">
                  <a:pos x="connsiteX11110" y="connsiteY11110"/>
                </a:cxn>
                <a:cxn ang="0">
                  <a:pos x="connsiteX11111" y="connsiteY11111"/>
                </a:cxn>
                <a:cxn ang="0">
                  <a:pos x="connsiteX11112" y="connsiteY11112"/>
                </a:cxn>
                <a:cxn ang="0">
                  <a:pos x="connsiteX11113" y="connsiteY11113"/>
                </a:cxn>
                <a:cxn ang="0">
                  <a:pos x="connsiteX11114" y="connsiteY11114"/>
                </a:cxn>
                <a:cxn ang="0">
                  <a:pos x="connsiteX11115" y="connsiteY11115"/>
                </a:cxn>
                <a:cxn ang="0">
                  <a:pos x="connsiteX11116" y="connsiteY11116"/>
                </a:cxn>
                <a:cxn ang="0">
                  <a:pos x="connsiteX11117" y="connsiteY11117"/>
                </a:cxn>
                <a:cxn ang="0">
                  <a:pos x="connsiteX11118" y="connsiteY11118"/>
                </a:cxn>
                <a:cxn ang="0">
                  <a:pos x="connsiteX11119" y="connsiteY11119"/>
                </a:cxn>
                <a:cxn ang="0">
                  <a:pos x="connsiteX11120" y="connsiteY11120"/>
                </a:cxn>
                <a:cxn ang="0">
                  <a:pos x="connsiteX11121" y="connsiteY11121"/>
                </a:cxn>
                <a:cxn ang="0">
                  <a:pos x="connsiteX11122" y="connsiteY11122"/>
                </a:cxn>
                <a:cxn ang="0">
                  <a:pos x="connsiteX11123" y="connsiteY11123"/>
                </a:cxn>
                <a:cxn ang="0">
                  <a:pos x="connsiteX11124" y="connsiteY11124"/>
                </a:cxn>
                <a:cxn ang="0">
                  <a:pos x="connsiteX11125" y="connsiteY11125"/>
                </a:cxn>
                <a:cxn ang="0">
                  <a:pos x="connsiteX11126" y="connsiteY11126"/>
                </a:cxn>
                <a:cxn ang="0">
                  <a:pos x="connsiteX11127" y="connsiteY11127"/>
                </a:cxn>
                <a:cxn ang="0">
                  <a:pos x="connsiteX11128" y="connsiteY11128"/>
                </a:cxn>
                <a:cxn ang="0">
                  <a:pos x="connsiteX11129" y="connsiteY11129"/>
                </a:cxn>
                <a:cxn ang="0">
                  <a:pos x="connsiteX11130" y="connsiteY11130"/>
                </a:cxn>
                <a:cxn ang="0">
                  <a:pos x="connsiteX11131" y="connsiteY11131"/>
                </a:cxn>
                <a:cxn ang="0">
                  <a:pos x="connsiteX11132" y="connsiteY11132"/>
                </a:cxn>
                <a:cxn ang="0">
                  <a:pos x="connsiteX11133" y="connsiteY11133"/>
                </a:cxn>
                <a:cxn ang="0">
                  <a:pos x="connsiteX11134" y="connsiteY11134"/>
                </a:cxn>
                <a:cxn ang="0">
                  <a:pos x="connsiteX11135" y="connsiteY11135"/>
                </a:cxn>
                <a:cxn ang="0">
                  <a:pos x="connsiteX11136" y="connsiteY11136"/>
                </a:cxn>
                <a:cxn ang="0">
                  <a:pos x="connsiteX11137" y="connsiteY11137"/>
                </a:cxn>
                <a:cxn ang="0">
                  <a:pos x="connsiteX11138" y="connsiteY11138"/>
                </a:cxn>
                <a:cxn ang="0">
                  <a:pos x="connsiteX11139" y="connsiteY11139"/>
                </a:cxn>
                <a:cxn ang="0">
                  <a:pos x="connsiteX11140" y="connsiteY11140"/>
                </a:cxn>
                <a:cxn ang="0">
                  <a:pos x="connsiteX11141" y="connsiteY11141"/>
                </a:cxn>
                <a:cxn ang="0">
                  <a:pos x="connsiteX11142" y="connsiteY11142"/>
                </a:cxn>
                <a:cxn ang="0">
                  <a:pos x="connsiteX11143" y="connsiteY11143"/>
                </a:cxn>
                <a:cxn ang="0">
                  <a:pos x="connsiteX11144" y="connsiteY11144"/>
                </a:cxn>
                <a:cxn ang="0">
                  <a:pos x="connsiteX11145" y="connsiteY11145"/>
                </a:cxn>
                <a:cxn ang="0">
                  <a:pos x="connsiteX11146" y="connsiteY11146"/>
                </a:cxn>
                <a:cxn ang="0">
                  <a:pos x="connsiteX11147" y="connsiteY11147"/>
                </a:cxn>
                <a:cxn ang="0">
                  <a:pos x="connsiteX11148" y="connsiteY11148"/>
                </a:cxn>
                <a:cxn ang="0">
                  <a:pos x="connsiteX11149" y="connsiteY11149"/>
                </a:cxn>
                <a:cxn ang="0">
                  <a:pos x="connsiteX11150" y="connsiteY11150"/>
                </a:cxn>
                <a:cxn ang="0">
                  <a:pos x="connsiteX11151" y="connsiteY11151"/>
                </a:cxn>
                <a:cxn ang="0">
                  <a:pos x="connsiteX11152" y="connsiteY11152"/>
                </a:cxn>
                <a:cxn ang="0">
                  <a:pos x="connsiteX11153" y="connsiteY11153"/>
                </a:cxn>
                <a:cxn ang="0">
                  <a:pos x="connsiteX11154" y="connsiteY11154"/>
                </a:cxn>
                <a:cxn ang="0">
                  <a:pos x="connsiteX11155" y="connsiteY11155"/>
                </a:cxn>
                <a:cxn ang="0">
                  <a:pos x="connsiteX11156" y="connsiteY11156"/>
                </a:cxn>
                <a:cxn ang="0">
                  <a:pos x="connsiteX11157" y="connsiteY11157"/>
                </a:cxn>
                <a:cxn ang="0">
                  <a:pos x="connsiteX11158" y="connsiteY11158"/>
                </a:cxn>
                <a:cxn ang="0">
                  <a:pos x="connsiteX11159" y="connsiteY11159"/>
                </a:cxn>
                <a:cxn ang="0">
                  <a:pos x="connsiteX11160" y="connsiteY11160"/>
                </a:cxn>
                <a:cxn ang="0">
                  <a:pos x="connsiteX11161" y="connsiteY11161"/>
                </a:cxn>
                <a:cxn ang="0">
                  <a:pos x="connsiteX11162" y="connsiteY11162"/>
                </a:cxn>
                <a:cxn ang="0">
                  <a:pos x="connsiteX11163" y="connsiteY11163"/>
                </a:cxn>
                <a:cxn ang="0">
                  <a:pos x="connsiteX11164" y="connsiteY11164"/>
                </a:cxn>
                <a:cxn ang="0">
                  <a:pos x="connsiteX11165" y="connsiteY11165"/>
                </a:cxn>
                <a:cxn ang="0">
                  <a:pos x="connsiteX11166" y="connsiteY11166"/>
                </a:cxn>
                <a:cxn ang="0">
                  <a:pos x="connsiteX11167" y="connsiteY11167"/>
                </a:cxn>
                <a:cxn ang="0">
                  <a:pos x="connsiteX11168" y="connsiteY11168"/>
                </a:cxn>
                <a:cxn ang="0">
                  <a:pos x="connsiteX11169" y="connsiteY11169"/>
                </a:cxn>
                <a:cxn ang="0">
                  <a:pos x="connsiteX11170" y="connsiteY11170"/>
                </a:cxn>
                <a:cxn ang="0">
                  <a:pos x="connsiteX11171" y="connsiteY11171"/>
                </a:cxn>
                <a:cxn ang="0">
                  <a:pos x="connsiteX11172" y="connsiteY11172"/>
                </a:cxn>
                <a:cxn ang="0">
                  <a:pos x="connsiteX11173" y="connsiteY11173"/>
                </a:cxn>
                <a:cxn ang="0">
                  <a:pos x="connsiteX11174" y="connsiteY11174"/>
                </a:cxn>
                <a:cxn ang="0">
                  <a:pos x="connsiteX11175" y="connsiteY11175"/>
                </a:cxn>
                <a:cxn ang="0">
                  <a:pos x="connsiteX11176" y="connsiteY11176"/>
                </a:cxn>
                <a:cxn ang="0">
                  <a:pos x="connsiteX11177" y="connsiteY11177"/>
                </a:cxn>
                <a:cxn ang="0">
                  <a:pos x="connsiteX11178" y="connsiteY11178"/>
                </a:cxn>
                <a:cxn ang="0">
                  <a:pos x="connsiteX11179" y="connsiteY11179"/>
                </a:cxn>
                <a:cxn ang="0">
                  <a:pos x="connsiteX11180" y="connsiteY11180"/>
                </a:cxn>
                <a:cxn ang="0">
                  <a:pos x="connsiteX11181" y="connsiteY11181"/>
                </a:cxn>
                <a:cxn ang="0">
                  <a:pos x="connsiteX11182" y="connsiteY11182"/>
                </a:cxn>
                <a:cxn ang="0">
                  <a:pos x="connsiteX11183" y="connsiteY11183"/>
                </a:cxn>
                <a:cxn ang="0">
                  <a:pos x="connsiteX11184" y="connsiteY11184"/>
                </a:cxn>
                <a:cxn ang="0">
                  <a:pos x="connsiteX11185" y="connsiteY11185"/>
                </a:cxn>
                <a:cxn ang="0">
                  <a:pos x="connsiteX11186" y="connsiteY11186"/>
                </a:cxn>
                <a:cxn ang="0">
                  <a:pos x="connsiteX11187" y="connsiteY11187"/>
                </a:cxn>
                <a:cxn ang="0">
                  <a:pos x="connsiteX11188" y="connsiteY11188"/>
                </a:cxn>
                <a:cxn ang="0">
                  <a:pos x="connsiteX11189" y="connsiteY11189"/>
                </a:cxn>
                <a:cxn ang="0">
                  <a:pos x="connsiteX11190" y="connsiteY11190"/>
                </a:cxn>
                <a:cxn ang="0">
                  <a:pos x="connsiteX11191" y="connsiteY11191"/>
                </a:cxn>
                <a:cxn ang="0">
                  <a:pos x="connsiteX11192" y="connsiteY11192"/>
                </a:cxn>
                <a:cxn ang="0">
                  <a:pos x="connsiteX11193" y="connsiteY11193"/>
                </a:cxn>
                <a:cxn ang="0">
                  <a:pos x="connsiteX11194" y="connsiteY11194"/>
                </a:cxn>
                <a:cxn ang="0">
                  <a:pos x="connsiteX11195" y="connsiteY11195"/>
                </a:cxn>
                <a:cxn ang="0">
                  <a:pos x="connsiteX11196" y="connsiteY11196"/>
                </a:cxn>
                <a:cxn ang="0">
                  <a:pos x="connsiteX11197" y="connsiteY11197"/>
                </a:cxn>
                <a:cxn ang="0">
                  <a:pos x="connsiteX11198" y="connsiteY11198"/>
                </a:cxn>
                <a:cxn ang="0">
                  <a:pos x="connsiteX11199" y="connsiteY11199"/>
                </a:cxn>
                <a:cxn ang="0">
                  <a:pos x="connsiteX11200" y="connsiteY11200"/>
                </a:cxn>
                <a:cxn ang="0">
                  <a:pos x="connsiteX11201" y="connsiteY11201"/>
                </a:cxn>
                <a:cxn ang="0">
                  <a:pos x="connsiteX11202" y="connsiteY11202"/>
                </a:cxn>
                <a:cxn ang="0">
                  <a:pos x="connsiteX11203" y="connsiteY11203"/>
                </a:cxn>
                <a:cxn ang="0">
                  <a:pos x="connsiteX11204" y="connsiteY11204"/>
                </a:cxn>
                <a:cxn ang="0">
                  <a:pos x="connsiteX11205" y="connsiteY11205"/>
                </a:cxn>
                <a:cxn ang="0">
                  <a:pos x="connsiteX11206" y="connsiteY11206"/>
                </a:cxn>
                <a:cxn ang="0">
                  <a:pos x="connsiteX11207" y="connsiteY11207"/>
                </a:cxn>
                <a:cxn ang="0">
                  <a:pos x="connsiteX11208" y="connsiteY11208"/>
                </a:cxn>
                <a:cxn ang="0">
                  <a:pos x="connsiteX11209" y="connsiteY11209"/>
                </a:cxn>
                <a:cxn ang="0">
                  <a:pos x="connsiteX11210" y="connsiteY11210"/>
                </a:cxn>
                <a:cxn ang="0">
                  <a:pos x="connsiteX11211" y="connsiteY11211"/>
                </a:cxn>
                <a:cxn ang="0">
                  <a:pos x="connsiteX11212" y="connsiteY11212"/>
                </a:cxn>
                <a:cxn ang="0">
                  <a:pos x="connsiteX11213" y="connsiteY11213"/>
                </a:cxn>
                <a:cxn ang="0">
                  <a:pos x="connsiteX11214" y="connsiteY11214"/>
                </a:cxn>
                <a:cxn ang="0">
                  <a:pos x="connsiteX11215" y="connsiteY11215"/>
                </a:cxn>
                <a:cxn ang="0">
                  <a:pos x="connsiteX11216" y="connsiteY11216"/>
                </a:cxn>
                <a:cxn ang="0">
                  <a:pos x="connsiteX11217" y="connsiteY11217"/>
                </a:cxn>
                <a:cxn ang="0">
                  <a:pos x="connsiteX11218" y="connsiteY11218"/>
                </a:cxn>
                <a:cxn ang="0">
                  <a:pos x="connsiteX11219" y="connsiteY11219"/>
                </a:cxn>
                <a:cxn ang="0">
                  <a:pos x="connsiteX11220" y="connsiteY11220"/>
                </a:cxn>
                <a:cxn ang="0">
                  <a:pos x="connsiteX11221" y="connsiteY11221"/>
                </a:cxn>
                <a:cxn ang="0">
                  <a:pos x="connsiteX11222" y="connsiteY11222"/>
                </a:cxn>
                <a:cxn ang="0">
                  <a:pos x="connsiteX11223" y="connsiteY11223"/>
                </a:cxn>
                <a:cxn ang="0">
                  <a:pos x="connsiteX11224" y="connsiteY11224"/>
                </a:cxn>
                <a:cxn ang="0">
                  <a:pos x="connsiteX11225" y="connsiteY11225"/>
                </a:cxn>
                <a:cxn ang="0">
                  <a:pos x="connsiteX11226" y="connsiteY11226"/>
                </a:cxn>
                <a:cxn ang="0">
                  <a:pos x="connsiteX11227" y="connsiteY11227"/>
                </a:cxn>
                <a:cxn ang="0">
                  <a:pos x="connsiteX11228" y="connsiteY11228"/>
                </a:cxn>
                <a:cxn ang="0">
                  <a:pos x="connsiteX11229" y="connsiteY11229"/>
                </a:cxn>
                <a:cxn ang="0">
                  <a:pos x="connsiteX11230" y="connsiteY11230"/>
                </a:cxn>
                <a:cxn ang="0">
                  <a:pos x="connsiteX11231" y="connsiteY11231"/>
                </a:cxn>
                <a:cxn ang="0">
                  <a:pos x="connsiteX11232" y="connsiteY11232"/>
                </a:cxn>
                <a:cxn ang="0">
                  <a:pos x="connsiteX11233" y="connsiteY11233"/>
                </a:cxn>
                <a:cxn ang="0">
                  <a:pos x="connsiteX11234" y="connsiteY11234"/>
                </a:cxn>
                <a:cxn ang="0">
                  <a:pos x="connsiteX11235" y="connsiteY11235"/>
                </a:cxn>
                <a:cxn ang="0">
                  <a:pos x="connsiteX11236" y="connsiteY11236"/>
                </a:cxn>
                <a:cxn ang="0">
                  <a:pos x="connsiteX11237" y="connsiteY11237"/>
                </a:cxn>
                <a:cxn ang="0">
                  <a:pos x="connsiteX11238" y="connsiteY11238"/>
                </a:cxn>
                <a:cxn ang="0">
                  <a:pos x="connsiteX11239" y="connsiteY11239"/>
                </a:cxn>
                <a:cxn ang="0">
                  <a:pos x="connsiteX11240" y="connsiteY11240"/>
                </a:cxn>
                <a:cxn ang="0">
                  <a:pos x="connsiteX11241" y="connsiteY11241"/>
                </a:cxn>
                <a:cxn ang="0">
                  <a:pos x="connsiteX11242" y="connsiteY11242"/>
                </a:cxn>
                <a:cxn ang="0">
                  <a:pos x="connsiteX11243" y="connsiteY11243"/>
                </a:cxn>
                <a:cxn ang="0">
                  <a:pos x="connsiteX11244" y="connsiteY11244"/>
                </a:cxn>
                <a:cxn ang="0">
                  <a:pos x="connsiteX11245" y="connsiteY11245"/>
                </a:cxn>
                <a:cxn ang="0">
                  <a:pos x="connsiteX11246" y="connsiteY11246"/>
                </a:cxn>
                <a:cxn ang="0">
                  <a:pos x="connsiteX11247" y="connsiteY11247"/>
                </a:cxn>
                <a:cxn ang="0">
                  <a:pos x="connsiteX11248" y="connsiteY11248"/>
                </a:cxn>
                <a:cxn ang="0">
                  <a:pos x="connsiteX11249" y="connsiteY11249"/>
                </a:cxn>
                <a:cxn ang="0">
                  <a:pos x="connsiteX11250" y="connsiteY11250"/>
                </a:cxn>
                <a:cxn ang="0">
                  <a:pos x="connsiteX11251" y="connsiteY11251"/>
                </a:cxn>
                <a:cxn ang="0">
                  <a:pos x="connsiteX11252" y="connsiteY11252"/>
                </a:cxn>
                <a:cxn ang="0">
                  <a:pos x="connsiteX11253" y="connsiteY11253"/>
                </a:cxn>
                <a:cxn ang="0">
                  <a:pos x="connsiteX11254" y="connsiteY11254"/>
                </a:cxn>
                <a:cxn ang="0">
                  <a:pos x="connsiteX11255" y="connsiteY11255"/>
                </a:cxn>
                <a:cxn ang="0">
                  <a:pos x="connsiteX11256" y="connsiteY11256"/>
                </a:cxn>
                <a:cxn ang="0">
                  <a:pos x="connsiteX11257" y="connsiteY11257"/>
                </a:cxn>
                <a:cxn ang="0">
                  <a:pos x="connsiteX11258" y="connsiteY11258"/>
                </a:cxn>
                <a:cxn ang="0">
                  <a:pos x="connsiteX11259" y="connsiteY11259"/>
                </a:cxn>
                <a:cxn ang="0">
                  <a:pos x="connsiteX11260" y="connsiteY11260"/>
                </a:cxn>
                <a:cxn ang="0">
                  <a:pos x="connsiteX11261" y="connsiteY11261"/>
                </a:cxn>
                <a:cxn ang="0">
                  <a:pos x="connsiteX11262" y="connsiteY11262"/>
                </a:cxn>
                <a:cxn ang="0">
                  <a:pos x="connsiteX11263" y="connsiteY11263"/>
                </a:cxn>
                <a:cxn ang="0">
                  <a:pos x="connsiteX11264" y="connsiteY11264"/>
                </a:cxn>
                <a:cxn ang="0">
                  <a:pos x="connsiteX11265" y="connsiteY11265"/>
                </a:cxn>
                <a:cxn ang="0">
                  <a:pos x="connsiteX11266" y="connsiteY11266"/>
                </a:cxn>
                <a:cxn ang="0">
                  <a:pos x="connsiteX11267" y="connsiteY11267"/>
                </a:cxn>
                <a:cxn ang="0">
                  <a:pos x="connsiteX11268" y="connsiteY11268"/>
                </a:cxn>
                <a:cxn ang="0">
                  <a:pos x="connsiteX11269" y="connsiteY11269"/>
                </a:cxn>
                <a:cxn ang="0">
                  <a:pos x="connsiteX11270" y="connsiteY11270"/>
                </a:cxn>
                <a:cxn ang="0">
                  <a:pos x="connsiteX11271" y="connsiteY11271"/>
                </a:cxn>
                <a:cxn ang="0">
                  <a:pos x="connsiteX11272" y="connsiteY11272"/>
                </a:cxn>
                <a:cxn ang="0">
                  <a:pos x="connsiteX11273" y="connsiteY11273"/>
                </a:cxn>
                <a:cxn ang="0">
                  <a:pos x="connsiteX11274" y="connsiteY11274"/>
                </a:cxn>
                <a:cxn ang="0">
                  <a:pos x="connsiteX11275" y="connsiteY11275"/>
                </a:cxn>
                <a:cxn ang="0">
                  <a:pos x="connsiteX11276" y="connsiteY11276"/>
                </a:cxn>
                <a:cxn ang="0">
                  <a:pos x="connsiteX11277" y="connsiteY11277"/>
                </a:cxn>
                <a:cxn ang="0">
                  <a:pos x="connsiteX11278" y="connsiteY11278"/>
                </a:cxn>
                <a:cxn ang="0">
                  <a:pos x="connsiteX11279" y="connsiteY11279"/>
                </a:cxn>
                <a:cxn ang="0">
                  <a:pos x="connsiteX11280" y="connsiteY11280"/>
                </a:cxn>
                <a:cxn ang="0">
                  <a:pos x="connsiteX11281" y="connsiteY11281"/>
                </a:cxn>
                <a:cxn ang="0">
                  <a:pos x="connsiteX11282" y="connsiteY11282"/>
                </a:cxn>
                <a:cxn ang="0">
                  <a:pos x="connsiteX11283" y="connsiteY11283"/>
                </a:cxn>
                <a:cxn ang="0">
                  <a:pos x="connsiteX11284" y="connsiteY11284"/>
                </a:cxn>
                <a:cxn ang="0">
                  <a:pos x="connsiteX11285" y="connsiteY11285"/>
                </a:cxn>
                <a:cxn ang="0">
                  <a:pos x="connsiteX11286" y="connsiteY11286"/>
                </a:cxn>
                <a:cxn ang="0">
                  <a:pos x="connsiteX11287" y="connsiteY11287"/>
                </a:cxn>
                <a:cxn ang="0">
                  <a:pos x="connsiteX11288" y="connsiteY11288"/>
                </a:cxn>
                <a:cxn ang="0">
                  <a:pos x="connsiteX11289" y="connsiteY11289"/>
                </a:cxn>
                <a:cxn ang="0">
                  <a:pos x="connsiteX11290" y="connsiteY11290"/>
                </a:cxn>
                <a:cxn ang="0">
                  <a:pos x="connsiteX11291" y="connsiteY11291"/>
                </a:cxn>
                <a:cxn ang="0">
                  <a:pos x="connsiteX11292" y="connsiteY11292"/>
                </a:cxn>
                <a:cxn ang="0">
                  <a:pos x="connsiteX11293" y="connsiteY11293"/>
                </a:cxn>
                <a:cxn ang="0">
                  <a:pos x="connsiteX11294" y="connsiteY11294"/>
                </a:cxn>
                <a:cxn ang="0">
                  <a:pos x="connsiteX11295" y="connsiteY11295"/>
                </a:cxn>
                <a:cxn ang="0">
                  <a:pos x="connsiteX11296" y="connsiteY11296"/>
                </a:cxn>
                <a:cxn ang="0">
                  <a:pos x="connsiteX11297" y="connsiteY11297"/>
                </a:cxn>
                <a:cxn ang="0">
                  <a:pos x="connsiteX11298" y="connsiteY11298"/>
                </a:cxn>
                <a:cxn ang="0">
                  <a:pos x="connsiteX11299" y="connsiteY11299"/>
                </a:cxn>
                <a:cxn ang="0">
                  <a:pos x="connsiteX11300" y="connsiteY11300"/>
                </a:cxn>
                <a:cxn ang="0">
                  <a:pos x="connsiteX11301" y="connsiteY11301"/>
                </a:cxn>
                <a:cxn ang="0">
                  <a:pos x="connsiteX11302" y="connsiteY11302"/>
                </a:cxn>
                <a:cxn ang="0">
                  <a:pos x="connsiteX11303" y="connsiteY11303"/>
                </a:cxn>
                <a:cxn ang="0">
                  <a:pos x="connsiteX11304" y="connsiteY11304"/>
                </a:cxn>
                <a:cxn ang="0">
                  <a:pos x="connsiteX11305" y="connsiteY11305"/>
                </a:cxn>
                <a:cxn ang="0">
                  <a:pos x="connsiteX11306" y="connsiteY11306"/>
                </a:cxn>
                <a:cxn ang="0">
                  <a:pos x="connsiteX11307" y="connsiteY11307"/>
                </a:cxn>
                <a:cxn ang="0">
                  <a:pos x="connsiteX11308" y="connsiteY11308"/>
                </a:cxn>
                <a:cxn ang="0">
                  <a:pos x="connsiteX11309" y="connsiteY11309"/>
                </a:cxn>
                <a:cxn ang="0">
                  <a:pos x="connsiteX11310" y="connsiteY11310"/>
                </a:cxn>
                <a:cxn ang="0">
                  <a:pos x="connsiteX11311" y="connsiteY11311"/>
                </a:cxn>
                <a:cxn ang="0">
                  <a:pos x="connsiteX11312" y="connsiteY11312"/>
                </a:cxn>
                <a:cxn ang="0">
                  <a:pos x="connsiteX11313" y="connsiteY11313"/>
                </a:cxn>
                <a:cxn ang="0">
                  <a:pos x="connsiteX11314" y="connsiteY11314"/>
                </a:cxn>
                <a:cxn ang="0">
                  <a:pos x="connsiteX11315" y="connsiteY11315"/>
                </a:cxn>
                <a:cxn ang="0">
                  <a:pos x="connsiteX11316" y="connsiteY11316"/>
                </a:cxn>
                <a:cxn ang="0">
                  <a:pos x="connsiteX11317" y="connsiteY11317"/>
                </a:cxn>
                <a:cxn ang="0">
                  <a:pos x="connsiteX11318" y="connsiteY11318"/>
                </a:cxn>
                <a:cxn ang="0">
                  <a:pos x="connsiteX11319" y="connsiteY11319"/>
                </a:cxn>
                <a:cxn ang="0">
                  <a:pos x="connsiteX11320" y="connsiteY11320"/>
                </a:cxn>
                <a:cxn ang="0">
                  <a:pos x="connsiteX11321" y="connsiteY11321"/>
                </a:cxn>
                <a:cxn ang="0">
                  <a:pos x="connsiteX11322" y="connsiteY11322"/>
                </a:cxn>
                <a:cxn ang="0">
                  <a:pos x="connsiteX11323" y="connsiteY11323"/>
                </a:cxn>
                <a:cxn ang="0">
                  <a:pos x="connsiteX11324" y="connsiteY11324"/>
                </a:cxn>
                <a:cxn ang="0">
                  <a:pos x="connsiteX11325" y="connsiteY11325"/>
                </a:cxn>
                <a:cxn ang="0">
                  <a:pos x="connsiteX11326" y="connsiteY11326"/>
                </a:cxn>
                <a:cxn ang="0">
                  <a:pos x="connsiteX11327" y="connsiteY11327"/>
                </a:cxn>
                <a:cxn ang="0">
                  <a:pos x="connsiteX11328" y="connsiteY11328"/>
                </a:cxn>
                <a:cxn ang="0">
                  <a:pos x="connsiteX11329" y="connsiteY11329"/>
                </a:cxn>
                <a:cxn ang="0">
                  <a:pos x="connsiteX11330" y="connsiteY11330"/>
                </a:cxn>
                <a:cxn ang="0">
                  <a:pos x="connsiteX11331" y="connsiteY11331"/>
                </a:cxn>
                <a:cxn ang="0">
                  <a:pos x="connsiteX11332" y="connsiteY11332"/>
                </a:cxn>
                <a:cxn ang="0">
                  <a:pos x="connsiteX11333" y="connsiteY11333"/>
                </a:cxn>
                <a:cxn ang="0">
                  <a:pos x="connsiteX11334" y="connsiteY11334"/>
                </a:cxn>
                <a:cxn ang="0">
                  <a:pos x="connsiteX11335" y="connsiteY11335"/>
                </a:cxn>
                <a:cxn ang="0">
                  <a:pos x="connsiteX11336" y="connsiteY11336"/>
                </a:cxn>
                <a:cxn ang="0">
                  <a:pos x="connsiteX11337" y="connsiteY11337"/>
                </a:cxn>
                <a:cxn ang="0">
                  <a:pos x="connsiteX11338" y="connsiteY11338"/>
                </a:cxn>
                <a:cxn ang="0">
                  <a:pos x="connsiteX11339" y="connsiteY11339"/>
                </a:cxn>
                <a:cxn ang="0">
                  <a:pos x="connsiteX11340" y="connsiteY11340"/>
                </a:cxn>
                <a:cxn ang="0">
                  <a:pos x="connsiteX11341" y="connsiteY11341"/>
                </a:cxn>
                <a:cxn ang="0">
                  <a:pos x="connsiteX11342" y="connsiteY11342"/>
                </a:cxn>
                <a:cxn ang="0">
                  <a:pos x="connsiteX11343" y="connsiteY11343"/>
                </a:cxn>
                <a:cxn ang="0">
                  <a:pos x="connsiteX11344" y="connsiteY11344"/>
                </a:cxn>
                <a:cxn ang="0">
                  <a:pos x="connsiteX11345" y="connsiteY11345"/>
                </a:cxn>
                <a:cxn ang="0">
                  <a:pos x="connsiteX11346" y="connsiteY11346"/>
                </a:cxn>
                <a:cxn ang="0">
                  <a:pos x="connsiteX11347" y="connsiteY11347"/>
                </a:cxn>
                <a:cxn ang="0">
                  <a:pos x="connsiteX11348" y="connsiteY11348"/>
                </a:cxn>
                <a:cxn ang="0">
                  <a:pos x="connsiteX11349" y="connsiteY11349"/>
                </a:cxn>
                <a:cxn ang="0">
                  <a:pos x="connsiteX11350" y="connsiteY11350"/>
                </a:cxn>
                <a:cxn ang="0">
                  <a:pos x="connsiteX11351" y="connsiteY11351"/>
                </a:cxn>
                <a:cxn ang="0">
                  <a:pos x="connsiteX11352" y="connsiteY11352"/>
                </a:cxn>
                <a:cxn ang="0">
                  <a:pos x="connsiteX11353" y="connsiteY11353"/>
                </a:cxn>
                <a:cxn ang="0">
                  <a:pos x="connsiteX11354" y="connsiteY11354"/>
                </a:cxn>
                <a:cxn ang="0">
                  <a:pos x="connsiteX11355" y="connsiteY11355"/>
                </a:cxn>
                <a:cxn ang="0">
                  <a:pos x="connsiteX11356" y="connsiteY11356"/>
                </a:cxn>
                <a:cxn ang="0">
                  <a:pos x="connsiteX11357" y="connsiteY11357"/>
                </a:cxn>
                <a:cxn ang="0">
                  <a:pos x="connsiteX11358" y="connsiteY11358"/>
                </a:cxn>
                <a:cxn ang="0">
                  <a:pos x="connsiteX11359" y="connsiteY11359"/>
                </a:cxn>
                <a:cxn ang="0">
                  <a:pos x="connsiteX11360" y="connsiteY11360"/>
                </a:cxn>
                <a:cxn ang="0">
                  <a:pos x="connsiteX11361" y="connsiteY11361"/>
                </a:cxn>
                <a:cxn ang="0">
                  <a:pos x="connsiteX11362" y="connsiteY11362"/>
                </a:cxn>
                <a:cxn ang="0">
                  <a:pos x="connsiteX11363" y="connsiteY11363"/>
                </a:cxn>
                <a:cxn ang="0">
                  <a:pos x="connsiteX11364" y="connsiteY11364"/>
                </a:cxn>
                <a:cxn ang="0">
                  <a:pos x="connsiteX11365" y="connsiteY11365"/>
                </a:cxn>
                <a:cxn ang="0">
                  <a:pos x="connsiteX11366" y="connsiteY11366"/>
                </a:cxn>
                <a:cxn ang="0">
                  <a:pos x="connsiteX11367" y="connsiteY11367"/>
                </a:cxn>
                <a:cxn ang="0">
                  <a:pos x="connsiteX11368" y="connsiteY11368"/>
                </a:cxn>
                <a:cxn ang="0">
                  <a:pos x="connsiteX11369" y="connsiteY11369"/>
                </a:cxn>
                <a:cxn ang="0">
                  <a:pos x="connsiteX11370" y="connsiteY11370"/>
                </a:cxn>
                <a:cxn ang="0">
                  <a:pos x="connsiteX11371" y="connsiteY11371"/>
                </a:cxn>
                <a:cxn ang="0">
                  <a:pos x="connsiteX11372" y="connsiteY11372"/>
                </a:cxn>
                <a:cxn ang="0">
                  <a:pos x="connsiteX11373" y="connsiteY11373"/>
                </a:cxn>
                <a:cxn ang="0">
                  <a:pos x="connsiteX11374" y="connsiteY11374"/>
                </a:cxn>
                <a:cxn ang="0">
                  <a:pos x="connsiteX11375" y="connsiteY11375"/>
                </a:cxn>
                <a:cxn ang="0">
                  <a:pos x="connsiteX11376" y="connsiteY11376"/>
                </a:cxn>
                <a:cxn ang="0">
                  <a:pos x="connsiteX11377" y="connsiteY11377"/>
                </a:cxn>
                <a:cxn ang="0">
                  <a:pos x="connsiteX11378" y="connsiteY11378"/>
                </a:cxn>
                <a:cxn ang="0">
                  <a:pos x="connsiteX11379" y="connsiteY11379"/>
                </a:cxn>
                <a:cxn ang="0">
                  <a:pos x="connsiteX11380" y="connsiteY11380"/>
                </a:cxn>
                <a:cxn ang="0">
                  <a:pos x="connsiteX11381" y="connsiteY11381"/>
                </a:cxn>
                <a:cxn ang="0">
                  <a:pos x="connsiteX11382" y="connsiteY11382"/>
                </a:cxn>
                <a:cxn ang="0">
                  <a:pos x="connsiteX11383" y="connsiteY11383"/>
                </a:cxn>
                <a:cxn ang="0">
                  <a:pos x="connsiteX11384" y="connsiteY11384"/>
                </a:cxn>
                <a:cxn ang="0">
                  <a:pos x="connsiteX11385" y="connsiteY11385"/>
                </a:cxn>
                <a:cxn ang="0">
                  <a:pos x="connsiteX11386" y="connsiteY11386"/>
                </a:cxn>
                <a:cxn ang="0">
                  <a:pos x="connsiteX11387" y="connsiteY11387"/>
                </a:cxn>
                <a:cxn ang="0">
                  <a:pos x="connsiteX11388" y="connsiteY11388"/>
                </a:cxn>
                <a:cxn ang="0">
                  <a:pos x="connsiteX11389" y="connsiteY11389"/>
                </a:cxn>
                <a:cxn ang="0">
                  <a:pos x="connsiteX11390" y="connsiteY11390"/>
                </a:cxn>
                <a:cxn ang="0">
                  <a:pos x="connsiteX11391" y="connsiteY11391"/>
                </a:cxn>
                <a:cxn ang="0">
                  <a:pos x="connsiteX11392" y="connsiteY11392"/>
                </a:cxn>
                <a:cxn ang="0">
                  <a:pos x="connsiteX11393" y="connsiteY11393"/>
                </a:cxn>
                <a:cxn ang="0">
                  <a:pos x="connsiteX11394" y="connsiteY11394"/>
                </a:cxn>
                <a:cxn ang="0">
                  <a:pos x="connsiteX11395" y="connsiteY11395"/>
                </a:cxn>
                <a:cxn ang="0">
                  <a:pos x="connsiteX11396" y="connsiteY11396"/>
                </a:cxn>
                <a:cxn ang="0">
                  <a:pos x="connsiteX11397" y="connsiteY11397"/>
                </a:cxn>
                <a:cxn ang="0">
                  <a:pos x="connsiteX11398" y="connsiteY11398"/>
                </a:cxn>
                <a:cxn ang="0">
                  <a:pos x="connsiteX11399" y="connsiteY11399"/>
                </a:cxn>
                <a:cxn ang="0">
                  <a:pos x="connsiteX11400" y="connsiteY11400"/>
                </a:cxn>
                <a:cxn ang="0">
                  <a:pos x="connsiteX11401" y="connsiteY11401"/>
                </a:cxn>
                <a:cxn ang="0">
                  <a:pos x="connsiteX11402" y="connsiteY11402"/>
                </a:cxn>
                <a:cxn ang="0">
                  <a:pos x="connsiteX11403" y="connsiteY11403"/>
                </a:cxn>
                <a:cxn ang="0">
                  <a:pos x="connsiteX11404" y="connsiteY11404"/>
                </a:cxn>
                <a:cxn ang="0">
                  <a:pos x="connsiteX11405" y="connsiteY11405"/>
                </a:cxn>
                <a:cxn ang="0">
                  <a:pos x="connsiteX11406" y="connsiteY11406"/>
                </a:cxn>
                <a:cxn ang="0">
                  <a:pos x="connsiteX11407" y="connsiteY11407"/>
                </a:cxn>
                <a:cxn ang="0">
                  <a:pos x="connsiteX11408" y="connsiteY11408"/>
                </a:cxn>
                <a:cxn ang="0">
                  <a:pos x="connsiteX11409" y="connsiteY11409"/>
                </a:cxn>
                <a:cxn ang="0">
                  <a:pos x="connsiteX11410" y="connsiteY11410"/>
                </a:cxn>
                <a:cxn ang="0">
                  <a:pos x="connsiteX11411" y="connsiteY11411"/>
                </a:cxn>
                <a:cxn ang="0">
                  <a:pos x="connsiteX11412" y="connsiteY11412"/>
                </a:cxn>
                <a:cxn ang="0">
                  <a:pos x="connsiteX11413" y="connsiteY11413"/>
                </a:cxn>
                <a:cxn ang="0">
                  <a:pos x="connsiteX11414" y="connsiteY11414"/>
                </a:cxn>
                <a:cxn ang="0">
                  <a:pos x="connsiteX11415" y="connsiteY11415"/>
                </a:cxn>
                <a:cxn ang="0">
                  <a:pos x="connsiteX11416" y="connsiteY11416"/>
                </a:cxn>
                <a:cxn ang="0">
                  <a:pos x="connsiteX11417" y="connsiteY11417"/>
                </a:cxn>
                <a:cxn ang="0">
                  <a:pos x="connsiteX11418" y="connsiteY11418"/>
                </a:cxn>
                <a:cxn ang="0">
                  <a:pos x="connsiteX11419" y="connsiteY11419"/>
                </a:cxn>
                <a:cxn ang="0">
                  <a:pos x="connsiteX11420" y="connsiteY11420"/>
                </a:cxn>
                <a:cxn ang="0">
                  <a:pos x="connsiteX11421" y="connsiteY11421"/>
                </a:cxn>
                <a:cxn ang="0">
                  <a:pos x="connsiteX11422" y="connsiteY11422"/>
                </a:cxn>
                <a:cxn ang="0">
                  <a:pos x="connsiteX11423" y="connsiteY11423"/>
                </a:cxn>
                <a:cxn ang="0">
                  <a:pos x="connsiteX11424" y="connsiteY11424"/>
                </a:cxn>
                <a:cxn ang="0">
                  <a:pos x="connsiteX11425" y="connsiteY11425"/>
                </a:cxn>
                <a:cxn ang="0">
                  <a:pos x="connsiteX11426" y="connsiteY11426"/>
                </a:cxn>
                <a:cxn ang="0">
                  <a:pos x="connsiteX11427" y="connsiteY11427"/>
                </a:cxn>
                <a:cxn ang="0">
                  <a:pos x="connsiteX11428" y="connsiteY11428"/>
                </a:cxn>
                <a:cxn ang="0">
                  <a:pos x="connsiteX11429" y="connsiteY11429"/>
                </a:cxn>
                <a:cxn ang="0">
                  <a:pos x="connsiteX11430" y="connsiteY11430"/>
                </a:cxn>
                <a:cxn ang="0">
                  <a:pos x="connsiteX11431" y="connsiteY11431"/>
                </a:cxn>
                <a:cxn ang="0">
                  <a:pos x="connsiteX11432" y="connsiteY11432"/>
                </a:cxn>
                <a:cxn ang="0">
                  <a:pos x="connsiteX11433" y="connsiteY11433"/>
                </a:cxn>
                <a:cxn ang="0">
                  <a:pos x="connsiteX11434" y="connsiteY11434"/>
                </a:cxn>
                <a:cxn ang="0">
                  <a:pos x="connsiteX11435" y="connsiteY11435"/>
                </a:cxn>
                <a:cxn ang="0">
                  <a:pos x="connsiteX11436" y="connsiteY11436"/>
                </a:cxn>
                <a:cxn ang="0">
                  <a:pos x="connsiteX11437" y="connsiteY11437"/>
                </a:cxn>
                <a:cxn ang="0">
                  <a:pos x="connsiteX11438" y="connsiteY11438"/>
                </a:cxn>
                <a:cxn ang="0">
                  <a:pos x="connsiteX11439" y="connsiteY11439"/>
                </a:cxn>
                <a:cxn ang="0">
                  <a:pos x="connsiteX11440" y="connsiteY11440"/>
                </a:cxn>
                <a:cxn ang="0">
                  <a:pos x="connsiteX11441" y="connsiteY11441"/>
                </a:cxn>
                <a:cxn ang="0">
                  <a:pos x="connsiteX11442" y="connsiteY11442"/>
                </a:cxn>
                <a:cxn ang="0">
                  <a:pos x="connsiteX11443" y="connsiteY11443"/>
                </a:cxn>
                <a:cxn ang="0">
                  <a:pos x="connsiteX11444" y="connsiteY11444"/>
                </a:cxn>
                <a:cxn ang="0">
                  <a:pos x="connsiteX11445" y="connsiteY11445"/>
                </a:cxn>
                <a:cxn ang="0">
                  <a:pos x="connsiteX11446" y="connsiteY11446"/>
                </a:cxn>
                <a:cxn ang="0">
                  <a:pos x="connsiteX11447" y="connsiteY11447"/>
                </a:cxn>
                <a:cxn ang="0">
                  <a:pos x="connsiteX11448" y="connsiteY11448"/>
                </a:cxn>
                <a:cxn ang="0">
                  <a:pos x="connsiteX11449" y="connsiteY11449"/>
                </a:cxn>
                <a:cxn ang="0">
                  <a:pos x="connsiteX11450" y="connsiteY11450"/>
                </a:cxn>
                <a:cxn ang="0">
                  <a:pos x="connsiteX11451" y="connsiteY11451"/>
                </a:cxn>
                <a:cxn ang="0">
                  <a:pos x="connsiteX11452" y="connsiteY11452"/>
                </a:cxn>
                <a:cxn ang="0">
                  <a:pos x="connsiteX11453" y="connsiteY11453"/>
                </a:cxn>
                <a:cxn ang="0">
                  <a:pos x="connsiteX11454" y="connsiteY11454"/>
                </a:cxn>
                <a:cxn ang="0">
                  <a:pos x="connsiteX11455" y="connsiteY11455"/>
                </a:cxn>
                <a:cxn ang="0">
                  <a:pos x="connsiteX11456" y="connsiteY11456"/>
                </a:cxn>
                <a:cxn ang="0">
                  <a:pos x="connsiteX11457" y="connsiteY11457"/>
                </a:cxn>
                <a:cxn ang="0">
                  <a:pos x="connsiteX11458" y="connsiteY11458"/>
                </a:cxn>
                <a:cxn ang="0">
                  <a:pos x="connsiteX11459" y="connsiteY11459"/>
                </a:cxn>
                <a:cxn ang="0">
                  <a:pos x="connsiteX11460" y="connsiteY11460"/>
                </a:cxn>
                <a:cxn ang="0">
                  <a:pos x="connsiteX11461" y="connsiteY11461"/>
                </a:cxn>
                <a:cxn ang="0">
                  <a:pos x="connsiteX11462" y="connsiteY11462"/>
                </a:cxn>
                <a:cxn ang="0">
                  <a:pos x="connsiteX11463" y="connsiteY11463"/>
                </a:cxn>
                <a:cxn ang="0">
                  <a:pos x="connsiteX11464" y="connsiteY11464"/>
                </a:cxn>
                <a:cxn ang="0">
                  <a:pos x="connsiteX11465" y="connsiteY11465"/>
                </a:cxn>
                <a:cxn ang="0">
                  <a:pos x="connsiteX11466" y="connsiteY11466"/>
                </a:cxn>
                <a:cxn ang="0">
                  <a:pos x="connsiteX11467" y="connsiteY11467"/>
                </a:cxn>
                <a:cxn ang="0">
                  <a:pos x="connsiteX11468" y="connsiteY11468"/>
                </a:cxn>
                <a:cxn ang="0">
                  <a:pos x="connsiteX11469" y="connsiteY11469"/>
                </a:cxn>
                <a:cxn ang="0">
                  <a:pos x="connsiteX11470" y="connsiteY11470"/>
                </a:cxn>
                <a:cxn ang="0">
                  <a:pos x="connsiteX11471" y="connsiteY11471"/>
                </a:cxn>
                <a:cxn ang="0">
                  <a:pos x="connsiteX11472" y="connsiteY11472"/>
                </a:cxn>
                <a:cxn ang="0">
                  <a:pos x="connsiteX11473" y="connsiteY11473"/>
                </a:cxn>
                <a:cxn ang="0">
                  <a:pos x="connsiteX11474" y="connsiteY11474"/>
                </a:cxn>
                <a:cxn ang="0">
                  <a:pos x="connsiteX11475" y="connsiteY11475"/>
                </a:cxn>
                <a:cxn ang="0">
                  <a:pos x="connsiteX11476" y="connsiteY11476"/>
                </a:cxn>
                <a:cxn ang="0">
                  <a:pos x="connsiteX11477" y="connsiteY11477"/>
                </a:cxn>
                <a:cxn ang="0">
                  <a:pos x="connsiteX11478" y="connsiteY11478"/>
                </a:cxn>
                <a:cxn ang="0">
                  <a:pos x="connsiteX11479" y="connsiteY11479"/>
                </a:cxn>
                <a:cxn ang="0">
                  <a:pos x="connsiteX11480" y="connsiteY11480"/>
                </a:cxn>
                <a:cxn ang="0">
                  <a:pos x="connsiteX11481" y="connsiteY11481"/>
                </a:cxn>
                <a:cxn ang="0">
                  <a:pos x="connsiteX11482" y="connsiteY11482"/>
                </a:cxn>
                <a:cxn ang="0">
                  <a:pos x="connsiteX11483" y="connsiteY11483"/>
                </a:cxn>
                <a:cxn ang="0">
                  <a:pos x="connsiteX11484" y="connsiteY11484"/>
                </a:cxn>
                <a:cxn ang="0">
                  <a:pos x="connsiteX11485" y="connsiteY11485"/>
                </a:cxn>
                <a:cxn ang="0">
                  <a:pos x="connsiteX11486" y="connsiteY11486"/>
                </a:cxn>
                <a:cxn ang="0">
                  <a:pos x="connsiteX11487" y="connsiteY11487"/>
                </a:cxn>
                <a:cxn ang="0">
                  <a:pos x="connsiteX11488" y="connsiteY11488"/>
                </a:cxn>
                <a:cxn ang="0">
                  <a:pos x="connsiteX11489" y="connsiteY11489"/>
                </a:cxn>
                <a:cxn ang="0">
                  <a:pos x="connsiteX11490" y="connsiteY11490"/>
                </a:cxn>
                <a:cxn ang="0">
                  <a:pos x="connsiteX11491" y="connsiteY11491"/>
                </a:cxn>
                <a:cxn ang="0">
                  <a:pos x="connsiteX11492" y="connsiteY11492"/>
                </a:cxn>
                <a:cxn ang="0">
                  <a:pos x="connsiteX11493" y="connsiteY11493"/>
                </a:cxn>
                <a:cxn ang="0">
                  <a:pos x="connsiteX11494" y="connsiteY11494"/>
                </a:cxn>
                <a:cxn ang="0">
                  <a:pos x="connsiteX11495" y="connsiteY11495"/>
                </a:cxn>
                <a:cxn ang="0">
                  <a:pos x="connsiteX11496" y="connsiteY11496"/>
                </a:cxn>
                <a:cxn ang="0">
                  <a:pos x="connsiteX11497" y="connsiteY11497"/>
                </a:cxn>
                <a:cxn ang="0">
                  <a:pos x="connsiteX11498" y="connsiteY11498"/>
                </a:cxn>
                <a:cxn ang="0">
                  <a:pos x="connsiteX11499" y="connsiteY11499"/>
                </a:cxn>
                <a:cxn ang="0">
                  <a:pos x="connsiteX11500" y="connsiteY11500"/>
                </a:cxn>
                <a:cxn ang="0">
                  <a:pos x="connsiteX11501" y="connsiteY11501"/>
                </a:cxn>
                <a:cxn ang="0">
                  <a:pos x="connsiteX11502" y="connsiteY11502"/>
                </a:cxn>
                <a:cxn ang="0">
                  <a:pos x="connsiteX11503" y="connsiteY11503"/>
                </a:cxn>
                <a:cxn ang="0">
                  <a:pos x="connsiteX11504" y="connsiteY11504"/>
                </a:cxn>
                <a:cxn ang="0">
                  <a:pos x="connsiteX11505" y="connsiteY11505"/>
                </a:cxn>
                <a:cxn ang="0">
                  <a:pos x="connsiteX11506" y="connsiteY11506"/>
                </a:cxn>
                <a:cxn ang="0">
                  <a:pos x="connsiteX11507" y="connsiteY11507"/>
                </a:cxn>
                <a:cxn ang="0">
                  <a:pos x="connsiteX11508" y="connsiteY11508"/>
                </a:cxn>
                <a:cxn ang="0">
                  <a:pos x="connsiteX11509" y="connsiteY11509"/>
                </a:cxn>
                <a:cxn ang="0">
                  <a:pos x="connsiteX11510" y="connsiteY11510"/>
                </a:cxn>
                <a:cxn ang="0">
                  <a:pos x="connsiteX11511" y="connsiteY11511"/>
                </a:cxn>
                <a:cxn ang="0">
                  <a:pos x="connsiteX11512" y="connsiteY11512"/>
                </a:cxn>
                <a:cxn ang="0">
                  <a:pos x="connsiteX11513" y="connsiteY11513"/>
                </a:cxn>
                <a:cxn ang="0">
                  <a:pos x="connsiteX11514" y="connsiteY11514"/>
                </a:cxn>
                <a:cxn ang="0">
                  <a:pos x="connsiteX11515" y="connsiteY11515"/>
                </a:cxn>
                <a:cxn ang="0">
                  <a:pos x="connsiteX11516" y="connsiteY11516"/>
                </a:cxn>
                <a:cxn ang="0">
                  <a:pos x="connsiteX11517" y="connsiteY11517"/>
                </a:cxn>
                <a:cxn ang="0">
                  <a:pos x="connsiteX11518" y="connsiteY11518"/>
                </a:cxn>
                <a:cxn ang="0">
                  <a:pos x="connsiteX11519" y="connsiteY11519"/>
                </a:cxn>
                <a:cxn ang="0">
                  <a:pos x="connsiteX11520" y="connsiteY11520"/>
                </a:cxn>
                <a:cxn ang="0">
                  <a:pos x="connsiteX11521" y="connsiteY11521"/>
                </a:cxn>
                <a:cxn ang="0">
                  <a:pos x="connsiteX11522" y="connsiteY11522"/>
                </a:cxn>
                <a:cxn ang="0">
                  <a:pos x="connsiteX11523" y="connsiteY11523"/>
                </a:cxn>
                <a:cxn ang="0">
                  <a:pos x="connsiteX11524" y="connsiteY11524"/>
                </a:cxn>
                <a:cxn ang="0">
                  <a:pos x="connsiteX11525" y="connsiteY11525"/>
                </a:cxn>
                <a:cxn ang="0">
                  <a:pos x="connsiteX11526" y="connsiteY11526"/>
                </a:cxn>
                <a:cxn ang="0">
                  <a:pos x="connsiteX11527" y="connsiteY11527"/>
                </a:cxn>
                <a:cxn ang="0">
                  <a:pos x="connsiteX11528" y="connsiteY11528"/>
                </a:cxn>
                <a:cxn ang="0">
                  <a:pos x="connsiteX11529" y="connsiteY11529"/>
                </a:cxn>
                <a:cxn ang="0">
                  <a:pos x="connsiteX11530" y="connsiteY11530"/>
                </a:cxn>
                <a:cxn ang="0">
                  <a:pos x="connsiteX11531" y="connsiteY11531"/>
                </a:cxn>
                <a:cxn ang="0">
                  <a:pos x="connsiteX11532" y="connsiteY11532"/>
                </a:cxn>
                <a:cxn ang="0">
                  <a:pos x="connsiteX11533" y="connsiteY11533"/>
                </a:cxn>
                <a:cxn ang="0">
                  <a:pos x="connsiteX11534" y="connsiteY11534"/>
                </a:cxn>
                <a:cxn ang="0">
                  <a:pos x="connsiteX11535" y="connsiteY11535"/>
                </a:cxn>
                <a:cxn ang="0">
                  <a:pos x="connsiteX11536" y="connsiteY11536"/>
                </a:cxn>
                <a:cxn ang="0">
                  <a:pos x="connsiteX11537" y="connsiteY11537"/>
                </a:cxn>
                <a:cxn ang="0">
                  <a:pos x="connsiteX11538" y="connsiteY11538"/>
                </a:cxn>
                <a:cxn ang="0">
                  <a:pos x="connsiteX11539" y="connsiteY11539"/>
                </a:cxn>
                <a:cxn ang="0">
                  <a:pos x="connsiteX11540" y="connsiteY11540"/>
                </a:cxn>
                <a:cxn ang="0">
                  <a:pos x="connsiteX11541" y="connsiteY11541"/>
                </a:cxn>
                <a:cxn ang="0">
                  <a:pos x="connsiteX11542" y="connsiteY11542"/>
                </a:cxn>
                <a:cxn ang="0">
                  <a:pos x="connsiteX11543" y="connsiteY11543"/>
                </a:cxn>
                <a:cxn ang="0">
                  <a:pos x="connsiteX11544" y="connsiteY11544"/>
                </a:cxn>
                <a:cxn ang="0">
                  <a:pos x="connsiteX11545" y="connsiteY11545"/>
                </a:cxn>
                <a:cxn ang="0">
                  <a:pos x="connsiteX11546" y="connsiteY11546"/>
                </a:cxn>
                <a:cxn ang="0">
                  <a:pos x="connsiteX11547" y="connsiteY11547"/>
                </a:cxn>
                <a:cxn ang="0">
                  <a:pos x="connsiteX11548" y="connsiteY11548"/>
                </a:cxn>
                <a:cxn ang="0">
                  <a:pos x="connsiteX11549" y="connsiteY11549"/>
                </a:cxn>
              </a:cxnLst>
              <a:rect l="l" t="t" r="r" b="b"/>
              <a:pathLst>
                <a:path w="6942639" h="9250612">
                  <a:moveTo>
                    <a:pt x="6933679" y="9232691"/>
                  </a:moveTo>
                  <a:cubicBezTo>
                    <a:pt x="6938628" y="9232691"/>
                    <a:pt x="6942639" y="9236703"/>
                    <a:pt x="6942639" y="9241652"/>
                  </a:cubicBezTo>
                  <a:cubicBezTo>
                    <a:pt x="6942639" y="9246600"/>
                    <a:pt x="6938628" y="9250612"/>
                    <a:pt x="6933679" y="9250612"/>
                  </a:cubicBezTo>
                  <a:cubicBezTo>
                    <a:pt x="6928730" y="9250612"/>
                    <a:pt x="6924718" y="9246600"/>
                    <a:pt x="6924718" y="9241652"/>
                  </a:cubicBezTo>
                  <a:cubicBezTo>
                    <a:pt x="6924718" y="9236703"/>
                    <a:pt x="6928730" y="9232691"/>
                    <a:pt x="6933679" y="9232691"/>
                  </a:cubicBezTo>
                  <a:close/>
                  <a:moveTo>
                    <a:pt x="6763357" y="9232691"/>
                  </a:moveTo>
                  <a:cubicBezTo>
                    <a:pt x="6768306" y="9232691"/>
                    <a:pt x="6772318" y="9236703"/>
                    <a:pt x="6772318" y="9241652"/>
                  </a:cubicBezTo>
                  <a:cubicBezTo>
                    <a:pt x="6772318" y="9246600"/>
                    <a:pt x="6768306" y="9250612"/>
                    <a:pt x="6763357" y="9250612"/>
                  </a:cubicBezTo>
                  <a:cubicBezTo>
                    <a:pt x="6758408" y="9250612"/>
                    <a:pt x="6754397" y="9246600"/>
                    <a:pt x="6754397" y="9241652"/>
                  </a:cubicBezTo>
                  <a:cubicBezTo>
                    <a:pt x="6754397" y="9236703"/>
                    <a:pt x="6758408" y="9232691"/>
                    <a:pt x="6763357" y="9232691"/>
                  </a:cubicBezTo>
                  <a:close/>
                  <a:moveTo>
                    <a:pt x="6593035" y="9232691"/>
                  </a:moveTo>
                  <a:cubicBezTo>
                    <a:pt x="6597984" y="9232691"/>
                    <a:pt x="6601996" y="9236703"/>
                    <a:pt x="6601996" y="9241652"/>
                  </a:cubicBezTo>
                  <a:cubicBezTo>
                    <a:pt x="6601996" y="9246600"/>
                    <a:pt x="6597984" y="9250612"/>
                    <a:pt x="6593035" y="9250612"/>
                  </a:cubicBezTo>
                  <a:cubicBezTo>
                    <a:pt x="6588086" y="9250612"/>
                    <a:pt x="6584075" y="9246600"/>
                    <a:pt x="6584075" y="9241652"/>
                  </a:cubicBezTo>
                  <a:cubicBezTo>
                    <a:pt x="6584075" y="9236703"/>
                    <a:pt x="6588086" y="9232691"/>
                    <a:pt x="6593035" y="9232691"/>
                  </a:cubicBezTo>
                  <a:close/>
                  <a:moveTo>
                    <a:pt x="6424294" y="9232691"/>
                  </a:moveTo>
                  <a:cubicBezTo>
                    <a:pt x="6429243" y="9232691"/>
                    <a:pt x="6433255" y="9236703"/>
                    <a:pt x="6433255" y="9241652"/>
                  </a:cubicBezTo>
                  <a:cubicBezTo>
                    <a:pt x="6433255" y="9246600"/>
                    <a:pt x="6429243" y="9250612"/>
                    <a:pt x="6424294" y="9250612"/>
                  </a:cubicBezTo>
                  <a:cubicBezTo>
                    <a:pt x="6419345" y="9250612"/>
                    <a:pt x="6415334" y="9246600"/>
                    <a:pt x="6415334" y="9241652"/>
                  </a:cubicBezTo>
                  <a:cubicBezTo>
                    <a:pt x="6415334" y="9236703"/>
                    <a:pt x="6419345" y="9232691"/>
                    <a:pt x="6424294" y="9232691"/>
                  </a:cubicBezTo>
                  <a:close/>
                  <a:moveTo>
                    <a:pt x="6255553" y="9232691"/>
                  </a:moveTo>
                  <a:cubicBezTo>
                    <a:pt x="6260502" y="9232691"/>
                    <a:pt x="6264514" y="9236703"/>
                    <a:pt x="6264514" y="9241652"/>
                  </a:cubicBezTo>
                  <a:cubicBezTo>
                    <a:pt x="6264514" y="9246600"/>
                    <a:pt x="6260502" y="9250612"/>
                    <a:pt x="6255553" y="9250612"/>
                  </a:cubicBezTo>
                  <a:cubicBezTo>
                    <a:pt x="6250604" y="9250612"/>
                    <a:pt x="6246593" y="9246600"/>
                    <a:pt x="6246593" y="9241652"/>
                  </a:cubicBezTo>
                  <a:cubicBezTo>
                    <a:pt x="6246593" y="9236703"/>
                    <a:pt x="6250604" y="9232691"/>
                    <a:pt x="6255553" y="9232691"/>
                  </a:cubicBezTo>
                  <a:close/>
                  <a:moveTo>
                    <a:pt x="6086811" y="9232691"/>
                  </a:moveTo>
                  <a:cubicBezTo>
                    <a:pt x="6091760" y="9232691"/>
                    <a:pt x="6095772" y="9236703"/>
                    <a:pt x="6095772" y="9241652"/>
                  </a:cubicBezTo>
                  <a:cubicBezTo>
                    <a:pt x="6095772" y="9246600"/>
                    <a:pt x="6091760" y="9250612"/>
                    <a:pt x="6086811" y="9250612"/>
                  </a:cubicBezTo>
                  <a:cubicBezTo>
                    <a:pt x="6081862" y="9250612"/>
                    <a:pt x="6077851" y="9246600"/>
                    <a:pt x="6077851" y="9241652"/>
                  </a:cubicBezTo>
                  <a:cubicBezTo>
                    <a:pt x="6077851" y="9236703"/>
                    <a:pt x="6081862" y="9232691"/>
                    <a:pt x="6086811" y="9232691"/>
                  </a:cubicBezTo>
                  <a:close/>
                  <a:moveTo>
                    <a:pt x="5918069" y="9232691"/>
                  </a:moveTo>
                  <a:cubicBezTo>
                    <a:pt x="5923018" y="9232691"/>
                    <a:pt x="5927030" y="9236703"/>
                    <a:pt x="5927030" y="9241652"/>
                  </a:cubicBezTo>
                  <a:cubicBezTo>
                    <a:pt x="5927030" y="9246600"/>
                    <a:pt x="5923018" y="9250612"/>
                    <a:pt x="5918069" y="9250612"/>
                  </a:cubicBezTo>
                  <a:cubicBezTo>
                    <a:pt x="5913120" y="9250612"/>
                    <a:pt x="5909109" y="9246600"/>
                    <a:pt x="5909109" y="9241652"/>
                  </a:cubicBezTo>
                  <a:cubicBezTo>
                    <a:pt x="5909109" y="9236703"/>
                    <a:pt x="5913120" y="9232691"/>
                    <a:pt x="5918069" y="9232691"/>
                  </a:cubicBezTo>
                  <a:close/>
                  <a:moveTo>
                    <a:pt x="5749328" y="9232691"/>
                  </a:moveTo>
                  <a:cubicBezTo>
                    <a:pt x="5754277" y="9232691"/>
                    <a:pt x="5758289" y="9236703"/>
                    <a:pt x="5758289" y="9241652"/>
                  </a:cubicBezTo>
                  <a:cubicBezTo>
                    <a:pt x="5758289" y="9246600"/>
                    <a:pt x="5754277" y="9250612"/>
                    <a:pt x="5749328" y="9250612"/>
                  </a:cubicBezTo>
                  <a:cubicBezTo>
                    <a:pt x="5744379" y="9250612"/>
                    <a:pt x="5740368" y="9246600"/>
                    <a:pt x="5740368" y="9241652"/>
                  </a:cubicBezTo>
                  <a:cubicBezTo>
                    <a:pt x="5740368" y="9236703"/>
                    <a:pt x="5744379" y="9232691"/>
                    <a:pt x="5749328" y="9232691"/>
                  </a:cubicBezTo>
                  <a:close/>
                  <a:moveTo>
                    <a:pt x="5580586" y="9232691"/>
                  </a:moveTo>
                  <a:cubicBezTo>
                    <a:pt x="5585535" y="9232691"/>
                    <a:pt x="5589547" y="9236703"/>
                    <a:pt x="5589547" y="9241652"/>
                  </a:cubicBezTo>
                  <a:cubicBezTo>
                    <a:pt x="5589547" y="9246600"/>
                    <a:pt x="5585535" y="9250612"/>
                    <a:pt x="5580586" y="9250612"/>
                  </a:cubicBezTo>
                  <a:cubicBezTo>
                    <a:pt x="5575637" y="9250612"/>
                    <a:pt x="5571626" y="9246600"/>
                    <a:pt x="5571626" y="9241652"/>
                  </a:cubicBezTo>
                  <a:cubicBezTo>
                    <a:pt x="5571626" y="9236703"/>
                    <a:pt x="5575637" y="9232691"/>
                    <a:pt x="5580586" y="9232691"/>
                  </a:cubicBezTo>
                  <a:close/>
                  <a:moveTo>
                    <a:pt x="5411845" y="9232691"/>
                  </a:moveTo>
                  <a:cubicBezTo>
                    <a:pt x="5416794" y="9232691"/>
                    <a:pt x="5420806" y="9236703"/>
                    <a:pt x="5420806" y="9241652"/>
                  </a:cubicBezTo>
                  <a:cubicBezTo>
                    <a:pt x="5420806" y="9246600"/>
                    <a:pt x="5416794" y="9250612"/>
                    <a:pt x="5411845" y="9250612"/>
                  </a:cubicBezTo>
                  <a:cubicBezTo>
                    <a:pt x="5406896" y="9250612"/>
                    <a:pt x="5402885" y="9246600"/>
                    <a:pt x="5402885" y="9241652"/>
                  </a:cubicBezTo>
                  <a:cubicBezTo>
                    <a:pt x="5402885" y="9236703"/>
                    <a:pt x="5406896" y="9232691"/>
                    <a:pt x="5411845" y="9232691"/>
                  </a:cubicBezTo>
                  <a:close/>
                  <a:moveTo>
                    <a:pt x="5243103" y="9232691"/>
                  </a:moveTo>
                  <a:cubicBezTo>
                    <a:pt x="5248052" y="9232691"/>
                    <a:pt x="5252064" y="9236703"/>
                    <a:pt x="5252064" y="9241652"/>
                  </a:cubicBezTo>
                  <a:cubicBezTo>
                    <a:pt x="5252064" y="9246600"/>
                    <a:pt x="5248052" y="9250612"/>
                    <a:pt x="5243103" y="9250612"/>
                  </a:cubicBezTo>
                  <a:cubicBezTo>
                    <a:pt x="5238154" y="9250612"/>
                    <a:pt x="5234143" y="9246600"/>
                    <a:pt x="5234143" y="9241652"/>
                  </a:cubicBezTo>
                  <a:cubicBezTo>
                    <a:pt x="5234143" y="9236703"/>
                    <a:pt x="5238154" y="9232691"/>
                    <a:pt x="5243103" y="9232691"/>
                  </a:cubicBezTo>
                  <a:close/>
                  <a:moveTo>
                    <a:pt x="5074362" y="9232691"/>
                  </a:moveTo>
                  <a:cubicBezTo>
                    <a:pt x="5079311" y="9232691"/>
                    <a:pt x="5083323" y="9236703"/>
                    <a:pt x="5083323" y="9241652"/>
                  </a:cubicBezTo>
                  <a:cubicBezTo>
                    <a:pt x="5083323" y="9246600"/>
                    <a:pt x="5079311" y="9250612"/>
                    <a:pt x="5074362" y="9250612"/>
                  </a:cubicBezTo>
                  <a:cubicBezTo>
                    <a:pt x="5069413" y="9250612"/>
                    <a:pt x="5065402" y="9246600"/>
                    <a:pt x="5065402" y="9241652"/>
                  </a:cubicBezTo>
                  <a:cubicBezTo>
                    <a:pt x="5065402" y="9236703"/>
                    <a:pt x="5069413" y="9232691"/>
                    <a:pt x="5074362" y="9232691"/>
                  </a:cubicBezTo>
                  <a:close/>
                  <a:moveTo>
                    <a:pt x="4905620" y="9232691"/>
                  </a:moveTo>
                  <a:cubicBezTo>
                    <a:pt x="4910569" y="9232691"/>
                    <a:pt x="4914581" y="9236703"/>
                    <a:pt x="4914581" y="9241652"/>
                  </a:cubicBezTo>
                  <a:cubicBezTo>
                    <a:pt x="4914581" y="9246600"/>
                    <a:pt x="4910569" y="9250612"/>
                    <a:pt x="4905620" y="9250612"/>
                  </a:cubicBezTo>
                  <a:cubicBezTo>
                    <a:pt x="4900671" y="9250612"/>
                    <a:pt x="4896660" y="9246600"/>
                    <a:pt x="4896660" y="9241652"/>
                  </a:cubicBezTo>
                  <a:cubicBezTo>
                    <a:pt x="4896660" y="9236703"/>
                    <a:pt x="4900671" y="9232691"/>
                    <a:pt x="4905620" y="9232691"/>
                  </a:cubicBezTo>
                  <a:close/>
                  <a:moveTo>
                    <a:pt x="4736878" y="9232691"/>
                  </a:moveTo>
                  <a:cubicBezTo>
                    <a:pt x="4741827" y="9232691"/>
                    <a:pt x="4745839" y="9236703"/>
                    <a:pt x="4745839" y="9241652"/>
                  </a:cubicBezTo>
                  <a:cubicBezTo>
                    <a:pt x="4745839" y="9246600"/>
                    <a:pt x="4741827" y="9250612"/>
                    <a:pt x="4736878" y="9250612"/>
                  </a:cubicBezTo>
                  <a:cubicBezTo>
                    <a:pt x="4731929" y="9250612"/>
                    <a:pt x="4727918" y="9246600"/>
                    <a:pt x="4727918" y="9241652"/>
                  </a:cubicBezTo>
                  <a:cubicBezTo>
                    <a:pt x="4727918" y="9236703"/>
                    <a:pt x="4731929" y="9232691"/>
                    <a:pt x="4736878" y="9232691"/>
                  </a:cubicBezTo>
                  <a:close/>
                  <a:moveTo>
                    <a:pt x="4568137" y="9232691"/>
                  </a:moveTo>
                  <a:cubicBezTo>
                    <a:pt x="4573086" y="9232691"/>
                    <a:pt x="4577098" y="9236703"/>
                    <a:pt x="4577098" y="9241652"/>
                  </a:cubicBezTo>
                  <a:cubicBezTo>
                    <a:pt x="4577098" y="9246600"/>
                    <a:pt x="4573086" y="9250612"/>
                    <a:pt x="4568137" y="9250612"/>
                  </a:cubicBezTo>
                  <a:cubicBezTo>
                    <a:pt x="4563188" y="9250612"/>
                    <a:pt x="4559177" y="9246600"/>
                    <a:pt x="4559177" y="9241652"/>
                  </a:cubicBezTo>
                  <a:cubicBezTo>
                    <a:pt x="4559177" y="9236703"/>
                    <a:pt x="4563188" y="9232691"/>
                    <a:pt x="4568137" y="9232691"/>
                  </a:cubicBezTo>
                  <a:close/>
                  <a:moveTo>
                    <a:pt x="4399396" y="9232691"/>
                  </a:moveTo>
                  <a:cubicBezTo>
                    <a:pt x="4404345" y="9232691"/>
                    <a:pt x="4408357" y="9236703"/>
                    <a:pt x="4408357" y="9241652"/>
                  </a:cubicBezTo>
                  <a:cubicBezTo>
                    <a:pt x="4408357" y="9246600"/>
                    <a:pt x="4404345" y="9250612"/>
                    <a:pt x="4399396" y="9250612"/>
                  </a:cubicBezTo>
                  <a:cubicBezTo>
                    <a:pt x="4394447" y="9250612"/>
                    <a:pt x="4390436" y="9246600"/>
                    <a:pt x="4390436" y="9241652"/>
                  </a:cubicBezTo>
                  <a:cubicBezTo>
                    <a:pt x="4390436" y="9236703"/>
                    <a:pt x="4394447" y="9232691"/>
                    <a:pt x="4399396" y="9232691"/>
                  </a:cubicBezTo>
                  <a:close/>
                  <a:moveTo>
                    <a:pt x="4230654" y="9232691"/>
                  </a:moveTo>
                  <a:cubicBezTo>
                    <a:pt x="4235603" y="9232691"/>
                    <a:pt x="4239615" y="9236703"/>
                    <a:pt x="4239615" y="9241652"/>
                  </a:cubicBezTo>
                  <a:cubicBezTo>
                    <a:pt x="4239615" y="9246600"/>
                    <a:pt x="4235603" y="9250612"/>
                    <a:pt x="4230654" y="9250612"/>
                  </a:cubicBezTo>
                  <a:cubicBezTo>
                    <a:pt x="4225705" y="9250612"/>
                    <a:pt x="4221694" y="9246600"/>
                    <a:pt x="4221694" y="9241652"/>
                  </a:cubicBezTo>
                  <a:cubicBezTo>
                    <a:pt x="4221694" y="9236703"/>
                    <a:pt x="4225705" y="9232691"/>
                    <a:pt x="4230654" y="9232691"/>
                  </a:cubicBezTo>
                  <a:close/>
                  <a:moveTo>
                    <a:pt x="4061912" y="9232691"/>
                  </a:moveTo>
                  <a:cubicBezTo>
                    <a:pt x="4066861" y="9232691"/>
                    <a:pt x="4070873" y="9236703"/>
                    <a:pt x="4070873" y="9241652"/>
                  </a:cubicBezTo>
                  <a:cubicBezTo>
                    <a:pt x="4070873" y="9246600"/>
                    <a:pt x="4066861" y="9250612"/>
                    <a:pt x="4061912" y="9250612"/>
                  </a:cubicBezTo>
                  <a:cubicBezTo>
                    <a:pt x="4056963" y="9250612"/>
                    <a:pt x="4052952" y="9246600"/>
                    <a:pt x="4052952" y="9241652"/>
                  </a:cubicBezTo>
                  <a:cubicBezTo>
                    <a:pt x="4052952" y="9236703"/>
                    <a:pt x="4056963" y="9232691"/>
                    <a:pt x="4061912" y="9232691"/>
                  </a:cubicBezTo>
                  <a:close/>
                  <a:moveTo>
                    <a:pt x="3893170" y="9232691"/>
                  </a:moveTo>
                  <a:cubicBezTo>
                    <a:pt x="3898119" y="9232691"/>
                    <a:pt x="3902131" y="9236703"/>
                    <a:pt x="3902131" y="9241652"/>
                  </a:cubicBezTo>
                  <a:cubicBezTo>
                    <a:pt x="3902131" y="9246600"/>
                    <a:pt x="3898119" y="9250612"/>
                    <a:pt x="3893170" y="9250612"/>
                  </a:cubicBezTo>
                  <a:cubicBezTo>
                    <a:pt x="3888221" y="9250612"/>
                    <a:pt x="3884210" y="9246600"/>
                    <a:pt x="3884210" y="9241652"/>
                  </a:cubicBezTo>
                  <a:cubicBezTo>
                    <a:pt x="3884210" y="9236703"/>
                    <a:pt x="3888221" y="9232691"/>
                    <a:pt x="3893170" y="9232691"/>
                  </a:cubicBezTo>
                  <a:close/>
                  <a:moveTo>
                    <a:pt x="3724429" y="9232691"/>
                  </a:moveTo>
                  <a:cubicBezTo>
                    <a:pt x="3729378" y="9232691"/>
                    <a:pt x="3733390" y="9236703"/>
                    <a:pt x="3733390" y="9241652"/>
                  </a:cubicBezTo>
                  <a:cubicBezTo>
                    <a:pt x="3733390" y="9246600"/>
                    <a:pt x="3729378" y="9250612"/>
                    <a:pt x="3724429" y="9250612"/>
                  </a:cubicBezTo>
                  <a:cubicBezTo>
                    <a:pt x="3719481" y="9250612"/>
                    <a:pt x="3715469" y="9246600"/>
                    <a:pt x="3715469" y="9241652"/>
                  </a:cubicBezTo>
                  <a:cubicBezTo>
                    <a:pt x="3715469" y="9236703"/>
                    <a:pt x="3719481" y="9232691"/>
                    <a:pt x="3724429" y="9232691"/>
                  </a:cubicBezTo>
                  <a:close/>
                  <a:moveTo>
                    <a:pt x="3555688" y="9232691"/>
                  </a:moveTo>
                  <a:cubicBezTo>
                    <a:pt x="3560637" y="9232691"/>
                    <a:pt x="3564649" y="9236703"/>
                    <a:pt x="3564649" y="9241652"/>
                  </a:cubicBezTo>
                  <a:cubicBezTo>
                    <a:pt x="3564649" y="9246600"/>
                    <a:pt x="3560637" y="9250612"/>
                    <a:pt x="3555688" y="9250612"/>
                  </a:cubicBezTo>
                  <a:cubicBezTo>
                    <a:pt x="3550740" y="9250612"/>
                    <a:pt x="3546728" y="9246600"/>
                    <a:pt x="3546728" y="9241652"/>
                  </a:cubicBezTo>
                  <a:cubicBezTo>
                    <a:pt x="3546728" y="9236703"/>
                    <a:pt x="3550740" y="9232691"/>
                    <a:pt x="3555688" y="9232691"/>
                  </a:cubicBezTo>
                  <a:close/>
                  <a:moveTo>
                    <a:pt x="3386948" y="9232691"/>
                  </a:moveTo>
                  <a:cubicBezTo>
                    <a:pt x="3391896" y="9232691"/>
                    <a:pt x="3395909" y="9236703"/>
                    <a:pt x="3395909" y="9241652"/>
                  </a:cubicBezTo>
                  <a:cubicBezTo>
                    <a:pt x="3395909" y="9246600"/>
                    <a:pt x="3391896" y="9250612"/>
                    <a:pt x="3386948" y="9250612"/>
                  </a:cubicBezTo>
                  <a:cubicBezTo>
                    <a:pt x="3381999" y="9250612"/>
                    <a:pt x="3377987" y="9246600"/>
                    <a:pt x="3377987" y="9241652"/>
                  </a:cubicBezTo>
                  <a:cubicBezTo>
                    <a:pt x="3377987" y="9236703"/>
                    <a:pt x="3381999" y="9232691"/>
                    <a:pt x="3386948" y="9232691"/>
                  </a:cubicBezTo>
                  <a:close/>
                  <a:moveTo>
                    <a:pt x="3218206" y="9232691"/>
                  </a:moveTo>
                  <a:cubicBezTo>
                    <a:pt x="3223154" y="9232691"/>
                    <a:pt x="3227166" y="9236703"/>
                    <a:pt x="3227166" y="9241652"/>
                  </a:cubicBezTo>
                  <a:cubicBezTo>
                    <a:pt x="3227166" y="9246600"/>
                    <a:pt x="3223154" y="9250612"/>
                    <a:pt x="3218206" y="9250612"/>
                  </a:cubicBezTo>
                  <a:cubicBezTo>
                    <a:pt x="3213257" y="9250612"/>
                    <a:pt x="3209246" y="9246600"/>
                    <a:pt x="3209246" y="9241652"/>
                  </a:cubicBezTo>
                  <a:cubicBezTo>
                    <a:pt x="3209246" y="9236703"/>
                    <a:pt x="3213257" y="9232691"/>
                    <a:pt x="3218206" y="9232691"/>
                  </a:cubicBezTo>
                  <a:close/>
                  <a:moveTo>
                    <a:pt x="3049466" y="9232691"/>
                  </a:moveTo>
                  <a:cubicBezTo>
                    <a:pt x="3054414" y="9232691"/>
                    <a:pt x="3058426" y="9236703"/>
                    <a:pt x="3058426" y="9241652"/>
                  </a:cubicBezTo>
                  <a:cubicBezTo>
                    <a:pt x="3058426" y="9246600"/>
                    <a:pt x="3054414" y="9250612"/>
                    <a:pt x="3049466" y="9250612"/>
                  </a:cubicBezTo>
                  <a:cubicBezTo>
                    <a:pt x="3044517" y="9250612"/>
                    <a:pt x="3040505" y="9246600"/>
                    <a:pt x="3040505" y="9241652"/>
                  </a:cubicBezTo>
                  <a:cubicBezTo>
                    <a:pt x="3040505" y="9236703"/>
                    <a:pt x="3044517" y="9232691"/>
                    <a:pt x="3049466" y="9232691"/>
                  </a:cubicBezTo>
                  <a:close/>
                  <a:moveTo>
                    <a:pt x="2880724" y="9232691"/>
                  </a:moveTo>
                  <a:cubicBezTo>
                    <a:pt x="2885673" y="9232691"/>
                    <a:pt x="2889685" y="9236703"/>
                    <a:pt x="2889685" y="9241652"/>
                  </a:cubicBezTo>
                  <a:cubicBezTo>
                    <a:pt x="2889685" y="9246600"/>
                    <a:pt x="2885673" y="9250612"/>
                    <a:pt x="2880724" y="9250612"/>
                  </a:cubicBezTo>
                  <a:cubicBezTo>
                    <a:pt x="2875776" y="9250612"/>
                    <a:pt x="2871764" y="9246600"/>
                    <a:pt x="2871764" y="9241652"/>
                  </a:cubicBezTo>
                  <a:cubicBezTo>
                    <a:pt x="2871764" y="9236703"/>
                    <a:pt x="2875776" y="9232691"/>
                    <a:pt x="2880724" y="9232691"/>
                  </a:cubicBezTo>
                  <a:close/>
                  <a:moveTo>
                    <a:pt x="2711982" y="9232691"/>
                  </a:moveTo>
                  <a:cubicBezTo>
                    <a:pt x="2716931" y="9232691"/>
                    <a:pt x="2720943" y="9236703"/>
                    <a:pt x="2720943" y="9241652"/>
                  </a:cubicBezTo>
                  <a:cubicBezTo>
                    <a:pt x="2720943" y="9246600"/>
                    <a:pt x="2716931" y="9250612"/>
                    <a:pt x="2711982" y="9250612"/>
                  </a:cubicBezTo>
                  <a:cubicBezTo>
                    <a:pt x="2707034" y="9250612"/>
                    <a:pt x="2703023" y="9246600"/>
                    <a:pt x="2703023" y="9241652"/>
                  </a:cubicBezTo>
                  <a:cubicBezTo>
                    <a:pt x="2703023" y="9236703"/>
                    <a:pt x="2707034" y="9232691"/>
                    <a:pt x="2711982" y="9232691"/>
                  </a:cubicBezTo>
                  <a:close/>
                  <a:moveTo>
                    <a:pt x="2543241" y="9232691"/>
                  </a:moveTo>
                  <a:cubicBezTo>
                    <a:pt x="2548190" y="9232691"/>
                    <a:pt x="2552201" y="9236703"/>
                    <a:pt x="2552201" y="9241652"/>
                  </a:cubicBezTo>
                  <a:cubicBezTo>
                    <a:pt x="2552201" y="9246600"/>
                    <a:pt x="2548190" y="9250612"/>
                    <a:pt x="2543241" y="9250612"/>
                  </a:cubicBezTo>
                  <a:cubicBezTo>
                    <a:pt x="2538292" y="9250612"/>
                    <a:pt x="2534281" y="9246600"/>
                    <a:pt x="2534281" y="9241652"/>
                  </a:cubicBezTo>
                  <a:cubicBezTo>
                    <a:pt x="2534281" y="9236703"/>
                    <a:pt x="2538292" y="9232691"/>
                    <a:pt x="2543241" y="9232691"/>
                  </a:cubicBezTo>
                  <a:close/>
                  <a:moveTo>
                    <a:pt x="2374499" y="9232691"/>
                  </a:moveTo>
                  <a:cubicBezTo>
                    <a:pt x="2379448" y="9232691"/>
                    <a:pt x="2383461" y="9236703"/>
                    <a:pt x="2383461" y="9241652"/>
                  </a:cubicBezTo>
                  <a:cubicBezTo>
                    <a:pt x="2383461" y="9246600"/>
                    <a:pt x="2379448" y="9250612"/>
                    <a:pt x="2374499" y="9250612"/>
                  </a:cubicBezTo>
                  <a:cubicBezTo>
                    <a:pt x="2369552" y="9250612"/>
                    <a:pt x="2365539" y="9246600"/>
                    <a:pt x="2365539" y="9241652"/>
                  </a:cubicBezTo>
                  <a:cubicBezTo>
                    <a:pt x="2365539" y="9236703"/>
                    <a:pt x="2369552" y="9232691"/>
                    <a:pt x="2374499" y="9232691"/>
                  </a:cubicBezTo>
                  <a:close/>
                  <a:moveTo>
                    <a:pt x="2205758" y="9232691"/>
                  </a:moveTo>
                  <a:cubicBezTo>
                    <a:pt x="2210707" y="9232691"/>
                    <a:pt x="2214719" y="9236703"/>
                    <a:pt x="2214719" y="9241652"/>
                  </a:cubicBezTo>
                  <a:cubicBezTo>
                    <a:pt x="2214719" y="9246600"/>
                    <a:pt x="2210707" y="9250612"/>
                    <a:pt x="2205758" y="9250612"/>
                  </a:cubicBezTo>
                  <a:cubicBezTo>
                    <a:pt x="2200810" y="9250612"/>
                    <a:pt x="2196798" y="9246600"/>
                    <a:pt x="2196798" y="9241652"/>
                  </a:cubicBezTo>
                  <a:cubicBezTo>
                    <a:pt x="2196798" y="9236703"/>
                    <a:pt x="2200810" y="9232691"/>
                    <a:pt x="2205758" y="9232691"/>
                  </a:cubicBezTo>
                  <a:close/>
                  <a:moveTo>
                    <a:pt x="2037018" y="9232691"/>
                  </a:moveTo>
                  <a:cubicBezTo>
                    <a:pt x="2041966" y="9232691"/>
                    <a:pt x="2045978" y="9236703"/>
                    <a:pt x="2045978" y="9241652"/>
                  </a:cubicBezTo>
                  <a:cubicBezTo>
                    <a:pt x="2045978" y="9246600"/>
                    <a:pt x="2041966" y="9250612"/>
                    <a:pt x="2037018" y="9250612"/>
                  </a:cubicBezTo>
                  <a:cubicBezTo>
                    <a:pt x="2032069" y="9250612"/>
                    <a:pt x="2028057" y="9246600"/>
                    <a:pt x="2028057" y="9241652"/>
                  </a:cubicBezTo>
                  <a:cubicBezTo>
                    <a:pt x="2028057" y="9236703"/>
                    <a:pt x="2032069" y="9232691"/>
                    <a:pt x="2037018" y="9232691"/>
                  </a:cubicBezTo>
                  <a:close/>
                  <a:moveTo>
                    <a:pt x="1868276" y="9232691"/>
                  </a:moveTo>
                  <a:cubicBezTo>
                    <a:pt x="1873225" y="9232691"/>
                    <a:pt x="1877236" y="9236703"/>
                    <a:pt x="1877236" y="9241652"/>
                  </a:cubicBezTo>
                  <a:cubicBezTo>
                    <a:pt x="1877236" y="9246600"/>
                    <a:pt x="1873225" y="9250612"/>
                    <a:pt x="1868276" y="9250612"/>
                  </a:cubicBezTo>
                  <a:cubicBezTo>
                    <a:pt x="1863328" y="9250612"/>
                    <a:pt x="1859314" y="9246600"/>
                    <a:pt x="1859314" y="9241652"/>
                  </a:cubicBezTo>
                  <a:cubicBezTo>
                    <a:pt x="1859314" y="9236703"/>
                    <a:pt x="1863328" y="9232691"/>
                    <a:pt x="1868276" y="9232691"/>
                  </a:cubicBezTo>
                  <a:close/>
                  <a:moveTo>
                    <a:pt x="1699535" y="9232691"/>
                  </a:moveTo>
                  <a:cubicBezTo>
                    <a:pt x="1704484" y="9232691"/>
                    <a:pt x="1708495" y="9236703"/>
                    <a:pt x="1708495" y="9241652"/>
                  </a:cubicBezTo>
                  <a:cubicBezTo>
                    <a:pt x="1708495" y="9246600"/>
                    <a:pt x="1704484" y="9250612"/>
                    <a:pt x="1699535" y="9250612"/>
                  </a:cubicBezTo>
                  <a:cubicBezTo>
                    <a:pt x="1694586" y="9250612"/>
                    <a:pt x="1690575" y="9246600"/>
                    <a:pt x="1690575" y="9241652"/>
                  </a:cubicBezTo>
                  <a:cubicBezTo>
                    <a:pt x="1690575" y="9236703"/>
                    <a:pt x="1694586" y="9232691"/>
                    <a:pt x="1699535" y="9232691"/>
                  </a:cubicBezTo>
                  <a:close/>
                  <a:moveTo>
                    <a:pt x="1530793" y="9232691"/>
                  </a:moveTo>
                  <a:cubicBezTo>
                    <a:pt x="1535742" y="9232691"/>
                    <a:pt x="1539754" y="9236703"/>
                    <a:pt x="1539754" y="9241652"/>
                  </a:cubicBezTo>
                  <a:cubicBezTo>
                    <a:pt x="1539754" y="9246600"/>
                    <a:pt x="1535742" y="9250612"/>
                    <a:pt x="1530793" y="9250612"/>
                  </a:cubicBezTo>
                  <a:cubicBezTo>
                    <a:pt x="1525844" y="9250612"/>
                    <a:pt x="1521833" y="9246600"/>
                    <a:pt x="1521833" y="9241652"/>
                  </a:cubicBezTo>
                  <a:cubicBezTo>
                    <a:pt x="1521833" y="9236703"/>
                    <a:pt x="1525844" y="9232691"/>
                    <a:pt x="1530793" y="9232691"/>
                  </a:cubicBezTo>
                  <a:close/>
                  <a:moveTo>
                    <a:pt x="1362051" y="9232691"/>
                  </a:moveTo>
                  <a:cubicBezTo>
                    <a:pt x="1367000" y="9232691"/>
                    <a:pt x="1371011" y="9236703"/>
                    <a:pt x="1371011" y="9241652"/>
                  </a:cubicBezTo>
                  <a:cubicBezTo>
                    <a:pt x="1371011" y="9246600"/>
                    <a:pt x="1367000" y="9250612"/>
                    <a:pt x="1362051" y="9250612"/>
                  </a:cubicBezTo>
                  <a:cubicBezTo>
                    <a:pt x="1357102" y="9250612"/>
                    <a:pt x="1353090" y="9246600"/>
                    <a:pt x="1353090" y="9241652"/>
                  </a:cubicBezTo>
                  <a:cubicBezTo>
                    <a:pt x="1353090" y="9236703"/>
                    <a:pt x="1357102" y="9232691"/>
                    <a:pt x="1362051" y="9232691"/>
                  </a:cubicBezTo>
                  <a:close/>
                  <a:moveTo>
                    <a:pt x="1193310" y="9232691"/>
                  </a:moveTo>
                  <a:cubicBezTo>
                    <a:pt x="1198259" y="9232691"/>
                    <a:pt x="1202270" y="9236703"/>
                    <a:pt x="1202270" y="9241652"/>
                  </a:cubicBezTo>
                  <a:cubicBezTo>
                    <a:pt x="1202270" y="9246600"/>
                    <a:pt x="1198259" y="9250612"/>
                    <a:pt x="1193310" y="9250612"/>
                  </a:cubicBezTo>
                  <a:cubicBezTo>
                    <a:pt x="1188361" y="9250612"/>
                    <a:pt x="1184350" y="9246600"/>
                    <a:pt x="1184350" y="9241652"/>
                  </a:cubicBezTo>
                  <a:cubicBezTo>
                    <a:pt x="1184350" y="9236703"/>
                    <a:pt x="1188361" y="9232691"/>
                    <a:pt x="1193310" y="9232691"/>
                  </a:cubicBezTo>
                  <a:close/>
                  <a:moveTo>
                    <a:pt x="1024568" y="9232691"/>
                  </a:moveTo>
                  <a:cubicBezTo>
                    <a:pt x="1029518" y="9232691"/>
                    <a:pt x="1033530" y="9236703"/>
                    <a:pt x="1033530" y="9241652"/>
                  </a:cubicBezTo>
                  <a:cubicBezTo>
                    <a:pt x="1033530" y="9246600"/>
                    <a:pt x="1029518" y="9250612"/>
                    <a:pt x="1024568" y="9250612"/>
                  </a:cubicBezTo>
                  <a:cubicBezTo>
                    <a:pt x="1019621" y="9250612"/>
                    <a:pt x="1015608" y="9246600"/>
                    <a:pt x="1015608" y="9241652"/>
                  </a:cubicBezTo>
                  <a:cubicBezTo>
                    <a:pt x="1015608" y="9236703"/>
                    <a:pt x="1019621" y="9232691"/>
                    <a:pt x="1024568" y="9232691"/>
                  </a:cubicBezTo>
                  <a:close/>
                  <a:moveTo>
                    <a:pt x="855827" y="9232691"/>
                  </a:moveTo>
                  <a:cubicBezTo>
                    <a:pt x="860776" y="9232691"/>
                    <a:pt x="864788" y="9236703"/>
                    <a:pt x="864788" y="9241652"/>
                  </a:cubicBezTo>
                  <a:cubicBezTo>
                    <a:pt x="864788" y="9246600"/>
                    <a:pt x="860776" y="9250612"/>
                    <a:pt x="855827" y="9250612"/>
                  </a:cubicBezTo>
                  <a:cubicBezTo>
                    <a:pt x="850878" y="9250612"/>
                    <a:pt x="846867" y="9246600"/>
                    <a:pt x="846867" y="9241652"/>
                  </a:cubicBezTo>
                  <a:cubicBezTo>
                    <a:pt x="846867" y="9236703"/>
                    <a:pt x="850878" y="9232691"/>
                    <a:pt x="855827" y="9232691"/>
                  </a:cubicBezTo>
                  <a:close/>
                  <a:moveTo>
                    <a:pt x="687085" y="9232691"/>
                  </a:moveTo>
                  <a:cubicBezTo>
                    <a:pt x="692034" y="9232691"/>
                    <a:pt x="696046" y="9236703"/>
                    <a:pt x="696046" y="9241652"/>
                  </a:cubicBezTo>
                  <a:cubicBezTo>
                    <a:pt x="696046" y="9246600"/>
                    <a:pt x="692034" y="9250612"/>
                    <a:pt x="687085" y="9250612"/>
                  </a:cubicBezTo>
                  <a:cubicBezTo>
                    <a:pt x="682137" y="9250612"/>
                    <a:pt x="678125" y="9246600"/>
                    <a:pt x="678125" y="9241652"/>
                  </a:cubicBezTo>
                  <a:cubicBezTo>
                    <a:pt x="678125" y="9236703"/>
                    <a:pt x="682137" y="9232691"/>
                    <a:pt x="687085" y="9232691"/>
                  </a:cubicBezTo>
                  <a:close/>
                  <a:moveTo>
                    <a:pt x="518343" y="9232691"/>
                  </a:moveTo>
                  <a:cubicBezTo>
                    <a:pt x="523292" y="9232691"/>
                    <a:pt x="527303" y="9236703"/>
                    <a:pt x="527303" y="9241652"/>
                  </a:cubicBezTo>
                  <a:cubicBezTo>
                    <a:pt x="527303" y="9246600"/>
                    <a:pt x="523292" y="9250612"/>
                    <a:pt x="518343" y="9250612"/>
                  </a:cubicBezTo>
                  <a:cubicBezTo>
                    <a:pt x="513394" y="9250612"/>
                    <a:pt x="509382" y="9246600"/>
                    <a:pt x="509382" y="9241652"/>
                  </a:cubicBezTo>
                  <a:cubicBezTo>
                    <a:pt x="509382" y="9236703"/>
                    <a:pt x="513394" y="9232691"/>
                    <a:pt x="518343" y="9232691"/>
                  </a:cubicBezTo>
                  <a:close/>
                  <a:moveTo>
                    <a:pt x="349602" y="9232691"/>
                  </a:moveTo>
                  <a:cubicBezTo>
                    <a:pt x="354551" y="9232691"/>
                    <a:pt x="358563" y="9236703"/>
                    <a:pt x="358563" y="9241652"/>
                  </a:cubicBezTo>
                  <a:cubicBezTo>
                    <a:pt x="358563" y="9246600"/>
                    <a:pt x="354551" y="9250612"/>
                    <a:pt x="349602" y="9250612"/>
                  </a:cubicBezTo>
                  <a:cubicBezTo>
                    <a:pt x="344654" y="9250612"/>
                    <a:pt x="340642" y="9246600"/>
                    <a:pt x="340642" y="9241652"/>
                  </a:cubicBezTo>
                  <a:cubicBezTo>
                    <a:pt x="340642" y="9236703"/>
                    <a:pt x="344654" y="9232691"/>
                    <a:pt x="349602" y="9232691"/>
                  </a:cubicBezTo>
                  <a:close/>
                  <a:moveTo>
                    <a:pt x="179281" y="9232691"/>
                  </a:moveTo>
                  <a:cubicBezTo>
                    <a:pt x="184230" y="9232691"/>
                    <a:pt x="188242" y="9236703"/>
                    <a:pt x="188242" y="9241652"/>
                  </a:cubicBezTo>
                  <a:cubicBezTo>
                    <a:pt x="188242" y="9246600"/>
                    <a:pt x="184230" y="9250612"/>
                    <a:pt x="179281" y="9250612"/>
                  </a:cubicBezTo>
                  <a:cubicBezTo>
                    <a:pt x="174333" y="9250612"/>
                    <a:pt x="170321" y="9246600"/>
                    <a:pt x="170321" y="9241652"/>
                  </a:cubicBezTo>
                  <a:cubicBezTo>
                    <a:pt x="170321" y="9236703"/>
                    <a:pt x="174333" y="9232691"/>
                    <a:pt x="179281" y="9232691"/>
                  </a:cubicBezTo>
                  <a:close/>
                  <a:moveTo>
                    <a:pt x="8960" y="9232691"/>
                  </a:moveTo>
                  <a:cubicBezTo>
                    <a:pt x="13909" y="9232691"/>
                    <a:pt x="17921" y="9236703"/>
                    <a:pt x="17921" y="9241652"/>
                  </a:cubicBezTo>
                  <a:cubicBezTo>
                    <a:pt x="17921" y="9246600"/>
                    <a:pt x="13909" y="9250612"/>
                    <a:pt x="8960" y="9250612"/>
                  </a:cubicBezTo>
                  <a:cubicBezTo>
                    <a:pt x="4012" y="9250612"/>
                    <a:pt x="0" y="9246600"/>
                    <a:pt x="0" y="9241652"/>
                  </a:cubicBezTo>
                  <a:cubicBezTo>
                    <a:pt x="0" y="9236703"/>
                    <a:pt x="4012" y="9232691"/>
                    <a:pt x="8960" y="9232691"/>
                  </a:cubicBezTo>
                  <a:close/>
                  <a:moveTo>
                    <a:pt x="6933679" y="9061709"/>
                  </a:moveTo>
                  <a:cubicBezTo>
                    <a:pt x="6938628" y="9061709"/>
                    <a:pt x="6942639" y="9065721"/>
                    <a:pt x="6942639" y="9070670"/>
                  </a:cubicBezTo>
                  <a:cubicBezTo>
                    <a:pt x="6942639" y="9075618"/>
                    <a:pt x="6938628" y="9079630"/>
                    <a:pt x="6933679" y="9079630"/>
                  </a:cubicBezTo>
                  <a:cubicBezTo>
                    <a:pt x="6928730" y="9079630"/>
                    <a:pt x="6924718" y="9075618"/>
                    <a:pt x="6924718" y="9070670"/>
                  </a:cubicBezTo>
                  <a:cubicBezTo>
                    <a:pt x="6924718" y="9065721"/>
                    <a:pt x="6928730" y="9061709"/>
                    <a:pt x="6933679" y="9061709"/>
                  </a:cubicBezTo>
                  <a:close/>
                  <a:moveTo>
                    <a:pt x="6763357" y="9061709"/>
                  </a:moveTo>
                  <a:cubicBezTo>
                    <a:pt x="6768306" y="9061709"/>
                    <a:pt x="6772318" y="9065721"/>
                    <a:pt x="6772318" y="9070670"/>
                  </a:cubicBezTo>
                  <a:cubicBezTo>
                    <a:pt x="6772318" y="9075618"/>
                    <a:pt x="6768306" y="9079630"/>
                    <a:pt x="6763357" y="9079630"/>
                  </a:cubicBezTo>
                  <a:cubicBezTo>
                    <a:pt x="6758408" y="9079630"/>
                    <a:pt x="6754397" y="9075618"/>
                    <a:pt x="6754397" y="9070670"/>
                  </a:cubicBezTo>
                  <a:cubicBezTo>
                    <a:pt x="6754397" y="9065721"/>
                    <a:pt x="6758408" y="9061709"/>
                    <a:pt x="6763357" y="9061709"/>
                  </a:cubicBezTo>
                  <a:close/>
                  <a:moveTo>
                    <a:pt x="6593035" y="9061709"/>
                  </a:moveTo>
                  <a:cubicBezTo>
                    <a:pt x="6597984" y="9061709"/>
                    <a:pt x="6601996" y="9065721"/>
                    <a:pt x="6601996" y="9070670"/>
                  </a:cubicBezTo>
                  <a:cubicBezTo>
                    <a:pt x="6601996" y="9075618"/>
                    <a:pt x="6597984" y="9079630"/>
                    <a:pt x="6593035" y="9079630"/>
                  </a:cubicBezTo>
                  <a:cubicBezTo>
                    <a:pt x="6588086" y="9079630"/>
                    <a:pt x="6584075" y="9075618"/>
                    <a:pt x="6584075" y="9070670"/>
                  </a:cubicBezTo>
                  <a:cubicBezTo>
                    <a:pt x="6584075" y="9065721"/>
                    <a:pt x="6588086" y="9061709"/>
                    <a:pt x="6593035" y="9061709"/>
                  </a:cubicBezTo>
                  <a:close/>
                  <a:moveTo>
                    <a:pt x="6424294" y="9061709"/>
                  </a:moveTo>
                  <a:cubicBezTo>
                    <a:pt x="6429243" y="9061709"/>
                    <a:pt x="6433255" y="9065721"/>
                    <a:pt x="6433255" y="9070670"/>
                  </a:cubicBezTo>
                  <a:cubicBezTo>
                    <a:pt x="6433255" y="9075618"/>
                    <a:pt x="6429243" y="9079630"/>
                    <a:pt x="6424294" y="9079630"/>
                  </a:cubicBezTo>
                  <a:cubicBezTo>
                    <a:pt x="6419345" y="9079630"/>
                    <a:pt x="6415334" y="9075618"/>
                    <a:pt x="6415334" y="9070670"/>
                  </a:cubicBezTo>
                  <a:cubicBezTo>
                    <a:pt x="6415334" y="9065721"/>
                    <a:pt x="6419345" y="9061709"/>
                    <a:pt x="6424294" y="9061709"/>
                  </a:cubicBezTo>
                  <a:close/>
                  <a:moveTo>
                    <a:pt x="6255553" y="9061709"/>
                  </a:moveTo>
                  <a:cubicBezTo>
                    <a:pt x="6260502" y="9061709"/>
                    <a:pt x="6264514" y="9065721"/>
                    <a:pt x="6264514" y="9070670"/>
                  </a:cubicBezTo>
                  <a:cubicBezTo>
                    <a:pt x="6264514" y="9075618"/>
                    <a:pt x="6260502" y="9079630"/>
                    <a:pt x="6255553" y="9079630"/>
                  </a:cubicBezTo>
                  <a:cubicBezTo>
                    <a:pt x="6250604" y="9079630"/>
                    <a:pt x="6246593" y="9075618"/>
                    <a:pt x="6246593" y="9070670"/>
                  </a:cubicBezTo>
                  <a:cubicBezTo>
                    <a:pt x="6246593" y="9065721"/>
                    <a:pt x="6250604" y="9061709"/>
                    <a:pt x="6255553" y="9061709"/>
                  </a:cubicBezTo>
                  <a:close/>
                  <a:moveTo>
                    <a:pt x="6086811" y="9061709"/>
                  </a:moveTo>
                  <a:cubicBezTo>
                    <a:pt x="6091760" y="9061709"/>
                    <a:pt x="6095772" y="9065721"/>
                    <a:pt x="6095772" y="9070670"/>
                  </a:cubicBezTo>
                  <a:cubicBezTo>
                    <a:pt x="6095772" y="9075618"/>
                    <a:pt x="6091760" y="9079630"/>
                    <a:pt x="6086811" y="9079630"/>
                  </a:cubicBezTo>
                  <a:cubicBezTo>
                    <a:pt x="6081862" y="9079630"/>
                    <a:pt x="6077851" y="9075618"/>
                    <a:pt x="6077851" y="9070670"/>
                  </a:cubicBezTo>
                  <a:cubicBezTo>
                    <a:pt x="6077851" y="9065721"/>
                    <a:pt x="6081862" y="9061709"/>
                    <a:pt x="6086811" y="9061709"/>
                  </a:cubicBezTo>
                  <a:close/>
                  <a:moveTo>
                    <a:pt x="5918069" y="9061709"/>
                  </a:moveTo>
                  <a:cubicBezTo>
                    <a:pt x="5923018" y="9061709"/>
                    <a:pt x="5927030" y="9065721"/>
                    <a:pt x="5927030" y="9070670"/>
                  </a:cubicBezTo>
                  <a:cubicBezTo>
                    <a:pt x="5927030" y="9075618"/>
                    <a:pt x="5923018" y="9079630"/>
                    <a:pt x="5918069" y="9079630"/>
                  </a:cubicBezTo>
                  <a:cubicBezTo>
                    <a:pt x="5913120" y="9079630"/>
                    <a:pt x="5909109" y="9075618"/>
                    <a:pt x="5909109" y="9070670"/>
                  </a:cubicBezTo>
                  <a:cubicBezTo>
                    <a:pt x="5909109" y="9065721"/>
                    <a:pt x="5913120" y="9061709"/>
                    <a:pt x="5918069" y="9061709"/>
                  </a:cubicBezTo>
                  <a:close/>
                  <a:moveTo>
                    <a:pt x="5749328" y="9061709"/>
                  </a:moveTo>
                  <a:cubicBezTo>
                    <a:pt x="5754277" y="9061709"/>
                    <a:pt x="5758289" y="9065721"/>
                    <a:pt x="5758289" y="9070670"/>
                  </a:cubicBezTo>
                  <a:cubicBezTo>
                    <a:pt x="5758289" y="9075618"/>
                    <a:pt x="5754277" y="9079630"/>
                    <a:pt x="5749328" y="9079630"/>
                  </a:cubicBezTo>
                  <a:cubicBezTo>
                    <a:pt x="5744379" y="9079630"/>
                    <a:pt x="5740368" y="9075618"/>
                    <a:pt x="5740368" y="9070670"/>
                  </a:cubicBezTo>
                  <a:cubicBezTo>
                    <a:pt x="5740368" y="9065721"/>
                    <a:pt x="5744379" y="9061709"/>
                    <a:pt x="5749328" y="9061709"/>
                  </a:cubicBezTo>
                  <a:close/>
                  <a:moveTo>
                    <a:pt x="5580586" y="9061709"/>
                  </a:moveTo>
                  <a:cubicBezTo>
                    <a:pt x="5585535" y="9061709"/>
                    <a:pt x="5589547" y="9065721"/>
                    <a:pt x="5589547" y="9070670"/>
                  </a:cubicBezTo>
                  <a:cubicBezTo>
                    <a:pt x="5589547" y="9075618"/>
                    <a:pt x="5585535" y="9079630"/>
                    <a:pt x="5580586" y="9079630"/>
                  </a:cubicBezTo>
                  <a:cubicBezTo>
                    <a:pt x="5575637" y="9079630"/>
                    <a:pt x="5571626" y="9075618"/>
                    <a:pt x="5571626" y="9070670"/>
                  </a:cubicBezTo>
                  <a:cubicBezTo>
                    <a:pt x="5571626" y="9065721"/>
                    <a:pt x="5575637" y="9061709"/>
                    <a:pt x="5580586" y="9061709"/>
                  </a:cubicBezTo>
                  <a:close/>
                  <a:moveTo>
                    <a:pt x="5411845" y="9061709"/>
                  </a:moveTo>
                  <a:cubicBezTo>
                    <a:pt x="5416794" y="9061709"/>
                    <a:pt x="5420806" y="9065721"/>
                    <a:pt x="5420806" y="9070670"/>
                  </a:cubicBezTo>
                  <a:cubicBezTo>
                    <a:pt x="5420806" y="9075618"/>
                    <a:pt x="5416794" y="9079630"/>
                    <a:pt x="5411845" y="9079630"/>
                  </a:cubicBezTo>
                  <a:cubicBezTo>
                    <a:pt x="5406896" y="9079630"/>
                    <a:pt x="5402885" y="9075618"/>
                    <a:pt x="5402885" y="9070670"/>
                  </a:cubicBezTo>
                  <a:cubicBezTo>
                    <a:pt x="5402885" y="9065721"/>
                    <a:pt x="5406896" y="9061709"/>
                    <a:pt x="5411845" y="9061709"/>
                  </a:cubicBezTo>
                  <a:close/>
                  <a:moveTo>
                    <a:pt x="5243103" y="9061709"/>
                  </a:moveTo>
                  <a:cubicBezTo>
                    <a:pt x="5248052" y="9061709"/>
                    <a:pt x="5252064" y="9065721"/>
                    <a:pt x="5252064" y="9070670"/>
                  </a:cubicBezTo>
                  <a:cubicBezTo>
                    <a:pt x="5252064" y="9075618"/>
                    <a:pt x="5248052" y="9079630"/>
                    <a:pt x="5243103" y="9079630"/>
                  </a:cubicBezTo>
                  <a:cubicBezTo>
                    <a:pt x="5238154" y="9079630"/>
                    <a:pt x="5234143" y="9075618"/>
                    <a:pt x="5234143" y="9070670"/>
                  </a:cubicBezTo>
                  <a:cubicBezTo>
                    <a:pt x="5234143" y="9065721"/>
                    <a:pt x="5238154" y="9061709"/>
                    <a:pt x="5243103" y="9061709"/>
                  </a:cubicBezTo>
                  <a:close/>
                  <a:moveTo>
                    <a:pt x="5074362" y="9061709"/>
                  </a:moveTo>
                  <a:cubicBezTo>
                    <a:pt x="5079311" y="9061709"/>
                    <a:pt x="5083323" y="9065721"/>
                    <a:pt x="5083323" y="9070670"/>
                  </a:cubicBezTo>
                  <a:cubicBezTo>
                    <a:pt x="5083323" y="9075618"/>
                    <a:pt x="5079311" y="9079630"/>
                    <a:pt x="5074362" y="9079630"/>
                  </a:cubicBezTo>
                  <a:cubicBezTo>
                    <a:pt x="5069413" y="9079630"/>
                    <a:pt x="5065402" y="9075618"/>
                    <a:pt x="5065402" y="9070670"/>
                  </a:cubicBezTo>
                  <a:cubicBezTo>
                    <a:pt x="5065402" y="9065721"/>
                    <a:pt x="5069413" y="9061709"/>
                    <a:pt x="5074362" y="9061709"/>
                  </a:cubicBezTo>
                  <a:close/>
                  <a:moveTo>
                    <a:pt x="4905620" y="9061709"/>
                  </a:moveTo>
                  <a:cubicBezTo>
                    <a:pt x="4910569" y="9061709"/>
                    <a:pt x="4914581" y="9065721"/>
                    <a:pt x="4914581" y="9070670"/>
                  </a:cubicBezTo>
                  <a:cubicBezTo>
                    <a:pt x="4914581" y="9075618"/>
                    <a:pt x="4910569" y="9079630"/>
                    <a:pt x="4905620" y="9079630"/>
                  </a:cubicBezTo>
                  <a:cubicBezTo>
                    <a:pt x="4900671" y="9079630"/>
                    <a:pt x="4896660" y="9075618"/>
                    <a:pt x="4896660" y="9070670"/>
                  </a:cubicBezTo>
                  <a:cubicBezTo>
                    <a:pt x="4896660" y="9065721"/>
                    <a:pt x="4900671" y="9061709"/>
                    <a:pt x="4905620" y="9061709"/>
                  </a:cubicBezTo>
                  <a:close/>
                  <a:moveTo>
                    <a:pt x="4736878" y="9061709"/>
                  </a:moveTo>
                  <a:cubicBezTo>
                    <a:pt x="4741827" y="9061709"/>
                    <a:pt x="4745839" y="9065721"/>
                    <a:pt x="4745839" y="9070670"/>
                  </a:cubicBezTo>
                  <a:cubicBezTo>
                    <a:pt x="4745839" y="9075618"/>
                    <a:pt x="4741827" y="9079630"/>
                    <a:pt x="4736878" y="9079630"/>
                  </a:cubicBezTo>
                  <a:cubicBezTo>
                    <a:pt x="4731929" y="9079630"/>
                    <a:pt x="4727918" y="9075618"/>
                    <a:pt x="4727918" y="9070670"/>
                  </a:cubicBezTo>
                  <a:cubicBezTo>
                    <a:pt x="4727918" y="9065721"/>
                    <a:pt x="4731929" y="9061709"/>
                    <a:pt x="4736878" y="9061709"/>
                  </a:cubicBezTo>
                  <a:close/>
                  <a:moveTo>
                    <a:pt x="4568137" y="9061709"/>
                  </a:moveTo>
                  <a:cubicBezTo>
                    <a:pt x="4573086" y="9061709"/>
                    <a:pt x="4577098" y="9065721"/>
                    <a:pt x="4577098" y="9070670"/>
                  </a:cubicBezTo>
                  <a:cubicBezTo>
                    <a:pt x="4577098" y="9075618"/>
                    <a:pt x="4573086" y="9079630"/>
                    <a:pt x="4568137" y="9079630"/>
                  </a:cubicBezTo>
                  <a:cubicBezTo>
                    <a:pt x="4563188" y="9079630"/>
                    <a:pt x="4559177" y="9075618"/>
                    <a:pt x="4559177" y="9070670"/>
                  </a:cubicBezTo>
                  <a:cubicBezTo>
                    <a:pt x="4559177" y="9065721"/>
                    <a:pt x="4563188" y="9061709"/>
                    <a:pt x="4568137" y="9061709"/>
                  </a:cubicBezTo>
                  <a:close/>
                  <a:moveTo>
                    <a:pt x="4399396" y="9061709"/>
                  </a:moveTo>
                  <a:cubicBezTo>
                    <a:pt x="4404345" y="9061709"/>
                    <a:pt x="4408357" y="9065721"/>
                    <a:pt x="4408357" y="9070670"/>
                  </a:cubicBezTo>
                  <a:cubicBezTo>
                    <a:pt x="4408357" y="9075618"/>
                    <a:pt x="4404345" y="9079630"/>
                    <a:pt x="4399396" y="9079630"/>
                  </a:cubicBezTo>
                  <a:cubicBezTo>
                    <a:pt x="4394447" y="9079630"/>
                    <a:pt x="4390436" y="9075618"/>
                    <a:pt x="4390436" y="9070670"/>
                  </a:cubicBezTo>
                  <a:cubicBezTo>
                    <a:pt x="4390436" y="9065721"/>
                    <a:pt x="4394447" y="9061709"/>
                    <a:pt x="4399396" y="9061709"/>
                  </a:cubicBezTo>
                  <a:close/>
                  <a:moveTo>
                    <a:pt x="4230654" y="9061709"/>
                  </a:moveTo>
                  <a:cubicBezTo>
                    <a:pt x="4235603" y="9061709"/>
                    <a:pt x="4239615" y="9065721"/>
                    <a:pt x="4239615" y="9070670"/>
                  </a:cubicBezTo>
                  <a:cubicBezTo>
                    <a:pt x="4239615" y="9075618"/>
                    <a:pt x="4235603" y="9079630"/>
                    <a:pt x="4230654" y="9079630"/>
                  </a:cubicBezTo>
                  <a:cubicBezTo>
                    <a:pt x="4225705" y="9079630"/>
                    <a:pt x="4221694" y="9075618"/>
                    <a:pt x="4221694" y="9070670"/>
                  </a:cubicBezTo>
                  <a:cubicBezTo>
                    <a:pt x="4221694" y="9065721"/>
                    <a:pt x="4225705" y="9061709"/>
                    <a:pt x="4230654" y="9061709"/>
                  </a:cubicBezTo>
                  <a:close/>
                  <a:moveTo>
                    <a:pt x="4061912" y="9061709"/>
                  </a:moveTo>
                  <a:cubicBezTo>
                    <a:pt x="4066861" y="9061709"/>
                    <a:pt x="4070873" y="9065721"/>
                    <a:pt x="4070873" y="9070670"/>
                  </a:cubicBezTo>
                  <a:cubicBezTo>
                    <a:pt x="4070873" y="9075618"/>
                    <a:pt x="4066861" y="9079630"/>
                    <a:pt x="4061912" y="9079630"/>
                  </a:cubicBezTo>
                  <a:cubicBezTo>
                    <a:pt x="4056963" y="9079630"/>
                    <a:pt x="4052952" y="9075618"/>
                    <a:pt x="4052952" y="9070670"/>
                  </a:cubicBezTo>
                  <a:cubicBezTo>
                    <a:pt x="4052952" y="9065721"/>
                    <a:pt x="4056963" y="9061709"/>
                    <a:pt x="4061912" y="9061709"/>
                  </a:cubicBezTo>
                  <a:close/>
                  <a:moveTo>
                    <a:pt x="3893170" y="9061709"/>
                  </a:moveTo>
                  <a:cubicBezTo>
                    <a:pt x="3898119" y="9061709"/>
                    <a:pt x="3902131" y="9065721"/>
                    <a:pt x="3902131" y="9070670"/>
                  </a:cubicBezTo>
                  <a:cubicBezTo>
                    <a:pt x="3902131" y="9075618"/>
                    <a:pt x="3898119" y="9079630"/>
                    <a:pt x="3893170" y="9079630"/>
                  </a:cubicBezTo>
                  <a:cubicBezTo>
                    <a:pt x="3888221" y="9079630"/>
                    <a:pt x="3884210" y="9075618"/>
                    <a:pt x="3884210" y="9070670"/>
                  </a:cubicBezTo>
                  <a:cubicBezTo>
                    <a:pt x="3884210" y="9065721"/>
                    <a:pt x="3888221" y="9061709"/>
                    <a:pt x="3893170" y="9061709"/>
                  </a:cubicBezTo>
                  <a:close/>
                  <a:moveTo>
                    <a:pt x="3724429" y="9061709"/>
                  </a:moveTo>
                  <a:cubicBezTo>
                    <a:pt x="3729378" y="9061709"/>
                    <a:pt x="3733390" y="9065721"/>
                    <a:pt x="3733390" y="9070670"/>
                  </a:cubicBezTo>
                  <a:cubicBezTo>
                    <a:pt x="3733390" y="9075618"/>
                    <a:pt x="3729378" y="9079630"/>
                    <a:pt x="3724429" y="9079630"/>
                  </a:cubicBezTo>
                  <a:cubicBezTo>
                    <a:pt x="3719481" y="9079630"/>
                    <a:pt x="3715469" y="9075618"/>
                    <a:pt x="3715469" y="9070670"/>
                  </a:cubicBezTo>
                  <a:cubicBezTo>
                    <a:pt x="3715469" y="9065721"/>
                    <a:pt x="3719481" y="9061709"/>
                    <a:pt x="3724429" y="9061709"/>
                  </a:cubicBezTo>
                  <a:close/>
                  <a:moveTo>
                    <a:pt x="3555688" y="9061709"/>
                  </a:moveTo>
                  <a:cubicBezTo>
                    <a:pt x="3560637" y="9061709"/>
                    <a:pt x="3564649" y="9065721"/>
                    <a:pt x="3564649" y="9070670"/>
                  </a:cubicBezTo>
                  <a:cubicBezTo>
                    <a:pt x="3564649" y="9075618"/>
                    <a:pt x="3560637" y="9079630"/>
                    <a:pt x="3555688" y="9079630"/>
                  </a:cubicBezTo>
                  <a:cubicBezTo>
                    <a:pt x="3550740" y="9079630"/>
                    <a:pt x="3546728" y="9075618"/>
                    <a:pt x="3546728" y="9070670"/>
                  </a:cubicBezTo>
                  <a:cubicBezTo>
                    <a:pt x="3546728" y="9065721"/>
                    <a:pt x="3550740" y="9061709"/>
                    <a:pt x="3555688" y="9061709"/>
                  </a:cubicBezTo>
                  <a:close/>
                  <a:moveTo>
                    <a:pt x="3386951" y="9061709"/>
                  </a:moveTo>
                  <a:cubicBezTo>
                    <a:pt x="3391899" y="9061709"/>
                    <a:pt x="3395912" y="9065721"/>
                    <a:pt x="3395912" y="9070670"/>
                  </a:cubicBezTo>
                  <a:cubicBezTo>
                    <a:pt x="3395912" y="9075618"/>
                    <a:pt x="3391899" y="9079630"/>
                    <a:pt x="3386951" y="9079630"/>
                  </a:cubicBezTo>
                  <a:cubicBezTo>
                    <a:pt x="3382001" y="9079630"/>
                    <a:pt x="3377988" y="9075618"/>
                    <a:pt x="3377988" y="9070670"/>
                  </a:cubicBezTo>
                  <a:cubicBezTo>
                    <a:pt x="3377988" y="9065721"/>
                    <a:pt x="3382001" y="9061709"/>
                    <a:pt x="3386951" y="9061709"/>
                  </a:cubicBezTo>
                  <a:close/>
                  <a:moveTo>
                    <a:pt x="3218209" y="9061709"/>
                  </a:moveTo>
                  <a:cubicBezTo>
                    <a:pt x="3223156" y="9061709"/>
                    <a:pt x="3227168" y="9065721"/>
                    <a:pt x="3227168" y="9070670"/>
                  </a:cubicBezTo>
                  <a:cubicBezTo>
                    <a:pt x="3227168" y="9075618"/>
                    <a:pt x="3223156" y="9079630"/>
                    <a:pt x="3218209" y="9079630"/>
                  </a:cubicBezTo>
                  <a:cubicBezTo>
                    <a:pt x="3213259" y="9079630"/>
                    <a:pt x="3209249" y="9075618"/>
                    <a:pt x="3209249" y="9070670"/>
                  </a:cubicBezTo>
                  <a:cubicBezTo>
                    <a:pt x="3209249" y="9065721"/>
                    <a:pt x="3213259" y="9061709"/>
                    <a:pt x="3218209" y="9061709"/>
                  </a:cubicBezTo>
                  <a:close/>
                  <a:moveTo>
                    <a:pt x="3049470" y="9061709"/>
                  </a:moveTo>
                  <a:cubicBezTo>
                    <a:pt x="3054417" y="9061709"/>
                    <a:pt x="3058430" y="9065721"/>
                    <a:pt x="3058430" y="9070670"/>
                  </a:cubicBezTo>
                  <a:cubicBezTo>
                    <a:pt x="3058430" y="9075618"/>
                    <a:pt x="3054417" y="9079630"/>
                    <a:pt x="3049470" y="9079630"/>
                  </a:cubicBezTo>
                  <a:cubicBezTo>
                    <a:pt x="3044520" y="9079630"/>
                    <a:pt x="3040508" y="9075618"/>
                    <a:pt x="3040508" y="9070670"/>
                  </a:cubicBezTo>
                  <a:cubicBezTo>
                    <a:pt x="3040508" y="9065721"/>
                    <a:pt x="3044520" y="9061709"/>
                    <a:pt x="3049470" y="9061709"/>
                  </a:cubicBezTo>
                  <a:close/>
                  <a:moveTo>
                    <a:pt x="2880728" y="9061709"/>
                  </a:moveTo>
                  <a:cubicBezTo>
                    <a:pt x="2885677" y="9061709"/>
                    <a:pt x="2889689" y="9065721"/>
                    <a:pt x="2889689" y="9070670"/>
                  </a:cubicBezTo>
                  <a:cubicBezTo>
                    <a:pt x="2889689" y="9075618"/>
                    <a:pt x="2885677" y="9079630"/>
                    <a:pt x="2880728" y="9079630"/>
                  </a:cubicBezTo>
                  <a:cubicBezTo>
                    <a:pt x="2875779" y="9079630"/>
                    <a:pt x="2871768" y="9075618"/>
                    <a:pt x="2871768" y="9070670"/>
                  </a:cubicBezTo>
                  <a:cubicBezTo>
                    <a:pt x="2871768" y="9065721"/>
                    <a:pt x="2875779" y="9061709"/>
                    <a:pt x="2880728" y="9061709"/>
                  </a:cubicBezTo>
                  <a:close/>
                  <a:moveTo>
                    <a:pt x="2711986" y="9061709"/>
                  </a:moveTo>
                  <a:cubicBezTo>
                    <a:pt x="2716934" y="9061709"/>
                    <a:pt x="2720947" y="9065721"/>
                    <a:pt x="2720947" y="9070670"/>
                  </a:cubicBezTo>
                  <a:cubicBezTo>
                    <a:pt x="2720947" y="9075618"/>
                    <a:pt x="2716934" y="9079630"/>
                    <a:pt x="2711986" y="9079630"/>
                  </a:cubicBezTo>
                  <a:cubicBezTo>
                    <a:pt x="2707038" y="9079630"/>
                    <a:pt x="2703027" y="9075618"/>
                    <a:pt x="2703027" y="9070670"/>
                  </a:cubicBezTo>
                  <a:cubicBezTo>
                    <a:pt x="2703027" y="9065721"/>
                    <a:pt x="2707038" y="9061709"/>
                    <a:pt x="2711986" y="9061709"/>
                  </a:cubicBezTo>
                  <a:close/>
                  <a:moveTo>
                    <a:pt x="2543245" y="9061709"/>
                  </a:moveTo>
                  <a:cubicBezTo>
                    <a:pt x="2548196" y="9061709"/>
                    <a:pt x="2552206" y="9065721"/>
                    <a:pt x="2552206" y="9070670"/>
                  </a:cubicBezTo>
                  <a:cubicBezTo>
                    <a:pt x="2552206" y="9075618"/>
                    <a:pt x="2548196" y="9079630"/>
                    <a:pt x="2543245" y="9079630"/>
                  </a:cubicBezTo>
                  <a:cubicBezTo>
                    <a:pt x="2538297" y="9079630"/>
                    <a:pt x="2534286" y="9075618"/>
                    <a:pt x="2534286" y="9070670"/>
                  </a:cubicBezTo>
                  <a:cubicBezTo>
                    <a:pt x="2534286" y="9065721"/>
                    <a:pt x="2538297" y="9061709"/>
                    <a:pt x="2543245" y="9061709"/>
                  </a:cubicBezTo>
                  <a:close/>
                  <a:moveTo>
                    <a:pt x="2374503" y="9061709"/>
                  </a:moveTo>
                  <a:cubicBezTo>
                    <a:pt x="2379453" y="9061709"/>
                    <a:pt x="2383465" y="9065721"/>
                    <a:pt x="2383465" y="9070670"/>
                  </a:cubicBezTo>
                  <a:cubicBezTo>
                    <a:pt x="2383465" y="9075618"/>
                    <a:pt x="2379453" y="9079630"/>
                    <a:pt x="2374503" y="9079630"/>
                  </a:cubicBezTo>
                  <a:cubicBezTo>
                    <a:pt x="2369555" y="9079630"/>
                    <a:pt x="2365542" y="9075618"/>
                    <a:pt x="2365542" y="9070670"/>
                  </a:cubicBezTo>
                  <a:cubicBezTo>
                    <a:pt x="2365542" y="9065721"/>
                    <a:pt x="2369555" y="9061709"/>
                    <a:pt x="2374503" y="9061709"/>
                  </a:cubicBezTo>
                  <a:close/>
                  <a:moveTo>
                    <a:pt x="2205762" y="9061709"/>
                  </a:moveTo>
                  <a:cubicBezTo>
                    <a:pt x="2210711" y="9061709"/>
                    <a:pt x="2214723" y="9065721"/>
                    <a:pt x="2214723" y="9070670"/>
                  </a:cubicBezTo>
                  <a:cubicBezTo>
                    <a:pt x="2214723" y="9075618"/>
                    <a:pt x="2210711" y="9079630"/>
                    <a:pt x="2205762" y="9079630"/>
                  </a:cubicBezTo>
                  <a:cubicBezTo>
                    <a:pt x="2200814" y="9079630"/>
                    <a:pt x="2196803" y="9075618"/>
                    <a:pt x="2196803" y="9070670"/>
                  </a:cubicBezTo>
                  <a:cubicBezTo>
                    <a:pt x="2196803" y="9065721"/>
                    <a:pt x="2200814" y="9061709"/>
                    <a:pt x="2205762" y="9061709"/>
                  </a:cubicBezTo>
                  <a:close/>
                  <a:moveTo>
                    <a:pt x="2037023" y="9061709"/>
                  </a:moveTo>
                  <a:cubicBezTo>
                    <a:pt x="2041970" y="9061709"/>
                    <a:pt x="2045982" y="9065721"/>
                    <a:pt x="2045982" y="9070670"/>
                  </a:cubicBezTo>
                  <a:cubicBezTo>
                    <a:pt x="2045982" y="9075618"/>
                    <a:pt x="2041970" y="9079630"/>
                    <a:pt x="2037023" y="9079630"/>
                  </a:cubicBezTo>
                  <a:cubicBezTo>
                    <a:pt x="2032074" y="9079630"/>
                    <a:pt x="2028062" y="9075618"/>
                    <a:pt x="2028062" y="9070670"/>
                  </a:cubicBezTo>
                  <a:cubicBezTo>
                    <a:pt x="2028062" y="9065721"/>
                    <a:pt x="2032074" y="9061709"/>
                    <a:pt x="2037023" y="9061709"/>
                  </a:cubicBezTo>
                  <a:close/>
                  <a:moveTo>
                    <a:pt x="1868282" y="9061709"/>
                  </a:moveTo>
                  <a:cubicBezTo>
                    <a:pt x="1873230" y="9061709"/>
                    <a:pt x="1877240" y="9065721"/>
                    <a:pt x="1877240" y="9070670"/>
                  </a:cubicBezTo>
                  <a:cubicBezTo>
                    <a:pt x="1877240" y="9075618"/>
                    <a:pt x="1873230" y="9079630"/>
                    <a:pt x="1868282" y="9079630"/>
                  </a:cubicBezTo>
                  <a:cubicBezTo>
                    <a:pt x="1863333" y="9079630"/>
                    <a:pt x="1859319" y="9075618"/>
                    <a:pt x="1859319" y="9070670"/>
                  </a:cubicBezTo>
                  <a:cubicBezTo>
                    <a:pt x="1859319" y="9065721"/>
                    <a:pt x="1863333" y="9061709"/>
                    <a:pt x="1868282" y="9061709"/>
                  </a:cubicBezTo>
                  <a:close/>
                  <a:moveTo>
                    <a:pt x="1699540" y="9061709"/>
                  </a:moveTo>
                  <a:cubicBezTo>
                    <a:pt x="1704489" y="9061709"/>
                    <a:pt x="1708500" y="9065721"/>
                    <a:pt x="1708500" y="9070670"/>
                  </a:cubicBezTo>
                  <a:cubicBezTo>
                    <a:pt x="1708500" y="9075618"/>
                    <a:pt x="1704489" y="9079630"/>
                    <a:pt x="1699540" y="9079630"/>
                  </a:cubicBezTo>
                  <a:cubicBezTo>
                    <a:pt x="1694591" y="9079630"/>
                    <a:pt x="1690580" y="9075618"/>
                    <a:pt x="1690580" y="9070670"/>
                  </a:cubicBezTo>
                  <a:cubicBezTo>
                    <a:pt x="1690580" y="9065721"/>
                    <a:pt x="1694591" y="9061709"/>
                    <a:pt x="1699540" y="9061709"/>
                  </a:cubicBezTo>
                  <a:close/>
                  <a:moveTo>
                    <a:pt x="1530798" y="9061709"/>
                  </a:moveTo>
                  <a:cubicBezTo>
                    <a:pt x="1535747" y="9061709"/>
                    <a:pt x="1539758" y="9065721"/>
                    <a:pt x="1539758" y="9070670"/>
                  </a:cubicBezTo>
                  <a:cubicBezTo>
                    <a:pt x="1539758" y="9075618"/>
                    <a:pt x="1535747" y="9079630"/>
                    <a:pt x="1530798" y="9079630"/>
                  </a:cubicBezTo>
                  <a:cubicBezTo>
                    <a:pt x="1525849" y="9079630"/>
                    <a:pt x="1521837" y="9075618"/>
                    <a:pt x="1521837" y="9070670"/>
                  </a:cubicBezTo>
                  <a:cubicBezTo>
                    <a:pt x="1521837" y="9065721"/>
                    <a:pt x="1525849" y="9061709"/>
                    <a:pt x="1530798" y="9061709"/>
                  </a:cubicBezTo>
                  <a:close/>
                  <a:moveTo>
                    <a:pt x="1362056" y="9061709"/>
                  </a:moveTo>
                  <a:cubicBezTo>
                    <a:pt x="1367004" y="9061709"/>
                    <a:pt x="1371016" y="9065721"/>
                    <a:pt x="1371016" y="9070670"/>
                  </a:cubicBezTo>
                  <a:cubicBezTo>
                    <a:pt x="1371016" y="9075618"/>
                    <a:pt x="1367004" y="9079630"/>
                    <a:pt x="1362056" y="9079630"/>
                  </a:cubicBezTo>
                  <a:cubicBezTo>
                    <a:pt x="1357107" y="9079630"/>
                    <a:pt x="1353095" y="9075618"/>
                    <a:pt x="1353095" y="9070670"/>
                  </a:cubicBezTo>
                  <a:cubicBezTo>
                    <a:pt x="1353095" y="9065721"/>
                    <a:pt x="1357107" y="9061709"/>
                    <a:pt x="1362056" y="9061709"/>
                  </a:cubicBezTo>
                  <a:close/>
                  <a:moveTo>
                    <a:pt x="1193314" y="9061709"/>
                  </a:moveTo>
                  <a:cubicBezTo>
                    <a:pt x="1198263" y="9061709"/>
                    <a:pt x="1202275" y="9065721"/>
                    <a:pt x="1202275" y="9070670"/>
                  </a:cubicBezTo>
                  <a:cubicBezTo>
                    <a:pt x="1202275" y="9075618"/>
                    <a:pt x="1198263" y="9079630"/>
                    <a:pt x="1193314" y="9079630"/>
                  </a:cubicBezTo>
                  <a:cubicBezTo>
                    <a:pt x="1188366" y="9079630"/>
                    <a:pt x="1184354" y="9075618"/>
                    <a:pt x="1184354" y="9070670"/>
                  </a:cubicBezTo>
                  <a:cubicBezTo>
                    <a:pt x="1184354" y="9065721"/>
                    <a:pt x="1188366" y="9061709"/>
                    <a:pt x="1193314" y="9061709"/>
                  </a:cubicBezTo>
                  <a:close/>
                  <a:moveTo>
                    <a:pt x="1024573" y="9061709"/>
                  </a:moveTo>
                  <a:cubicBezTo>
                    <a:pt x="1029522" y="9061709"/>
                    <a:pt x="1033534" y="9065721"/>
                    <a:pt x="1033534" y="9070670"/>
                  </a:cubicBezTo>
                  <a:cubicBezTo>
                    <a:pt x="1033534" y="9075618"/>
                    <a:pt x="1029522" y="9079630"/>
                    <a:pt x="1024573" y="9079630"/>
                  </a:cubicBezTo>
                  <a:cubicBezTo>
                    <a:pt x="1019625" y="9079630"/>
                    <a:pt x="1015612" y="9075618"/>
                    <a:pt x="1015612" y="9070670"/>
                  </a:cubicBezTo>
                  <a:cubicBezTo>
                    <a:pt x="1015612" y="9065721"/>
                    <a:pt x="1019625" y="9061709"/>
                    <a:pt x="1024573" y="9061709"/>
                  </a:cubicBezTo>
                  <a:close/>
                  <a:moveTo>
                    <a:pt x="855832" y="9061709"/>
                  </a:moveTo>
                  <a:cubicBezTo>
                    <a:pt x="860781" y="9061709"/>
                    <a:pt x="864792" y="9065721"/>
                    <a:pt x="864792" y="9070670"/>
                  </a:cubicBezTo>
                  <a:cubicBezTo>
                    <a:pt x="864792" y="9075618"/>
                    <a:pt x="860781" y="9079630"/>
                    <a:pt x="855832" y="9079630"/>
                  </a:cubicBezTo>
                  <a:cubicBezTo>
                    <a:pt x="850883" y="9079630"/>
                    <a:pt x="846871" y="9075618"/>
                    <a:pt x="846871" y="9070670"/>
                  </a:cubicBezTo>
                  <a:cubicBezTo>
                    <a:pt x="846871" y="9065721"/>
                    <a:pt x="850883" y="9061709"/>
                    <a:pt x="855832" y="9061709"/>
                  </a:cubicBezTo>
                  <a:close/>
                  <a:moveTo>
                    <a:pt x="687090" y="9061709"/>
                  </a:moveTo>
                  <a:cubicBezTo>
                    <a:pt x="692039" y="9061709"/>
                    <a:pt x="696051" y="9065721"/>
                    <a:pt x="696051" y="9070670"/>
                  </a:cubicBezTo>
                  <a:cubicBezTo>
                    <a:pt x="696051" y="9075618"/>
                    <a:pt x="692039" y="9079630"/>
                    <a:pt x="687090" y="9079630"/>
                  </a:cubicBezTo>
                  <a:cubicBezTo>
                    <a:pt x="682142" y="9079630"/>
                    <a:pt x="678130" y="9075618"/>
                    <a:pt x="678130" y="9070670"/>
                  </a:cubicBezTo>
                  <a:cubicBezTo>
                    <a:pt x="678130" y="9065721"/>
                    <a:pt x="682142" y="9061709"/>
                    <a:pt x="687090" y="9061709"/>
                  </a:cubicBezTo>
                  <a:close/>
                  <a:moveTo>
                    <a:pt x="518347" y="9061709"/>
                  </a:moveTo>
                  <a:cubicBezTo>
                    <a:pt x="523295" y="9061709"/>
                    <a:pt x="527307" y="9065721"/>
                    <a:pt x="527307" y="9070670"/>
                  </a:cubicBezTo>
                  <a:cubicBezTo>
                    <a:pt x="527307" y="9075618"/>
                    <a:pt x="523295" y="9079630"/>
                    <a:pt x="518347" y="9079630"/>
                  </a:cubicBezTo>
                  <a:cubicBezTo>
                    <a:pt x="513398" y="9079630"/>
                    <a:pt x="509386" y="9075618"/>
                    <a:pt x="509386" y="9070670"/>
                  </a:cubicBezTo>
                  <a:cubicBezTo>
                    <a:pt x="509386" y="9065721"/>
                    <a:pt x="513398" y="9061709"/>
                    <a:pt x="518347" y="9061709"/>
                  </a:cubicBezTo>
                  <a:close/>
                  <a:moveTo>
                    <a:pt x="349606" y="9061709"/>
                  </a:moveTo>
                  <a:cubicBezTo>
                    <a:pt x="354555" y="9061709"/>
                    <a:pt x="358567" y="9065721"/>
                    <a:pt x="358567" y="9070670"/>
                  </a:cubicBezTo>
                  <a:cubicBezTo>
                    <a:pt x="358567" y="9075618"/>
                    <a:pt x="354555" y="9079630"/>
                    <a:pt x="349606" y="9079630"/>
                  </a:cubicBezTo>
                  <a:cubicBezTo>
                    <a:pt x="344658" y="9079630"/>
                    <a:pt x="340646" y="9075618"/>
                    <a:pt x="340646" y="9070670"/>
                  </a:cubicBezTo>
                  <a:cubicBezTo>
                    <a:pt x="340646" y="9065721"/>
                    <a:pt x="344658" y="9061709"/>
                    <a:pt x="349606" y="9061709"/>
                  </a:cubicBezTo>
                  <a:close/>
                  <a:moveTo>
                    <a:pt x="179285" y="9061709"/>
                  </a:moveTo>
                  <a:cubicBezTo>
                    <a:pt x="184234" y="9061709"/>
                    <a:pt x="188246" y="9065721"/>
                    <a:pt x="188246" y="9070670"/>
                  </a:cubicBezTo>
                  <a:cubicBezTo>
                    <a:pt x="188246" y="9075618"/>
                    <a:pt x="184234" y="9079630"/>
                    <a:pt x="179285" y="9079630"/>
                  </a:cubicBezTo>
                  <a:cubicBezTo>
                    <a:pt x="174337" y="9079630"/>
                    <a:pt x="170325" y="9075618"/>
                    <a:pt x="170325" y="9070670"/>
                  </a:cubicBezTo>
                  <a:cubicBezTo>
                    <a:pt x="170325" y="9065721"/>
                    <a:pt x="174337" y="9061709"/>
                    <a:pt x="179285" y="9061709"/>
                  </a:cubicBezTo>
                  <a:close/>
                  <a:moveTo>
                    <a:pt x="8964" y="9061709"/>
                  </a:moveTo>
                  <a:cubicBezTo>
                    <a:pt x="13913" y="9061709"/>
                    <a:pt x="17925" y="9065721"/>
                    <a:pt x="17925" y="9070670"/>
                  </a:cubicBezTo>
                  <a:cubicBezTo>
                    <a:pt x="17925" y="9075618"/>
                    <a:pt x="13913" y="9079630"/>
                    <a:pt x="8964" y="9079630"/>
                  </a:cubicBezTo>
                  <a:cubicBezTo>
                    <a:pt x="4016" y="9079630"/>
                    <a:pt x="4" y="9075618"/>
                    <a:pt x="4" y="9070670"/>
                  </a:cubicBezTo>
                  <a:cubicBezTo>
                    <a:pt x="4" y="9065721"/>
                    <a:pt x="4016" y="9061709"/>
                    <a:pt x="8964" y="9061709"/>
                  </a:cubicBezTo>
                  <a:close/>
                  <a:moveTo>
                    <a:pt x="6933679" y="8890728"/>
                  </a:moveTo>
                  <a:cubicBezTo>
                    <a:pt x="6938628" y="8890728"/>
                    <a:pt x="6942639" y="8894740"/>
                    <a:pt x="6942639" y="8899688"/>
                  </a:cubicBezTo>
                  <a:cubicBezTo>
                    <a:pt x="6942639" y="8904637"/>
                    <a:pt x="6938628" y="8908649"/>
                    <a:pt x="6933679" y="8908649"/>
                  </a:cubicBezTo>
                  <a:cubicBezTo>
                    <a:pt x="6928730" y="8908649"/>
                    <a:pt x="6924718" y="8904637"/>
                    <a:pt x="6924718" y="8899688"/>
                  </a:cubicBezTo>
                  <a:cubicBezTo>
                    <a:pt x="6924718" y="8894740"/>
                    <a:pt x="6928730" y="8890728"/>
                    <a:pt x="6933679" y="8890728"/>
                  </a:cubicBezTo>
                  <a:close/>
                  <a:moveTo>
                    <a:pt x="6763357" y="8890728"/>
                  </a:moveTo>
                  <a:cubicBezTo>
                    <a:pt x="6768306" y="8890728"/>
                    <a:pt x="6772318" y="8894740"/>
                    <a:pt x="6772318" y="8899688"/>
                  </a:cubicBezTo>
                  <a:cubicBezTo>
                    <a:pt x="6772318" y="8904637"/>
                    <a:pt x="6768306" y="8908649"/>
                    <a:pt x="6763357" y="8908649"/>
                  </a:cubicBezTo>
                  <a:cubicBezTo>
                    <a:pt x="6758408" y="8908649"/>
                    <a:pt x="6754397" y="8904637"/>
                    <a:pt x="6754397" y="8899688"/>
                  </a:cubicBezTo>
                  <a:cubicBezTo>
                    <a:pt x="6754397" y="8894740"/>
                    <a:pt x="6758408" y="8890728"/>
                    <a:pt x="6763357" y="8890728"/>
                  </a:cubicBezTo>
                  <a:close/>
                  <a:moveTo>
                    <a:pt x="6593035" y="8890728"/>
                  </a:moveTo>
                  <a:cubicBezTo>
                    <a:pt x="6597984" y="8890728"/>
                    <a:pt x="6601996" y="8894740"/>
                    <a:pt x="6601996" y="8899688"/>
                  </a:cubicBezTo>
                  <a:cubicBezTo>
                    <a:pt x="6601996" y="8904637"/>
                    <a:pt x="6597984" y="8908649"/>
                    <a:pt x="6593035" y="8908649"/>
                  </a:cubicBezTo>
                  <a:cubicBezTo>
                    <a:pt x="6588086" y="8908649"/>
                    <a:pt x="6584075" y="8904637"/>
                    <a:pt x="6584075" y="8899688"/>
                  </a:cubicBezTo>
                  <a:cubicBezTo>
                    <a:pt x="6584075" y="8894740"/>
                    <a:pt x="6588086" y="8890728"/>
                    <a:pt x="6593035" y="8890728"/>
                  </a:cubicBezTo>
                  <a:close/>
                  <a:moveTo>
                    <a:pt x="6424294" y="8890728"/>
                  </a:moveTo>
                  <a:cubicBezTo>
                    <a:pt x="6429243" y="8890728"/>
                    <a:pt x="6433255" y="8894740"/>
                    <a:pt x="6433255" y="8899688"/>
                  </a:cubicBezTo>
                  <a:cubicBezTo>
                    <a:pt x="6433255" y="8904637"/>
                    <a:pt x="6429243" y="8908649"/>
                    <a:pt x="6424294" y="8908649"/>
                  </a:cubicBezTo>
                  <a:cubicBezTo>
                    <a:pt x="6419345" y="8908649"/>
                    <a:pt x="6415334" y="8904637"/>
                    <a:pt x="6415334" y="8899688"/>
                  </a:cubicBezTo>
                  <a:cubicBezTo>
                    <a:pt x="6415334" y="8894740"/>
                    <a:pt x="6419345" y="8890728"/>
                    <a:pt x="6424294" y="8890728"/>
                  </a:cubicBezTo>
                  <a:close/>
                  <a:moveTo>
                    <a:pt x="6255553" y="8890728"/>
                  </a:moveTo>
                  <a:cubicBezTo>
                    <a:pt x="6260502" y="8890728"/>
                    <a:pt x="6264514" y="8894740"/>
                    <a:pt x="6264514" y="8899688"/>
                  </a:cubicBezTo>
                  <a:cubicBezTo>
                    <a:pt x="6264514" y="8904637"/>
                    <a:pt x="6260502" y="8908649"/>
                    <a:pt x="6255553" y="8908649"/>
                  </a:cubicBezTo>
                  <a:cubicBezTo>
                    <a:pt x="6250604" y="8908649"/>
                    <a:pt x="6246593" y="8904637"/>
                    <a:pt x="6246593" y="8899688"/>
                  </a:cubicBezTo>
                  <a:cubicBezTo>
                    <a:pt x="6246593" y="8894740"/>
                    <a:pt x="6250604" y="8890728"/>
                    <a:pt x="6255553" y="8890728"/>
                  </a:cubicBezTo>
                  <a:close/>
                  <a:moveTo>
                    <a:pt x="6086811" y="8890728"/>
                  </a:moveTo>
                  <a:cubicBezTo>
                    <a:pt x="6091760" y="8890728"/>
                    <a:pt x="6095772" y="8894740"/>
                    <a:pt x="6095772" y="8899688"/>
                  </a:cubicBezTo>
                  <a:cubicBezTo>
                    <a:pt x="6095772" y="8904637"/>
                    <a:pt x="6091760" y="8908649"/>
                    <a:pt x="6086811" y="8908649"/>
                  </a:cubicBezTo>
                  <a:cubicBezTo>
                    <a:pt x="6081862" y="8908649"/>
                    <a:pt x="6077851" y="8904637"/>
                    <a:pt x="6077851" y="8899688"/>
                  </a:cubicBezTo>
                  <a:cubicBezTo>
                    <a:pt x="6077851" y="8894740"/>
                    <a:pt x="6081862" y="8890728"/>
                    <a:pt x="6086811" y="8890728"/>
                  </a:cubicBezTo>
                  <a:close/>
                  <a:moveTo>
                    <a:pt x="5918069" y="8890728"/>
                  </a:moveTo>
                  <a:cubicBezTo>
                    <a:pt x="5923018" y="8890728"/>
                    <a:pt x="5927030" y="8894740"/>
                    <a:pt x="5927030" y="8899688"/>
                  </a:cubicBezTo>
                  <a:cubicBezTo>
                    <a:pt x="5927030" y="8904637"/>
                    <a:pt x="5923018" y="8908649"/>
                    <a:pt x="5918069" y="8908649"/>
                  </a:cubicBezTo>
                  <a:cubicBezTo>
                    <a:pt x="5913120" y="8908649"/>
                    <a:pt x="5909109" y="8904637"/>
                    <a:pt x="5909109" y="8899688"/>
                  </a:cubicBezTo>
                  <a:cubicBezTo>
                    <a:pt x="5909109" y="8894740"/>
                    <a:pt x="5913120" y="8890728"/>
                    <a:pt x="5918069" y="8890728"/>
                  </a:cubicBezTo>
                  <a:close/>
                  <a:moveTo>
                    <a:pt x="5749328" y="8890728"/>
                  </a:moveTo>
                  <a:cubicBezTo>
                    <a:pt x="5754277" y="8890728"/>
                    <a:pt x="5758289" y="8894740"/>
                    <a:pt x="5758289" y="8899688"/>
                  </a:cubicBezTo>
                  <a:cubicBezTo>
                    <a:pt x="5758289" y="8904637"/>
                    <a:pt x="5754277" y="8908649"/>
                    <a:pt x="5749328" y="8908649"/>
                  </a:cubicBezTo>
                  <a:cubicBezTo>
                    <a:pt x="5744379" y="8908649"/>
                    <a:pt x="5740368" y="8904637"/>
                    <a:pt x="5740368" y="8899688"/>
                  </a:cubicBezTo>
                  <a:cubicBezTo>
                    <a:pt x="5740368" y="8894740"/>
                    <a:pt x="5744379" y="8890728"/>
                    <a:pt x="5749328" y="8890728"/>
                  </a:cubicBezTo>
                  <a:close/>
                  <a:moveTo>
                    <a:pt x="5580586" y="8890728"/>
                  </a:moveTo>
                  <a:cubicBezTo>
                    <a:pt x="5585535" y="8890728"/>
                    <a:pt x="5589547" y="8894740"/>
                    <a:pt x="5589547" y="8899688"/>
                  </a:cubicBezTo>
                  <a:cubicBezTo>
                    <a:pt x="5589547" y="8904637"/>
                    <a:pt x="5585535" y="8908649"/>
                    <a:pt x="5580586" y="8908649"/>
                  </a:cubicBezTo>
                  <a:cubicBezTo>
                    <a:pt x="5575637" y="8908649"/>
                    <a:pt x="5571626" y="8904637"/>
                    <a:pt x="5571626" y="8899688"/>
                  </a:cubicBezTo>
                  <a:cubicBezTo>
                    <a:pt x="5571626" y="8894740"/>
                    <a:pt x="5575637" y="8890728"/>
                    <a:pt x="5580586" y="8890728"/>
                  </a:cubicBezTo>
                  <a:close/>
                  <a:moveTo>
                    <a:pt x="5411845" y="8890728"/>
                  </a:moveTo>
                  <a:cubicBezTo>
                    <a:pt x="5416794" y="8890728"/>
                    <a:pt x="5420806" y="8894740"/>
                    <a:pt x="5420806" y="8899688"/>
                  </a:cubicBezTo>
                  <a:cubicBezTo>
                    <a:pt x="5420806" y="8904637"/>
                    <a:pt x="5416794" y="8908649"/>
                    <a:pt x="5411845" y="8908649"/>
                  </a:cubicBezTo>
                  <a:cubicBezTo>
                    <a:pt x="5406896" y="8908649"/>
                    <a:pt x="5402885" y="8904637"/>
                    <a:pt x="5402885" y="8899688"/>
                  </a:cubicBezTo>
                  <a:cubicBezTo>
                    <a:pt x="5402885" y="8894740"/>
                    <a:pt x="5406896" y="8890728"/>
                    <a:pt x="5411845" y="8890728"/>
                  </a:cubicBezTo>
                  <a:close/>
                  <a:moveTo>
                    <a:pt x="5243103" y="8890728"/>
                  </a:moveTo>
                  <a:cubicBezTo>
                    <a:pt x="5248052" y="8890728"/>
                    <a:pt x="5252064" y="8894740"/>
                    <a:pt x="5252064" y="8899688"/>
                  </a:cubicBezTo>
                  <a:cubicBezTo>
                    <a:pt x="5252064" y="8904637"/>
                    <a:pt x="5248052" y="8908649"/>
                    <a:pt x="5243103" y="8908649"/>
                  </a:cubicBezTo>
                  <a:cubicBezTo>
                    <a:pt x="5238154" y="8908649"/>
                    <a:pt x="5234143" y="8904637"/>
                    <a:pt x="5234143" y="8899688"/>
                  </a:cubicBezTo>
                  <a:cubicBezTo>
                    <a:pt x="5234143" y="8894740"/>
                    <a:pt x="5238154" y="8890728"/>
                    <a:pt x="5243103" y="8890728"/>
                  </a:cubicBezTo>
                  <a:close/>
                  <a:moveTo>
                    <a:pt x="5074362" y="8890728"/>
                  </a:moveTo>
                  <a:cubicBezTo>
                    <a:pt x="5079311" y="8890728"/>
                    <a:pt x="5083323" y="8894740"/>
                    <a:pt x="5083323" y="8899688"/>
                  </a:cubicBezTo>
                  <a:cubicBezTo>
                    <a:pt x="5083323" y="8904637"/>
                    <a:pt x="5079311" y="8908649"/>
                    <a:pt x="5074362" y="8908649"/>
                  </a:cubicBezTo>
                  <a:cubicBezTo>
                    <a:pt x="5069413" y="8908649"/>
                    <a:pt x="5065402" y="8904637"/>
                    <a:pt x="5065402" y="8899688"/>
                  </a:cubicBezTo>
                  <a:cubicBezTo>
                    <a:pt x="5065402" y="8894740"/>
                    <a:pt x="5069413" y="8890728"/>
                    <a:pt x="5074362" y="8890728"/>
                  </a:cubicBezTo>
                  <a:close/>
                  <a:moveTo>
                    <a:pt x="4905620" y="8890728"/>
                  </a:moveTo>
                  <a:cubicBezTo>
                    <a:pt x="4910569" y="8890728"/>
                    <a:pt x="4914581" y="8894740"/>
                    <a:pt x="4914581" y="8899688"/>
                  </a:cubicBezTo>
                  <a:cubicBezTo>
                    <a:pt x="4914581" y="8904637"/>
                    <a:pt x="4910569" y="8908649"/>
                    <a:pt x="4905620" y="8908649"/>
                  </a:cubicBezTo>
                  <a:cubicBezTo>
                    <a:pt x="4900671" y="8908649"/>
                    <a:pt x="4896660" y="8904637"/>
                    <a:pt x="4896660" y="8899688"/>
                  </a:cubicBezTo>
                  <a:cubicBezTo>
                    <a:pt x="4896660" y="8894740"/>
                    <a:pt x="4900671" y="8890728"/>
                    <a:pt x="4905620" y="8890728"/>
                  </a:cubicBezTo>
                  <a:close/>
                  <a:moveTo>
                    <a:pt x="4736878" y="8890728"/>
                  </a:moveTo>
                  <a:cubicBezTo>
                    <a:pt x="4741827" y="8890728"/>
                    <a:pt x="4745839" y="8894740"/>
                    <a:pt x="4745839" y="8899688"/>
                  </a:cubicBezTo>
                  <a:cubicBezTo>
                    <a:pt x="4745839" y="8904637"/>
                    <a:pt x="4741827" y="8908649"/>
                    <a:pt x="4736878" y="8908649"/>
                  </a:cubicBezTo>
                  <a:cubicBezTo>
                    <a:pt x="4731929" y="8908649"/>
                    <a:pt x="4727918" y="8904637"/>
                    <a:pt x="4727918" y="8899688"/>
                  </a:cubicBezTo>
                  <a:cubicBezTo>
                    <a:pt x="4727918" y="8894740"/>
                    <a:pt x="4731929" y="8890728"/>
                    <a:pt x="4736878" y="8890728"/>
                  </a:cubicBezTo>
                  <a:close/>
                  <a:moveTo>
                    <a:pt x="4568137" y="8890728"/>
                  </a:moveTo>
                  <a:cubicBezTo>
                    <a:pt x="4573086" y="8890728"/>
                    <a:pt x="4577098" y="8894740"/>
                    <a:pt x="4577098" y="8899688"/>
                  </a:cubicBezTo>
                  <a:cubicBezTo>
                    <a:pt x="4577098" y="8904637"/>
                    <a:pt x="4573086" y="8908649"/>
                    <a:pt x="4568137" y="8908649"/>
                  </a:cubicBezTo>
                  <a:cubicBezTo>
                    <a:pt x="4563188" y="8908649"/>
                    <a:pt x="4559177" y="8904637"/>
                    <a:pt x="4559177" y="8899688"/>
                  </a:cubicBezTo>
                  <a:cubicBezTo>
                    <a:pt x="4559177" y="8894740"/>
                    <a:pt x="4563188" y="8890728"/>
                    <a:pt x="4568137" y="8890728"/>
                  </a:cubicBezTo>
                  <a:close/>
                  <a:moveTo>
                    <a:pt x="4399396" y="8890728"/>
                  </a:moveTo>
                  <a:cubicBezTo>
                    <a:pt x="4404345" y="8890728"/>
                    <a:pt x="4408357" y="8894740"/>
                    <a:pt x="4408357" y="8899688"/>
                  </a:cubicBezTo>
                  <a:cubicBezTo>
                    <a:pt x="4408357" y="8904637"/>
                    <a:pt x="4404345" y="8908649"/>
                    <a:pt x="4399396" y="8908649"/>
                  </a:cubicBezTo>
                  <a:cubicBezTo>
                    <a:pt x="4394447" y="8908649"/>
                    <a:pt x="4390436" y="8904637"/>
                    <a:pt x="4390436" y="8899688"/>
                  </a:cubicBezTo>
                  <a:cubicBezTo>
                    <a:pt x="4390436" y="8894740"/>
                    <a:pt x="4394447" y="8890728"/>
                    <a:pt x="4399396" y="8890728"/>
                  </a:cubicBezTo>
                  <a:close/>
                  <a:moveTo>
                    <a:pt x="4230654" y="8890728"/>
                  </a:moveTo>
                  <a:cubicBezTo>
                    <a:pt x="4235603" y="8890728"/>
                    <a:pt x="4239615" y="8894740"/>
                    <a:pt x="4239615" y="8899688"/>
                  </a:cubicBezTo>
                  <a:cubicBezTo>
                    <a:pt x="4239615" y="8904637"/>
                    <a:pt x="4235603" y="8908649"/>
                    <a:pt x="4230654" y="8908649"/>
                  </a:cubicBezTo>
                  <a:cubicBezTo>
                    <a:pt x="4225705" y="8908649"/>
                    <a:pt x="4221694" y="8904637"/>
                    <a:pt x="4221694" y="8899688"/>
                  </a:cubicBezTo>
                  <a:cubicBezTo>
                    <a:pt x="4221694" y="8894740"/>
                    <a:pt x="4225705" y="8890728"/>
                    <a:pt x="4230654" y="8890728"/>
                  </a:cubicBezTo>
                  <a:close/>
                  <a:moveTo>
                    <a:pt x="4061912" y="8890728"/>
                  </a:moveTo>
                  <a:cubicBezTo>
                    <a:pt x="4066861" y="8890728"/>
                    <a:pt x="4070873" y="8894740"/>
                    <a:pt x="4070873" y="8899688"/>
                  </a:cubicBezTo>
                  <a:cubicBezTo>
                    <a:pt x="4070873" y="8904637"/>
                    <a:pt x="4066861" y="8908649"/>
                    <a:pt x="4061912" y="8908649"/>
                  </a:cubicBezTo>
                  <a:cubicBezTo>
                    <a:pt x="4056963" y="8908649"/>
                    <a:pt x="4052952" y="8904637"/>
                    <a:pt x="4052952" y="8899688"/>
                  </a:cubicBezTo>
                  <a:cubicBezTo>
                    <a:pt x="4052952" y="8894740"/>
                    <a:pt x="4056963" y="8890728"/>
                    <a:pt x="4061912" y="8890728"/>
                  </a:cubicBezTo>
                  <a:close/>
                  <a:moveTo>
                    <a:pt x="3893170" y="8890728"/>
                  </a:moveTo>
                  <a:cubicBezTo>
                    <a:pt x="3898119" y="8890728"/>
                    <a:pt x="3902131" y="8894740"/>
                    <a:pt x="3902131" y="8899688"/>
                  </a:cubicBezTo>
                  <a:cubicBezTo>
                    <a:pt x="3902131" y="8904637"/>
                    <a:pt x="3898119" y="8908649"/>
                    <a:pt x="3893170" y="8908649"/>
                  </a:cubicBezTo>
                  <a:cubicBezTo>
                    <a:pt x="3888221" y="8908649"/>
                    <a:pt x="3884210" y="8904637"/>
                    <a:pt x="3884210" y="8899688"/>
                  </a:cubicBezTo>
                  <a:cubicBezTo>
                    <a:pt x="3884210" y="8894740"/>
                    <a:pt x="3888221" y="8890728"/>
                    <a:pt x="3893170" y="8890728"/>
                  </a:cubicBezTo>
                  <a:close/>
                  <a:moveTo>
                    <a:pt x="3724429" y="8890728"/>
                  </a:moveTo>
                  <a:cubicBezTo>
                    <a:pt x="3729378" y="8890728"/>
                    <a:pt x="3733390" y="8894740"/>
                    <a:pt x="3733390" y="8899688"/>
                  </a:cubicBezTo>
                  <a:cubicBezTo>
                    <a:pt x="3733390" y="8904637"/>
                    <a:pt x="3729378" y="8908649"/>
                    <a:pt x="3724429" y="8908649"/>
                  </a:cubicBezTo>
                  <a:cubicBezTo>
                    <a:pt x="3719481" y="8908649"/>
                    <a:pt x="3715469" y="8904637"/>
                    <a:pt x="3715469" y="8899688"/>
                  </a:cubicBezTo>
                  <a:cubicBezTo>
                    <a:pt x="3715469" y="8894740"/>
                    <a:pt x="3719481" y="8890728"/>
                    <a:pt x="3724429" y="8890728"/>
                  </a:cubicBezTo>
                  <a:close/>
                  <a:moveTo>
                    <a:pt x="3555688" y="8890728"/>
                  </a:moveTo>
                  <a:cubicBezTo>
                    <a:pt x="3560637" y="8890728"/>
                    <a:pt x="3564649" y="8894740"/>
                    <a:pt x="3564649" y="8899688"/>
                  </a:cubicBezTo>
                  <a:cubicBezTo>
                    <a:pt x="3564649" y="8904637"/>
                    <a:pt x="3560637" y="8908649"/>
                    <a:pt x="3555688" y="8908649"/>
                  </a:cubicBezTo>
                  <a:cubicBezTo>
                    <a:pt x="3550740" y="8908649"/>
                    <a:pt x="3546728" y="8904637"/>
                    <a:pt x="3546728" y="8899688"/>
                  </a:cubicBezTo>
                  <a:cubicBezTo>
                    <a:pt x="3546728" y="8894740"/>
                    <a:pt x="3550740" y="8890728"/>
                    <a:pt x="3555688" y="8890728"/>
                  </a:cubicBezTo>
                  <a:close/>
                  <a:moveTo>
                    <a:pt x="3386954" y="8890728"/>
                  </a:moveTo>
                  <a:cubicBezTo>
                    <a:pt x="3391902" y="8890728"/>
                    <a:pt x="3395915" y="8894740"/>
                    <a:pt x="3395915" y="8899688"/>
                  </a:cubicBezTo>
                  <a:cubicBezTo>
                    <a:pt x="3395915" y="8904637"/>
                    <a:pt x="3391902" y="8908649"/>
                    <a:pt x="3386954" y="8908649"/>
                  </a:cubicBezTo>
                  <a:cubicBezTo>
                    <a:pt x="3382002" y="8908649"/>
                    <a:pt x="3377990" y="8904637"/>
                    <a:pt x="3377990" y="8899688"/>
                  </a:cubicBezTo>
                  <a:cubicBezTo>
                    <a:pt x="3377990" y="8894740"/>
                    <a:pt x="3382002" y="8890728"/>
                    <a:pt x="3386954" y="8890728"/>
                  </a:cubicBezTo>
                  <a:close/>
                  <a:moveTo>
                    <a:pt x="3218212" y="8890728"/>
                  </a:moveTo>
                  <a:cubicBezTo>
                    <a:pt x="3223159" y="8890728"/>
                    <a:pt x="3227171" y="8894740"/>
                    <a:pt x="3227171" y="8899688"/>
                  </a:cubicBezTo>
                  <a:cubicBezTo>
                    <a:pt x="3227171" y="8904637"/>
                    <a:pt x="3223159" y="8908649"/>
                    <a:pt x="3218212" y="8908649"/>
                  </a:cubicBezTo>
                  <a:cubicBezTo>
                    <a:pt x="3213260" y="8908649"/>
                    <a:pt x="3209252" y="8904637"/>
                    <a:pt x="3209252" y="8899688"/>
                  </a:cubicBezTo>
                  <a:cubicBezTo>
                    <a:pt x="3209252" y="8894740"/>
                    <a:pt x="3213260" y="8890728"/>
                    <a:pt x="3218212" y="8890728"/>
                  </a:cubicBezTo>
                  <a:close/>
                  <a:moveTo>
                    <a:pt x="3049475" y="8890728"/>
                  </a:moveTo>
                  <a:cubicBezTo>
                    <a:pt x="3054420" y="8890728"/>
                    <a:pt x="3058433" y="8894740"/>
                    <a:pt x="3058433" y="8899688"/>
                  </a:cubicBezTo>
                  <a:cubicBezTo>
                    <a:pt x="3058433" y="8904637"/>
                    <a:pt x="3054420" y="8908649"/>
                    <a:pt x="3049475" y="8908649"/>
                  </a:cubicBezTo>
                  <a:cubicBezTo>
                    <a:pt x="3044523" y="8908649"/>
                    <a:pt x="3040511" y="8904637"/>
                    <a:pt x="3040511" y="8899688"/>
                  </a:cubicBezTo>
                  <a:cubicBezTo>
                    <a:pt x="3040511" y="8894740"/>
                    <a:pt x="3044523" y="8890728"/>
                    <a:pt x="3049475" y="8890728"/>
                  </a:cubicBezTo>
                  <a:close/>
                  <a:moveTo>
                    <a:pt x="2880732" y="8890728"/>
                  </a:moveTo>
                  <a:cubicBezTo>
                    <a:pt x="2885680" y="8890728"/>
                    <a:pt x="2889693" y="8894740"/>
                    <a:pt x="2889693" y="8899688"/>
                  </a:cubicBezTo>
                  <a:cubicBezTo>
                    <a:pt x="2889693" y="8904637"/>
                    <a:pt x="2885680" y="8908649"/>
                    <a:pt x="2880732" y="8908649"/>
                  </a:cubicBezTo>
                  <a:cubicBezTo>
                    <a:pt x="2875783" y="8908649"/>
                    <a:pt x="2871772" y="8904637"/>
                    <a:pt x="2871772" y="8899688"/>
                  </a:cubicBezTo>
                  <a:cubicBezTo>
                    <a:pt x="2871772" y="8894740"/>
                    <a:pt x="2875783" y="8890728"/>
                    <a:pt x="2880732" y="8890728"/>
                  </a:cubicBezTo>
                  <a:close/>
                  <a:moveTo>
                    <a:pt x="2711990" y="8890728"/>
                  </a:moveTo>
                  <a:cubicBezTo>
                    <a:pt x="2716937" y="8890728"/>
                    <a:pt x="2720952" y="8894740"/>
                    <a:pt x="2720952" y="8899688"/>
                  </a:cubicBezTo>
                  <a:cubicBezTo>
                    <a:pt x="2720952" y="8904637"/>
                    <a:pt x="2716937" y="8908649"/>
                    <a:pt x="2711990" y="8908649"/>
                  </a:cubicBezTo>
                  <a:cubicBezTo>
                    <a:pt x="2707043" y="8908649"/>
                    <a:pt x="2703031" y="8904637"/>
                    <a:pt x="2703031" y="8899688"/>
                  </a:cubicBezTo>
                  <a:cubicBezTo>
                    <a:pt x="2703031" y="8894740"/>
                    <a:pt x="2707043" y="8890728"/>
                    <a:pt x="2711990" y="8890728"/>
                  </a:cubicBezTo>
                  <a:close/>
                  <a:moveTo>
                    <a:pt x="2543250" y="8890728"/>
                  </a:moveTo>
                  <a:cubicBezTo>
                    <a:pt x="2548202" y="8890728"/>
                    <a:pt x="2552210" y="8894740"/>
                    <a:pt x="2552210" y="8899688"/>
                  </a:cubicBezTo>
                  <a:cubicBezTo>
                    <a:pt x="2552210" y="8904637"/>
                    <a:pt x="2548202" y="8908649"/>
                    <a:pt x="2543250" y="8908649"/>
                  </a:cubicBezTo>
                  <a:cubicBezTo>
                    <a:pt x="2538302" y="8908649"/>
                    <a:pt x="2534290" y="8904637"/>
                    <a:pt x="2534290" y="8899688"/>
                  </a:cubicBezTo>
                  <a:cubicBezTo>
                    <a:pt x="2534290" y="8894740"/>
                    <a:pt x="2538302" y="8890728"/>
                    <a:pt x="2543250" y="8890728"/>
                  </a:cubicBezTo>
                  <a:close/>
                  <a:moveTo>
                    <a:pt x="2374506" y="8890728"/>
                  </a:moveTo>
                  <a:cubicBezTo>
                    <a:pt x="2379457" y="8890728"/>
                    <a:pt x="2383470" y="8894740"/>
                    <a:pt x="2383470" y="8899688"/>
                  </a:cubicBezTo>
                  <a:cubicBezTo>
                    <a:pt x="2383470" y="8904637"/>
                    <a:pt x="2379457" y="8908649"/>
                    <a:pt x="2374506" y="8908649"/>
                  </a:cubicBezTo>
                  <a:cubicBezTo>
                    <a:pt x="2369558" y="8908649"/>
                    <a:pt x="2365545" y="8904637"/>
                    <a:pt x="2365545" y="8899688"/>
                  </a:cubicBezTo>
                  <a:cubicBezTo>
                    <a:pt x="2365545" y="8894740"/>
                    <a:pt x="2369558" y="8890728"/>
                    <a:pt x="2374506" y="8890728"/>
                  </a:cubicBezTo>
                  <a:close/>
                  <a:moveTo>
                    <a:pt x="2205766" y="8890728"/>
                  </a:moveTo>
                  <a:cubicBezTo>
                    <a:pt x="2210715" y="8890728"/>
                    <a:pt x="2214728" y="8894740"/>
                    <a:pt x="2214728" y="8899688"/>
                  </a:cubicBezTo>
                  <a:cubicBezTo>
                    <a:pt x="2214728" y="8904637"/>
                    <a:pt x="2210715" y="8908649"/>
                    <a:pt x="2205766" y="8908649"/>
                  </a:cubicBezTo>
                  <a:cubicBezTo>
                    <a:pt x="2200819" y="8908649"/>
                    <a:pt x="2196807" y="8904637"/>
                    <a:pt x="2196807" y="8899688"/>
                  </a:cubicBezTo>
                  <a:cubicBezTo>
                    <a:pt x="2196807" y="8894740"/>
                    <a:pt x="2200819" y="8890728"/>
                    <a:pt x="2205766" y="8890728"/>
                  </a:cubicBezTo>
                  <a:close/>
                  <a:moveTo>
                    <a:pt x="2037025" y="8890728"/>
                  </a:moveTo>
                  <a:cubicBezTo>
                    <a:pt x="2041974" y="8890728"/>
                    <a:pt x="2045986" y="8894740"/>
                    <a:pt x="2045986" y="8899688"/>
                  </a:cubicBezTo>
                  <a:cubicBezTo>
                    <a:pt x="2045986" y="8904637"/>
                    <a:pt x="2041974" y="8908649"/>
                    <a:pt x="2037025" y="8908649"/>
                  </a:cubicBezTo>
                  <a:cubicBezTo>
                    <a:pt x="2032078" y="8908649"/>
                    <a:pt x="2028066" y="8904637"/>
                    <a:pt x="2028066" y="8899688"/>
                  </a:cubicBezTo>
                  <a:cubicBezTo>
                    <a:pt x="2028066" y="8894740"/>
                    <a:pt x="2032078" y="8890728"/>
                    <a:pt x="2037025" y="8890728"/>
                  </a:cubicBezTo>
                  <a:close/>
                  <a:moveTo>
                    <a:pt x="1868286" y="8890728"/>
                  </a:moveTo>
                  <a:cubicBezTo>
                    <a:pt x="1873235" y="8890728"/>
                    <a:pt x="1877245" y="8894740"/>
                    <a:pt x="1877245" y="8899688"/>
                  </a:cubicBezTo>
                  <a:cubicBezTo>
                    <a:pt x="1877245" y="8904637"/>
                    <a:pt x="1873235" y="8908649"/>
                    <a:pt x="1868286" y="8908649"/>
                  </a:cubicBezTo>
                  <a:cubicBezTo>
                    <a:pt x="1863337" y="8908649"/>
                    <a:pt x="1859324" y="8904637"/>
                    <a:pt x="1859324" y="8899688"/>
                  </a:cubicBezTo>
                  <a:cubicBezTo>
                    <a:pt x="1859324" y="8894740"/>
                    <a:pt x="1863337" y="8890728"/>
                    <a:pt x="1868286" y="8890728"/>
                  </a:cubicBezTo>
                  <a:close/>
                  <a:moveTo>
                    <a:pt x="1699545" y="8890728"/>
                  </a:moveTo>
                  <a:cubicBezTo>
                    <a:pt x="1704493" y="8890728"/>
                    <a:pt x="1708505" y="8894740"/>
                    <a:pt x="1708505" y="8899688"/>
                  </a:cubicBezTo>
                  <a:cubicBezTo>
                    <a:pt x="1708505" y="8904637"/>
                    <a:pt x="1704493" y="8908649"/>
                    <a:pt x="1699545" y="8908649"/>
                  </a:cubicBezTo>
                  <a:cubicBezTo>
                    <a:pt x="1694595" y="8908649"/>
                    <a:pt x="1690584" y="8904637"/>
                    <a:pt x="1690584" y="8899688"/>
                  </a:cubicBezTo>
                  <a:cubicBezTo>
                    <a:pt x="1690584" y="8894740"/>
                    <a:pt x="1694595" y="8890728"/>
                    <a:pt x="1699545" y="8890728"/>
                  </a:cubicBezTo>
                  <a:close/>
                  <a:moveTo>
                    <a:pt x="1530803" y="8890728"/>
                  </a:moveTo>
                  <a:cubicBezTo>
                    <a:pt x="1535752" y="8890728"/>
                    <a:pt x="1539763" y="8894740"/>
                    <a:pt x="1539763" y="8899688"/>
                  </a:cubicBezTo>
                  <a:cubicBezTo>
                    <a:pt x="1539763" y="8904637"/>
                    <a:pt x="1535752" y="8908649"/>
                    <a:pt x="1530803" y="8908649"/>
                  </a:cubicBezTo>
                  <a:cubicBezTo>
                    <a:pt x="1525854" y="8908649"/>
                    <a:pt x="1521842" y="8904637"/>
                    <a:pt x="1521842" y="8899688"/>
                  </a:cubicBezTo>
                  <a:cubicBezTo>
                    <a:pt x="1521842" y="8894740"/>
                    <a:pt x="1525854" y="8890728"/>
                    <a:pt x="1530803" y="8890728"/>
                  </a:cubicBezTo>
                  <a:close/>
                  <a:moveTo>
                    <a:pt x="1362060" y="8890728"/>
                  </a:moveTo>
                  <a:cubicBezTo>
                    <a:pt x="1367009" y="8890728"/>
                    <a:pt x="1371020" y="8894740"/>
                    <a:pt x="1371020" y="8899688"/>
                  </a:cubicBezTo>
                  <a:cubicBezTo>
                    <a:pt x="1371020" y="8904637"/>
                    <a:pt x="1367009" y="8908649"/>
                    <a:pt x="1362060" y="8908649"/>
                  </a:cubicBezTo>
                  <a:cubicBezTo>
                    <a:pt x="1357111" y="8908649"/>
                    <a:pt x="1353099" y="8904637"/>
                    <a:pt x="1353099" y="8899688"/>
                  </a:cubicBezTo>
                  <a:cubicBezTo>
                    <a:pt x="1353099" y="8894740"/>
                    <a:pt x="1357111" y="8890728"/>
                    <a:pt x="1362060" y="8890728"/>
                  </a:cubicBezTo>
                  <a:close/>
                  <a:moveTo>
                    <a:pt x="1193319" y="8890728"/>
                  </a:moveTo>
                  <a:cubicBezTo>
                    <a:pt x="1198267" y="8890728"/>
                    <a:pt x="1202279" y="8894740"/>
                    <a:pt x="1202279" y="8899688"/>
                  </a:cubicBezTo>
                  <a:cubicBezTo>
                    <a:pt x="1202279" y="8904637"/>
                    <a:pt x="1198267" y="8908649"/>
                    <a:pt x="1193319" y="8908649"/>
                  </a:cubicBezTo>
                  <a:cubicBezTo>
                    <a:pt x="1188370" y="8908649"/>
                    <a:pt x="1184359" y="8904637"/>
                    <a:pt x="1184359" y="8899688"/>
                  </a:cubicBezTo>
                  <a:cubicBezTo>
                    <a:pt x="1184359" y="8894740"/>
                    <a:pt x="1188370" y="8890728"/>
                    <a:pt x="1193319" y="8890728"/>
                  </a:cubicBezTo>
                  <a:close/>
                  <a:moveTo>
                    <a:pt x="1024577" y="8890728"/>
                  </a:moveTo>
                  <a:cubicBezTo>
                    <a:pt x="1029526" y="8890728"/>
                    <a:pt x="1033538" y="8894740"/>
                    <a:pt x="1033538" y="8899688"/>
                  </a:cubicBezTo>
                  <a:cubicBezTo>
                    <a:pt x="1033538" y="8904637"/>
                    <a:pt x="1029526" y="8908649"/>
                    <a:pt x="1024577" y="8908649"/>
                  </a:cubicBezTo>
                  <a:cubicBezTo>
                    <a:pt x="1019629" y="8908649"/>
                    <a:pt x="1015617" y="8904637"/>
                    <a:pt x="1015617" y="8899688"/>
                  </a:cubicBezTo>
                  <a:cubicBezTo>
                    <a:pt x="1015617" y="8894740"/>
                    <a:pt x="1019629" y="8890728"/>
                    <a:pt x="1024577" y="8890728"/>
                  </a:cubicBezTo>
                  <a:close/>
                  <a:moveTo>
                    <a:pt x="855837" y="8890728"/>
                  </a:moveTo>
                  <a:cubicBezTo>
                    <a:pt x="860785" y="8890728"/>
                    <a:pt x="864797" y="8894740"/>
                    <a:pt x="864797" y="8899688"/>
                  </a:cubicBezTo>
                  <a:cubicBezTo>
                    <a:pt x="864797" y="8904637"/>
                    <a:pt x="860785" y="8908649"/>
                    <a:pt x="855837" y="8908649"/>
                  </a:cubicBezTo>
                  <a:cubicBezTo>
                    <a:pt x="850887" y="8908649"/>
                    <a:pt x="846876" y="8904637"/>
                    <a:pt x="846876" y="8899688"/>
                  </a:cubicBezTo>
                  <a:cubicBezTo>
                    <a:pt x="846876" y="8894740"/>
                    <a:pt x="850887" y="8890728"/>
                    <a:pt x="855837" y="8890728"/>
                  </a:cubicBezTo>
                  <a:close/>
                  <a:moveTo>
                    <a:pt x="687095" y="8890728"/>
                  </a:moveTo>
                  <a:cubicBezTo>
                    <a:pt x="692043" y="8890728"/>
                    <a:pt x="696055" y="8894740"/>
                    <a:pt x="696055" y="8899688"/>
                  </a:cubicBezTo>
                  <a:cubicBezTo>
                    <a:pt x="696055" y="8904637"/>
                    <a:pt x="692043" y="8908649"/>
                    <a:pt x="687095" y="8908649"/>
                  </a:cubicBezTo>
                  <a:cubicBezTo>
                    <a:pt x="682146" y="8908649"/>
                    <a:pt x="678134" y="8904637"/>
                    <a:pt x="678134" y="8899688"/>
                  </a:cubicBezTo>
                  <a:cubicBezTo>
                    <a:pt x="678134" y="8894740"/>
                    <a:pt x="682146" y="8890728"/>
                    <a:pt x="687095" y="8890728"/>
                  </a:cubicBezTo>
                  <a:close/>
                  <a:moveTo>
                    <a:pt x="518351" y="8890728"/>
                  </a:moveTo>
                  <a:cubicBezTo>
                    <a:pt x="523299" y="8890728"/>
                    <a:pt x="527311" y="8894740"/>
                    <a:pt x="527311" y="8899688"/>
                  </a:cubicBezTo>
                  <a:cubicBezTo>
                    <a:pt x="527311" y="8904637"/>
                    <a:pt x="523299" y="8908649"/>
                    <a:pt x="518351" y="8908649"/>
                  </a:cubicBezTo>
                  <a:cubicBezTo>
                    <a:pt x="513402" y="8908649"/>
                    <a:pt x="509390" y="8904637"/>
                    <a:pt x="509390" y="8899688"/>
                  </a:cubicBezTo>
                  <a:cubicBezTo>
                    <a:pt x="509390" y="8894740"/>
                    <a:pt x="513402" y="8890728"/>
                    <a:pt x="518351" y="8890728"/>
                  </a:cubicBezTo>
                  <a:close/>
                  <a:moveTo>
                    <a:pt x="349610" y="8890728"/>
                  </a:moveTo>
                  <a:cubicBezTo>
                    <a:pt x="354559" y="8890728"/>
                    <a:pt x="358571" y="8894740"/>
                    <a:pt x="358571" y="8899688"/>
                  </a:cubicBezTo>
                  <a:cubicBezTo>
                    <a:pt x="358571" y="8904637"/>
                    <a:pt x="354559" y="8908649"/>
                    <a:pt x="349610" y="8908649"/>
                  </a:cubicBezTo>
                  <a:cubicBezTo>
                    <a:pt x="344661" y="8908649"/>
                    <a:pt x="340650" y="8904637"/>
                    <a:pt x="340650" y="8899688"/>
                  </a:cubicBezTo>
                  <a:cubicBezTo>
                    <a:pt x="340650" y="8894740"/>
                    <a:pt x="344661" y="8890728"/>
                    <a:pt x="349610" y="8890728"/>
                  </a:cubicBezTo>
                  <a:close/>
                  <a:moveTo>
                    <a:pt x="179289" y="8890728"/>
                  </a:moveTo>
                  <a:cubicBezTo>
                    <a:pt x="184238" y="8890728"/>
                    <a:pt x="188250" y="8894740"/>
                    <a:pt x="188250" y="8899688"/>
                  </a:cubicBezTo>
                  <a:cubicBezTo>
                    <a:pt x="188250" y="8904637"/>
                    <a:pt x="184238" y="8908649"/>
                    <a:pt x="179289" y="8908649"/>
                  </a:cubicBezTo>
                  <a:cubicBezTo>
                    <a:pt x="174341" y="8908649"/>
                    <a:pt x="170329" y="8904637"/>
                    <a:pt x="170329" y="8899688"/>
                  </a:cubicBezTo>
                  <a:cubicBezTo>
                    <a:pt x="170329" y="8894740"/>
                    <a:pt x="174341" y="8890728"/>
                    <a:pt x="179289" y="8890728"/>
                  </a:cubicBezTo>
                  <a:close/>
                  <a:moveTo>
                    <a:pt x="8969" y="8890728"/>
                  </a:moveTo>
                  <a:cubicBezTo>
                    <a:pt x="13917" y="8890728"/>
                    <a:pt x="17929" y="8894740"/>
                    <a:pt x="17929" y="8899688"/>
                  </a:cubicBezTo>
                  <a:cubicBezTo>
                    <a:pt x="17929" y="8904637"/>
                    <a:pt x="13917" y="8908649"/>
                    <a:pt x="8969" y="8908649"/>
                  </a:cubicBezTo>
                  <a:cubicBezTo>
                    <a:pt x="4020" y="8908649"/>
                    <a:pt x="8" y="8904637"/>
                    <a:pt x="8" y="8899688"/>
                  </a:cubicBezTo>
                  <a:cubicBezTo>
                    <a:pt x="8" y="8894740"/>
                    <a:pt x="4020" y="8890728"/>
                    <a:pt x="8969" y="8890728"/>
                  </a:cubicBezTo>
                  <a:close/>
                  <a:moveTo>
                    <a:pt x="6933679" y="8719747"/>
                  </a:moveTo>
                  <a:cubicBezTo>
                    <a:pt x="6938628" y="8719747"/>
                    <a:pt x="6942639" y="8723759"/>
                    <a:pt x="6942639" y="8728708"/>
                  </a:cubicBezTo>
                  <a:cubicBezTo>
                    <a:pt x="6942639" y="8733656"/>
                    <a:pt x="6938628" y="8737668"/>
                    <a:pt x="6933679" y="8737668"/>
                  </a:cubicBezTo>
                  <a:cubicBezTo>
                    <a:pt x="6928730" y="8737668"/>
                    <a:pt x="6924718" y="8733656"/>
                    <a:pt x="6924718" y="8728708"/>
                  </a:cubicBezTo>
                  <a:cubicBezTo>
                    <a:pt x="6924718" y="8723759"/>
                    <a:pt x="6928730" y="8719747"/>
                    <a:pt x="6933679" y="8719747"/>
                  </a:cubicBezTo>
                  <a:close/>
                  <a:moveTo>
                    <a:pt x="6763357" y="8719747"/>
                  </a:moveTo>
                  <a:cubicBezTo>
                    <a:pt x="6768306" y="8719747"/>
                    <a:pt x="6772318" y="8723759"/>
                    <a:pt x="6772318" y="8728708"/>
                  </a:cubicBezTo>
                  <a:cubicBezTo>
                    <a:pt x="6772318" y="8733656"/>
                    <a:pt x="6768306" y="8737668"/>
                    <a:pt x="6763357" y="8737668"/>
                  </a:cubicBezTo>
                  <a:cubicBezTo>
                    <a:pt x="6758408" y="8737668"/>
                    <a:pt x="6754397" y="8733656"/>
                    <a:pt x="6754397" y="8728708"/>
                  </a:cubicBezTo>
                  <a:cubicBezTo>
                    <a:pt x="6754397" y="8723759"/>
                    <a:pt x="6758408" y="8719747"/>
                    <a:pt x="6763357" y="8719747"/>
                  </a:cubicBezTo>
                  <a:close/>
                  <a:moveTo>
                    <a:pt x="6593035" y="8719747"/>
                  </a:moveTo>
                  <a:cubicBezTo>
                    <a:pt x="6597984" y="8719747"/>
                    <a:pt x="6601996" y="8723759"/>
                    <a:pt x="6601996" y="8728708"/>
                  </a:cubicBezTo>
                  <a:cubicBezTo>
                    <a:pt x="6601996" y="8733656"/>
                    <a:pt x="6597984" y="8737668"/>
                    <a:pt x="6593035" y="8737668"/>
                  </a:cubicBezTo>
                  <a:cubicBezTo>
                    <a:pt x="6588086" y="8737668"/>
                    <a:pt x="6584075" y="8733656"/>
                    <a:pt x="6584075" y="8728708"/>
                  </a:cubicBezTo>
                  <a:cubicBezTo>
                    <a:pt x="6584075" y="8723759"/>
                    <a:pt x="6588086" y="8719747"/>
                    <a:pt x="6593035" y="8719747"/>
                  </a:cubicBezTo>
                  <a:close/>
                  <a:moveTo>
                    <a:pt x="6424294" y="8719747"/>
                  </a:moveTo>
                  <a:cubicBezTo>
                    <a:pt x="6429243" y="8719747"/>
                    <a:pt x="6433255" y="8723759"/>
                    <a:pt x="6433255" y="8728708"/>
                  </a:cubicBezTo>
                  <a:cubicBezTo>
                    <a:pt x="6433255" y="8733656"/>
                    <a:pt x="6429243" y="8737668"/>
                    <a:pt x="6424294" y="8737668"/>
                  </a:cubicBezTo>
                  <a:cubicBezTo>
                    <a:pt x="6419345" y="8737668"/>
                    <a:pt x="6415334" y="8733656"/>
                    <a:pt x="6415334" y="8728708"/>
                  </a:cubicBezTo>
                  <a:cubicBezTo>
                    <a:pt x="6415334" y="8723759"/>
                    <a:pt x="6419345" y="8719747"/>
                    <a:pt x="6424294" y="8719747"/>
                  </a:cubicBezTo>
                  <a:close/>
                  <a:moveTo>
                    <a:pt x="6255553" y="8719747"/>
                  </a:moveTo>
                  <a:cubicBezTo>
                    <a:pt x="6260502" y="8719747"/>
                    <a:pt x="6264514" y="8723759"/>
                    <a:pt x="6264514" y="8728708"/>
                  </a:cubicBezTo>
                  <a:cubicBezTo>
                    <a:pt x="6264514" y="8733656"/>
                    <a:pt x="6260502" y="8737668"/>
                    <a:pt x="6255553" y="8737668"/>
                  </a:cubicBezTo>
                  <a:cubicBezTo>
                    <a:pt x="6250604" y="8737668"/>
                    <a:pt x="6246593" y="8733656"/>
                    <a:pt x="6246593" y="8728708"/>
                  </a:cubicBezTo>
                  <a:cubicBezTo>
                    <a:pt x="6246593" y="8723759"/>
                    <a:pt x="6250604" y="8719747"/>
                    <a:pt x="6255553" y="8719747"/>
                  </a:cubicBezTo>
                  <a:close/>
                  <a:moveTo>
                    <a:pt x="6086811" y="8719747"/>
                  </a:moveTo>
                  <a:cubicBezTo>
                    <a:pt x="6091760" y="8719747"/>
                    <a:pt x="6095772" y="8723759"/>
                    <a:pt x="6095772" y="8728708"/>
                  </a:cubicBezTo>
                  <a:cubicBezTo>
                    <a:pt x="6095772" y="8733656"/>
                    <a:pt x="6091760" y="8737668"/>
                    <a:pt x="6086811" y="8737668"/>
                  </a:cubicBezTo>
                  <a:cubicBezTo>
                    <a:pt x="6081862" y="8737668"/>
                    <a:pt x="6077851" y="8733656"/>
                    <a:pt x="6077851" y="8728708"/>
                  </a:cubicBezTo>
                  <a:cubicBezTo>
                    <a:pt x="6077851" y="8723759"/>
                    <a:pt x="6081862" y="8719747"/>
                    <a:pt x="6086811" y="8719747"/>
                  </a:cubicBezTo>
                  <a:close/>
                  <a:moveTo>
                    <a:pt x="5918069" y="8719747"/>
                  </a:moveTo>
                  <a:cubicBezTo>
                    <a:pt x="5923018" y="8719747"/>
                    <a:pt x="5927030" y="8723759"/>
                    <a:pt x="5927030" y="8728708"/>
                  </a:cubicBezTo>
                  <a:cubicBezTo>
                    <a:pt x="5927030" y="8733656"/>
                    <a:pt x="5923018" y="8737668"/>
                    <a:pt x="5918069" y="8737668"/>
                  </a:cubicBezTo>
                  <a:cubicBezTo>
                    <a:pt x="5913120" y="8737668"/>
                    <a:pt x="5909109" y="8733656"/>
                    <a:pt x="5909109" y="8728708"/>
                  </a:cubicBezTo>
                  <a:cubicBezTo>
                    <a:pt x="5909109" y="8723759"/>
                    <a:pt x="5913120" y="8719747"/>
                    <a:pt x="5918069" y="8719747"/>
                  </a:cubicBezTo>
                  <a:close/>
                  <a:moveTo>
                    <a:pt x="5749328" y="8719747"/>
                  </a:moveTo>
                  <a:cubicBezTo>
                    <a:pt x="5754277" y="8719747"/>
                    <a:pt x="5758289" y="8723759"/>
                    <a:pt x="5758289" y="8728708"/>
                  </a:cubicBezTo>
                  <a:cubicBezTo>
                    <a:pt x="5758289" y="8733656"/>
                    <a:pt x="5754277" y="8737668"/>
                    <a:pt x="5749328" y="8737668"/>
                  </a:cubicBezTo>
                  <a:cubicBezTo>
                    <a:pt x="5744379" y="8737668"/>
                    <a:pt x="5740368" y="8733656"/>
                    <a:pt x="5740368" y="8728708"/>
                  </a:cubicBezTo>
                  <a:cubicBezTo>
                    <a:pt x="5740368" y="8723759"/>
                    <a:pt x="5744379" y="8719747"/>
                    <a:pt x="5749328" y="8719747"/>
                  </a:cubicBezTo>
                  <a:close/>
                  <a:moveTo>
                    <a:pt x="5580586" y="8719747"/>
                  </a:moveTo>
                  <a:cubicBezTo>
                    <a:pt x="5585535" y="8719747"/>
                    <a:pt x="5589547" y="8723759"/>
                    <a:pt x="5589547" y="8728708"/>
                  </a:cubicBezTo>
                  <a:cubicBezTo>
                    <a:pt x="5589547" y="8733656"/>
                    <a:pt x="5585535" y="8737668"/>
                    <a:pt x="5580586" y="8737668"/>
                  </a:cubicBezTo>
                  <a:cubicBezTo>
                    <a:pt x="5575637" y="8737668"/>
                    <a:pt x="5571626" y="8733656"/>
                    <a:pt x="5571626" y="8728708"/>
                  </a:cubicBezTo>
                  <a:cubicBezTo>
                    <a:pt x="5571626" y="8723759"/>
                    <a:pt x="5575637" y="8719747"/>
                    <a:pt x="5580586" y="8719747"/>
                  </a:cubicBezTo>
                  <a:close/>
                  <a:moveTo>
                    <a:pt x="5411845" y="8719747"/>
                  </a:moveTo>
                  <a:cubicBezTo>
                    <a:pt x="5416794" y="8719747"/>
                    <a:pt x="5420806" y="8723759"/>
                    <a:pt x="5420806" y="8728708"/>
                  </a:cubicBezTo>
                  <a:cubicBezTo>
                    <a:pt x="5420806" y="8733656"/>
                    <a:pt x="5416794" y="8737668"/>
                    <a:pt x="5411845" y="8737668"/>
                  </a:cubicBezTo>
                  <a:cubicBezTo>
                    <a:pt x="5406896" y="8737668"/>
                    <a:pt x="5402885" y="8733656"/>
                    <a:pt x="5402885" y="8728708"/>
                  </a:cubicBezTo>
                  <a:cubicBezTo>
                    <a:pt x="5402885" y="8723759"/>
                    <a:pt x="5406896" y="8719747"/>
                    <a:pt x="5411845" y="8719747"/>
                  </a:cubicBezTo>
                  <a:close/>
                  <a:moveTo>
                    <a:pt x="5243103" y="8719747"/>
                  </a:moveTo>
                  <a:cubicBezTo>
                    <a:pt x="5248052" y="8719747"/>
                    <a:pt x="5252064" y="8723759"/>
                    <a:pt x="5252064" y="8728708"/>
                  </a:cubicBezTo>
                  <a:cubicBezTo>
                    <a:pt x="5252064" y="8733656"/>
                    <a:pt x="5248052" y="8737668"/>
                    <a:pt x="5243103" y="8737668"/>
                  </a:cubicBezTo>
                  <a:cubicBezTo>
                    <a:pt x="5238154" y="8737668"/>
                    <a:pt x="5234143" y="8733656"/>
                    <a:pt x="5234143" y="8728708"/>
                  </a:cubicBezTo>
                  <a:cubicBezTo>
                    <a:pt x="5234143" y="8723759"/>
                    <a:pt x="5238154" y="8719747"/>
                    <a:pt x="5243103" y="8719747"/>
                  </a:cubicBezTo>
                  <a:close/>
                  <a:moveTo>
                    <a:pt x="5074362" y="8719747"/>
                  </a:moveTo>
                  <a:cubicBezTo>
                    <a:pt x="5079311" y="8719747"/>
                    <a:pt x="5083323" y="8723759"/>
                    <a:pt x="5083323" y="8728708"/>
                  </a:cubicBezTo>
                  <a:cubicBezTo>
                    <a:pt x="5083323" y="8733656"/>
                    <a:pt x="5079311" y="8737668"/>
                    <a:pt x="5074362" y="8737668"/>
                  </a:cubicBezTo>
                  <a:cubicBezTo>
                    <a:pt x="5069413" y="8737668"/>
                    <a:pt x="5065402" y="8733656"/>
                    <a:pt x="5065402" y="8728708"/>
                  </a:cubicBezTo>
                  <a:cubicBezTo>
                    <a:pt x="5065402" y="8723759"/>
                    <a:pt x="5069413" y="8719747"/>
                    <a:pt x="5074362" y="8719747"/>
                  </a:cubicBezTo>
                  <a:close/>
                  <a:moveTo>
                    <a:pt x="4905620" y="8719747"/>
                  </a:moveTo>
                  <a:cubicBezTo>
                    <a:pt x="4910569" y="8719747"/>
                    <a:pt x="4914581" y="8723759"/>
                    <a:pt x="4914581" y="8728708"/>
                  </a:cubicBezTo>
                  <a:cubicBezTo>
                    <a:pt x="4914581" y="8733656"/>
                    <a:pt x="4910569" y="8737668"/>
                    <a:pt x="4905620" y="8737668"/>
                  </a:cubicBezTo>
                  <a:cubicBezTo>
                    <a:pt x="4900671" y="8737668"/>
                    <a:pt x="4896660" y="8733656"/>
                    <a:pt x="4896660" y="8728708"/>
                  </a:cubicBezTo>
                  <a:cubicBezTo>
                    <a:pt x="4896660" y="8723759"/>
                    <a:pt x="4900671" y="8719747"/>
                    <a:pt x="4905620" y="8719747"/>
                  </a:cubicBezTo>
                  <a:close/>
                  <a:moveTo>
                    <a:pt x="4736878" y="8719747"/>
                  </a:moveTo>
                  <a:cubicBezTo>
                    <a:pt x="4741827" y="8719747"/>
                    <a:pt x="4745839" y="8723759"/>
                    <a:pt x="4745839" y="8728708"/>
                  </a:cubicBezTo>
                  <a:cubicBezTo>
                    <a:pt x="4745839" y="8733656"/>
                    <a:pt x="4741827" y="8737668"/>
                    <a:pt x="4736878" y="8737668"/>
                  </a:cubicBezTo>
                  <a:cubicBezTo>
                    <a:pt x="4731929" y="8737668"/>
                    <a:pt x="4727918" y="8733656"/>
                    <a:pt x="4727918" y="8728708"/>
                  </a:cubicBezTo>
                  <a:cubicBezTo>
                    <a:pt x="4727918" y="8723759"/>
                    <a:pt x="4731929" y="8719747"/>
                    <a:pt x="4736878" y="8719747"/>
                  </a:cubicBezTo>
                  <a:close/>
                  <a:moveTo>
                    <a:pt x="4568137" y="8719747"/>
                  </a:moveTo>
                  <a:cubicBezTo>
                    <a:pt x="4573086" y="8719747"/>
                    <a:pt x="4577098" y="8723759"/>
                    <a:pt x="4577098" y="8728708"/>
                  </a:cubicBezTo>
                  <a:cubicBezTo>
                    <a:pt x="4577098" y="8733656"/>
                    <a:pt x="4573086" y="8737668"/>
                    <a:pt x="4568137" y="8737668"/>
                  </a:cubicBezTo>
                  <a:cubicBezTo>
                    <a:pt x="4563188" y="8737668"/>
                    <a:pt x="4559177" y="8733656"/>
                    <a:pt x="4559177" y="8728708"/>
                  </a:cubicBezTo>
                  <a:cubicBezTo>
                    <a:pt x="4559177" y="8723759"/>
                    <a:pt x="4563188" y="8719747"/>
                    <a:pt x="4568137" y="8719747"/>
                  </a:cubicBezTo>
                  <a:close/>
                  <a:moveTo>
                    <a:pt x="4399396" y="8719747"/>
                  </a:moveTo>
                  <a:cubicBezTo>
                    <a:pt x="4404345" y="8719747"/>
                    <a:pt x="4408357" y="8723759"/>
                    <a:pt x="4408357" y="8728708"/>
                  </a:cubicBezTo>
                  <a:cubicBezTo>
                    <a:pt x="4408357" y="8733656"/>
                    <a:pt x="4404345" y="8737668"/>
                    <a:pt x="4399396" y="8737668"/>
                  </a:cubicBezTo>
                  <a:cubicBezTo>
                    <a:pt x="4394447" y="8737668"/>
                    <a:pt x="4390436" y="8733656"/>
                    <a:pt x="4390436" y="8728708"/>
                  </a:cubicBezTo>
                  <a:cubicBezTo>
                    <a:pt x="4390436" y="8723759"/>
                    <a:pt x="4394447" y="8719747"/>
                    <a:pt x="4399396" y="8719747"/>
                  </a:cubicBezTo>
                  <a:close/>
                  <a:moveTo>
                    <a:pt x="4230654" y="8719747"/>
                  </a:moveTo>
                  <a:cubicBezTo>
                    <a:pt x="4235603" y="8719747"/>
                    <a:pt x="4239615" y="8723759"/>
                    <a:pt x="4239615" y="8728708"/>
                  </a:cubicBezTo>
                  <a:cubicBezTo>
                    <a:pt x="4239615" y="8733656"/>
                    <a:pt x="4235603" y="8737668"/>
                    <a:pt x="4230654" y="8737668"/>
                  </a:cubicBezTo>
                  <a:cubicBezTo>
                    <a:pt x="4225705" y="8737668"/>
                    <a:pt x="4221694" y="8733656"/>
                    <a:pt x="4221694" y="8728708"/>
                  </a:cubicBezTo>
                  <a:cubicBezTo>
                    <a:pt x="4221694" y="8723759"/>
                    <a:pt x="4225705" y="8719747"/>
                    <a:pt x="4230654" y="8719747"/>
                  </a:cubicBezTo>
                  <a:close/>
                  <a:moveTo>
                    <a:pt x="4061912" y="8719747"/>
                  </a:moveTo>
                  <a:cubicBezTo>
                    <a:pt x="4066861" y="8719747"/>
                    <a:pt x="4070873" y="8723759"/>
                    <a:pt x="4070873" y="8728708"/>
                  </a:cubicBezTo>
                  <a:cubicBezTo>
                    <a:pt x="4070873" y="8733656"/>
                    <a:pt x="4066861" y="8737668"/>
                    <a:pt x="4061912" y="8737668"/>
                  </a:cubicBezTo>
                  <a:cubicBezTo>
                    <a:pt x="4056963" y="8737668"/>
                    <a:pt x="4052952" y="8733656"/>
                    <a:pt x="4052952" y="8728708"/>
                  </a:cubicBezTo>
                  <a:cubicBezTo>
                    <a:pt x="4052952" y="8723759"/>
                    <a:pt x="4056963" y="8719747"/>
                    <a:pt x="4061912" y="8719747"/>
                  </a:cubicBezTo>
                  <a:close/>
                  <a:moveTo>
                    <a:pt x="3893170" y="8719747"/>
                  </a:moveTo>
                  <a:cubicBezTo>
                    <a:pt x="3898119" y="8719747"/>
                    <a:pt x="3902131" y="8723759"/>
                    <a:pt x="3902131" y="8728708"/>
                  </a:cubicBezTo>
                  <a:cubicBezTo>
                    <a:pt x="3902131" y="8733656"/>
                    <a:pt x="3898119" y="8737668"/>
                    <a:pt x="3893170" y="8737668"/>
                  </a:cubicBezTo>
                  <a:cubicBezTo>
                    <a:pt x="3888221" y="8737668"/>
                    <a:pt x="3884210" y="8733656"/>
                    <a:pt x="3884210" y="8728708"/>
                  </a:cubicBezTo>
                  <a:cubicBezTo>
                    <a:pt x="3884210" y="8723759"/>
                    <a:pt x="3888221" y="8719747"/>
                    <a:pt x="3893170" y="8719747"/>
                  </a:cubicBezTo>
                  <a:close/>
                  <a:moveTo>
                    <a:pt x="3724429" y="8719747"/>
                  </a:moveTo>
                  <a:cubicBezTo>
                    <a:pt x="3729378" y="8719747"/>
                    <a:pt x="3733390" y="8723759"/>
                    <a:pt x="3733390" y="8728708"/>
                  </a:cubicBezTo>
                  <a:cubicBezTo>
                    <a:pt x="3733390" y="8733656"/>
                    <a:pt x="3729378" y="8737668"/>
                    <a:pt x="3724429" y="8737668"/>
                  </a:cubicBezTo>
                  <a:cubicBezTo>
                    <a:pt x="3719481" y="8737668"/>
                    <a:pt x="3715469" y="8733656"/>
                    <a:pt x="3715469" y="8728708"/>
                  </a:cubicBezTo>
                  <a:cubicBezTo>
                    <a:pt x="3715469" y="8723759"/>
                    <a:pt x="3719481" y="8719747"/>
                    <a:pt x="3724429" y="8719747"/>
                  </a:cubicBezTo>
                  <a:close/>
                  <a:moveTo>
                    <a:pt x="3555688" y="8719747"/>
                  </a:moveTo>
                  <a:cubicBezTo>
                    <a:pt x="3560637" y="8719747"/>
                    <a:pt x="3564649" y="8723759"/>
                    <a:pt x="3564649" y="8728708"/>
                  </a:cubicBezTo>
                  <a:cubicBezTo>
                    <a:pt x="3564649" y="8733656"/>
                    <a:pt x="3560637" y="8737668"/>
                    <a:pt x="3555688" y="8737668"/>
                  </a:cubicBezTo>
                  <a:cubicBezTo>
                    <a:pt x="3550740" y="8737668"/>
                    <a:pt x="3546728" y="8733656"/>
                    <a:pt x="3546728" y="8728708"/>
                  </a:cubicBezTo>
                  <a:cubicBezTo>
                    <a:pt x="3546728" y="8723759"/>
                    <a:pt x="3550740" y="8719747"/>
                    <a:pt x="3555688" y="8719747"/>
                  </a:cubicBezTo>
                  <a:close/>
                  <a:moveTo>
                    <a:pt x="3386957" y="8719747"/>
                  </a:moveTo>
                  <a:cubicBezTo>
                    <a:pt x="3391905" y="8719747"/>
                    <a:pt x="3395918" y="8723759"/>
                    <a:pt x="3395918" y="8728708"/>
                  </a:cubicBezTo>
                  <a:cubicBezTo>
                    <a:pt x="3395918" y="8733656"/>
                    <a:pt x="3391905" y="8737668"/>
                    <a:pt x="3386957" y="8737668"/>
                  </a:cubicBezTo>
                  <a:cubicBezTo>
                    <a:pt x="3382004" y="8737668"/>
                    <a:pt x="3377991" y="8733656"/>
                    <a:pt x="3377991" y="8728708"/>
                  </a:cubicBezTo>
                  <a:cubicBezTo>
                    <a:pt x="3377991" y="8723759"/>
                    <a:pt x="3382004" y="8719747"/>
                    <a:pt x="3386957" y="8719747"/>
                  </a:cubicBezTo>
                  <a:close/>
                  <a:moveTo>
                    <a:pt x="3218215" y="8719747"/>
                  </a:moveTo>
                  <a:cubicBezTo>
                    <a:pt x="3223162" y="8719747"/>
                    <a:pt x="3227174" y="8723759"/>
                    <a:pt x="3227174" y="8728708"/>
                  </a:cubicBezTo>
                  <a:cubicBezTo>
                    <a:pt x="3227174" y="8733656"/>
                    <a:pt x="3223162" y="8737668"/>
                    <a:pt x="3218215" y="8737668"/>
                  </a:cubicBezTo>
                  <a:cubicBezTo>
                    <a:pt x="3213263" y="8737668"/>
                    <a:pt x="3209255" y="8733656"/>
                    <a:pt x="3209255" y="8728708"/>
                  </a:cubicBezTo>
                  <a:cubicBezTo>
                    <a:pt x="3209255" y="8723759"/>
                    <a:pt x="3213263" y="8719747"/>
                    <a:pt x="3218215" y="8719747"/>
                  </a:cubicBezTo>
                  <a:close/>
                  <a:moveTo>
                    <a:pt x="3049479" y="8719747"/>
                  </a:moveTo>
                  <a:cubicBezTo>
                    <a:pt x="3054423" y="8719747"/>
                    <a:pt x="3058436" y="8723759"/>
                    <a:pt x="3058436" y="8728708"/>
                  </a:cubicBezTo>
                  <a:cubicBezTo>
                    <a:pt x="3058436" y="8733656"/>
                    <a:pt x="3054423" y="8737668"/>
                    <a:pt x="3049479" y="8737668"/>
                  </a:cubicBezTo>
                  <a:cubicBezTo>
                    <a:pt x="3044526" y="8737668"/>
                    <a:pt x="3040514" y="8733656"/>
                    <a:pt x="3040514" y="8728708"/>
                  </a:cubicBezTo>
                  <a:cubicBezTo>
                    <a:pt x="3040514" y="8723759"/>
                    <a:pt x="3044526" y="8719747"/>
                    <a:pt x="3049479" y="8719747"/>
                  </a:cubicBezTo>
                  <a:close/>
                  <a:moveTo>
                    <a:pt x="2880736" y="8719747"/>
                  </a:moveTo>
                  <a:cubicBezTo>
                    <a:pt x="2885684" y="8719747"/>
                    <a:pt x="2889697" y="8723759"/>
                    <a:pt x="2889697" y="8728708"/>
                  </a:cubicBezTo>
                  <a:cubicBezTo>
                    <a:pt x="2889697" y="8733656"/>
                    <a:pt x="2885684" y="8737668"/>
                    <a:pt x="2880736" y="8737668"/>
                  </a:cubicBezTo>
                  <a:cubicBezTo>
                    <a:pt x="2875787" y="8737668"/>
                    <a:pt x="2871776" y="8733656"/>
                    <a:pt x="2871776" y="8728708"/>
                  </a:cubicBezTo>
                  <a:cubicBezTo>
                    <a:pt x="2871776" y="8723759"/>
                    <a:pt x="2875787" y="8719747"/>
                    <a:pt x="2880736" y="8719747"/>
                  </a:cubicBezTo>
                  <a:close/>
                  <a:moveTo>
                    <a:pt x="2711993" y="8719747"/>
                  </a:moveTo>
                  <a:cubicBezTo>
                    <a:pt x="2716941" y="8719747"/>
                    <a:pt x="2720956" y="8723759"/>
                    <a:pt x="2720956" y="8728708"/>
                  </a:cubicBezTo>
                  <a:cubicBezTo>
                    <a:pt x="2720956" y="8733656"/>
                    <a:pt x="2716941" y="8737668"/>
                    <a:pt x="2711993" y="8737668"/>
                  </a:cubicBezTo>
                  <a:cubicBezTo>
                    <a:pt x="2707047" y="8737668"/>
                    <a:pt x="2703035" y="8733656"/>
                    <a:pt x="2703035" y="8728708"/>
                  </a:cubicBezTo>
                  <a:cubicBezTo>
                    <a:pt x="2703035" y="8723759"/>
                    <a:pt x="2707047" y="8719747"/>
                    <a:pt x="2711993" y="8719747"/>
                  </a:cubicBezTo>
                  <a:close/>
                  <a:moveTo>
                    <a:pt x="2543254" y="8719747"/>
                  </a:moveTo>
                  <a:cubicBezTo>
                    <a:pt x="2548208" y="8719747"/>
                    <a:pt x="2552215" y="8723759"/>
                    <a:pt x="2552215" y="8728708"/>
                  </a:cubicBezTo>
                  <a:cubicBezTo>
                    <a:pt x="2552215" y="8733656"/>
                    <a:pt x="2548208" y="8737668"/>
                    <a:pt x="2543254" y="8737668"/>
                  </a:cubicBezTo>
                  <a:cubicBezTo>
                    <a:pt x="2538306" y="8737668"/>
                    <a:pt x="2534295" y="8733656"/>
                    <a:pt x="2534295" y="8728708"/>
                  </a:cubicBezTo>
                  <a:cubicBezTo>
                    <a:pt x="2534295" y="8723759"/>
                    <a:pt x="2538306" y="8719747"/>
                    <a:pt x="2543254" y="8719747"/>
                  </a:cubicBezTo>
                  <a:close/>
                  <a:moveTo>
                    <a:pt x="2374510" y="8719747"/>
                  </a:moveTo>
                  <a:cubicBezTo>
                    <a:pt x="2379460" y="8719747"/>
                    <a:pt x="2383474" y="8723759"/>
                    <a:pt x="2383474" y="8728708"/>
                  </a:cubicBezTo>
                  <a:cubicBezTo>
                    <a:pt x="2383474" y="8733656"/>
                    <a:pt x="2379460" y="8737668"/>
                    <a:pt x="2374510" y="8737668"/>
                  </a:cubicBezTo>
                  <a:cubicBezTo>
                    <a:pt x="2369561" y="8737668"/>
                    <a:pt x="2365548" y="8733656"/>
                    <a:pt x="2365548" y="8728708"/>
                  </a:cubicBezTo>
                  <a:cubicBezTo>
                    <a:pt x="2365548" y="8723759"/>
                    <a:pt x="2369561" y="8719747"/>
                    <a:pt x="2374510" y="8719747"/>
                  </a:cubicBezTo>
                  <a:close/>
                  <a:moveTo>
                    <a:pt x="2205770" y="8719747"/>
                  </a:moveTo>
                  <a:cubicBezTo>
                    <a:pt x="2210719" y="8719747"/>
                    <a:pt x="2214732" y="8723759"/>
                    <a:pt x="2214732" y="8728708"/>
                  </a:cubicBezTo>
                  <a:cubicBezTo>
                    <a:pt x="2214732" y="8733656"/>
                    <a:pt x="2210719" y="8737668"/>
                    <a:pt x="2205770" y="8737668"/>
                  </a:cubicBezTo>
                  <a:cubicBezTo>
                    <a:pt x="2200822" y="8737668"/>
                    <a:pt x="2196812" y="8733656"/>
                    <a:pt x="2196812" y="8728708"/>
                  </a:cubicBezTo>
                  <a:cubicBezTo>
                    <a:pt x="2196812" y="8723759"/>
                    <a:pt x="2200822" y="8719747"/>
                    <a:pt x="2205770" y="8719747"/>
                  </a:cubicBezTo>
                  <a:close/>
                  <a:moveTo>
                    <a:pt x="2037030" y="8719747"/>
                  </a:moveTo>
                  <a:cubicBezTo>
                    <a:pt x="2041979" y="8719747"/>
                    <a:pt x="2045989" y="8723759"/>
                    <a:pt x="2045989" y="8728708"/>
                  </a:cubicBezTo>
                  <a:cubicBezTo>
                    <a:pt x="2045989" y="8733656"/>
                    <a:pt x="2041979" y="8737668"/>
                    <a:pt x="2037030" y="8737668"/>
                  </a:cubicBezTo>
                  <a:cubicBezTo>
                    <a:pt x="2032083" y="8737668"/>
                    <a:pt x="2028071" y="8733656"/>
                    <a:pt x="2028071" y="8728708"/>
                  </a:cubicBezTo>
                  <a:cubicBezTo>
                    <a:pt x="2028071" y="8723759"/>
                    <a:pt x="2032083" y="8719747"/>
                    <a:pt x="2037030" y="8719747"/>
                  </a:cubicBezTo>
                  <a:close/>
                  <a:moveTo>
                    <a:pt x="1868292" y="8719747"/>
                  </a:moveTo>
                  <a:cubicBezTo>
                    <a:pt x="1873239" y="8719747"/>
                    <a:pt x="1877250" y="8723759"/>
                    <a:pt x="1877250" y="8728708"/>
                  </a:cubicBezTo>
                  <a:cubicBezTo>
                    <a:pt x="1877250" y="8733656"/>
                    <a:pt x="1873239" y="8737668"/>
                    <a:pt x="1868292" y="8737668"/>
                  </a:cubicBezTo>
                  <a:cubicBezTo>
                    <a:pt x="1863343" y="8737668"/>
                    <a:pt x="1859329" y="8733656"/>
                    <a:pt x="1859329" y="8728708"/>
                  </a:cubicBezTo>
                  <a:cubicBezTo>
                    <a:pt x="1859329" y="8723759"/>
                    <a:pt x="1863343" y="8719747"/>
                    <a:pt x="1868292" y="8719747"/>
                  </a:cubicBezTo>
                  <a:close/>
                  <a:moveTo>
                    <a:pt x="1699550" y="8719747"/>
                  </a:moveTo>
                  <a:cubicBezTo>
                    <a:pt x="1704499" y="8719747"/>
                    <a:pt x="1708510" y="8723759"/>
                    <a:pt x="1708510" y="8728708"/>
                  </a:cubicBezTo>
                  <a:cubicBezTo>
                    <a:pt x="1708510" y="8733656"/>
                    <a:pt x="1704499" y="8737668"/>
                    <a:pt x="1699550" y="8737668"/>
                  </a:cubicBezTo>
                  <a:cubicBezTo>
                    <a:pt x="1694600" y="8737668"/>
                    <a:pt x="1690589" y="8733656"/>
                    <a:pt x="1690589" y="8728708"/>
                  </a:cubicBezTo>
                  <a:cubicBezTo>
                    <a:pt x="1690589" y="8723759"/>
                    <a:pt x="1694600" y="8719747"/>
                    <a:pt x="1699550" y="8719747"/>
                  </a:cubicBezTo>
                  <a:close/>
                  <a:moveTo>
                    <a:pt x="1530807" y="8719747"/>
                  </a:moveTo>
                  <a:cubicBezTo>
                    <a:pt x="1535756" y="8719747"/>
                    <a:pt x="1539768" y="8723759"/>
                    <a:pt x="1539768" y="8728708"/>
                  </a:cubicBezTo>
                  <a:cubicBezTo>
                    <a:pt x="1539768" y="8733656"/>
                    <a:pt x="1535756" y="8737668"/>
                    <a:pt x="1530807" y="8737668"/>
                  </a:cubicBezTo>
                  <a:cubicBezTo>
                    <a:pt x="1525859" y="8737668"/>
                    <a:pt x="1521847" y="8733656"/>
                    <a:pt x="1521847" y="8728708"/>
                  </a:cubicBezTo>
                  <a:cubicBezTo>
                    <a:pt x="1521847" y="8723759"/>
                    <a:pt x="1525859" y="8719747"/>
                    <a:pt x="1530807" y="8719747"/>
                  </a:cubicBezTo>
                  <a:close/>
                  <a:moveTo>
                    <a:pt x="1362065" y="8719747"/>
                  </a:moveTo>
                  <a:cubicBezTo>
                    <a:pt x="1367013" y="8719747"/>
                    <a:pt x="1371025" y="8723759"/>
                    <a:pt x="1371025" y="8728708"/>
                  </a:cubicBezTo>
                  <a:cubicBezTo>
                    <a:pt x="1371025" y="8733656"/>
                    <a:pt x="1367013" y="8737668"/>
                    <a:pt x="1362065" y="8737668"/>
                  </a:cubicBezTo>
                  <a:cubicBezTo>
                    <a:pt x="1357115" y="8737668"/>
                    <a:pt x="1353104" y="8733656"/>
                    <a:pt x="1353104" y="8728708"/>
                  </a:cubicBezTo>
                  <a:cubicBezTo>
                    <a:pt x="1353104" y="8723759"/>
                    <a:pt x="1357115" y="8719747"/>
                    <a:pt x="1362065" y="8719747"/>
                  </a:cubicBezTo>
                  <a:close/>
                  <a:moveTo>
                    <a:pt x="1193323" y="8719747"/>
                  </a:moveTo>
                  <a:cubicBezTo>
                    <a:pt x="1198272" y="8719747"/>
                    <a:pt x="1202284" y="8723759"/>
                    <a:pt x="1202284" y="8728708"/>
                  </a:cubicBezTo>
                  <a:cubicBezTo>
                    <a:pt x="1202284" y="8733656"/>
                    <a:pt x="1198272" y="8737668"/>
                    <a:pt x="1193323" y="8737668"/>
                  </a:cubicBezTo>
                  <a:cubicBezTo>
                    <a:pt x="1188375" y="8737668"/>
                    <a:pt x="1184363" y="8733656"/>
                    <a:pt x="1184363" y="8728708"/>
                  </a:cubicBezTo>
                  <a:cubicBezTo>
                    <a:pt x="1184363" y="8723759"/>
                    <a:pt x="1188375" y="8719747"/>
                    <a:pt x="1193323" y="8719747"/>
                  </a:cubicBezTo>
                  <a:close/>
                  <a:moveTo>
                    <a:pt x="1024581" y="8719747"/>
                  </a:moveTo>
                  <a:cubicBezTo>
                    <a:pt x="1029530" y="8719747"/>
                    <a:pt x="1033543" y="8723759"/>
                    <a:pt x="1033543" y="8728708"/>
                  </a:cubicBezTo>
                  <a:cubicBezTo>
                    <a:pt x="1033543" y="8733656"/>
                    <a:pt x="1029530" y="8737668"/>
                    <a:pt x="1024581" y="8737668"/>
                  </a:cubicBezTo>
                  <a:cubicBezTo>
                    <a:pt x="1019633" y="8737668"/>
                    <a:pt x="1015621" y="8733656"/>
                    <a:pt x="1015621" y="8728708"/>
                  </a:cubicBezTo>
                  <a:cubicBezTo>
                    <a:pt x="1015621" y="8723759"/>
                    <a:pt x="1019633" y="8719747"/>
                    <a:pt x="1024581" y="8719747"/>
                  </a:cubicBezTo>
                  <a:close/>
                  <a:moveTo>
                    <a:pt x="855841" y="8719747"/>
                  </a:moveTo>
                  <a:cubicBezTo>
                    <a:pt x="860790" y="8719747"/>
                    <a:pt x="864801" y="8723759"/>
                    <a:pt x="864801" y="8728708"/>
                  </a:cubicBezTo>
                  <a:cubicBezTo>
                    <a:pt x="864801" y="8733656"/>
                    <a:pt x="860790" y="8737668"/>
                    <a:pt x="855841" y="8737668"/>
                  </a:cubicBezTo>
                  <a:cubicBezTo>
                    <a:pt x="850891" y="8737668"/>
                    <a:pt x="846880" y="8733656"/>
                    <a:pt x="846880" y="8728708"/>
                  </a:cubicBezTo>
                  <a:cubicBezTo>
                    <a:pt x="846880" y="8723759"/>
                    <a:pt x="850891" y="8719747"/>
                    <a:pt x="855841" y="8719747"/>
                  </a:cubicBezTo>
                  <a:close/>
                  <a:moveTo>
                    <a:pt x="687099" y="8719747"/>
                  </a:moveTo>
                  <a:cubicBezTo>
                    <a:pt x="692048" y="8719747"/>
                    <a:pt x="696060" y="8723759"/>
                    <a:pt x="696060" y="8728708"/>
                  </a:cubicBezTo>
                  <a:cubicBezTo>
                    <a:pt x="696060" y="8733656"/>
                    <a:pt x="692048" y="8737668"/>
                    <a:pt x="687099" y="8737668"/>
                  </a:cubicBezTo>
                  <a:cubicBezTo>
                    <a:pt x="682151" y="8737668"/>
                    <a:pt x="678139" y="8733656"/>
                    <a:pt x="678139" y="8728708"/>
                  </a:cubicBezTo>
                  <a:cubicBezTo>
                    <a:pt x="678139" y="8723759"/>
                    <a:pt x="682151" y="8719747"/>
                    <a:pt x="687099" y="8719747"/>
                  </a:cubicBezTo>
                  <a:close/>
                  <a:moveTo>
                    <a:pt x="518354" y="8719747"/>
                  </a:moveTo>
                  <a:cubicBezTo>
                    <a:pt x="523303" y="8719747"/>
                    <a:pt x="527315" y="8723759"/>
                    <a:pt x="527315" y="8728708"/>
                  </a:cubicBezTo>
                  <a:cubicBezTo>
                    <a:pt x="527315" y="8733656"/>
                    <a:pt x="523303" y="8737668"/>
                    <a:pt x="518354" y="8737668"/>
                  </a:cubicBezTo>
                  <a:cubicBezTo>
                    <a:pt x="513406" y="8737668"/>
                    <a:pt x="509394" y="8733656"/>
                    <a:pt x="509394" y="8728708"/>
                  </a:cubicBezTo>
                  <a:cubicBezTo>
                    <a:pt x="509394" y="8723759"/>
                    <a:pt x="513406" y="8719747"/>
                    <a:pt x="518354" y="8719747"/>
                  </a:cubicBezTo>
                  <a:close/>
                  <a:moveTo>
                    <a:pt x="349614" y="8719747"/>
                  </a:moveTo>
                  <a:cubicBezTo>
                    <a:pt x="354563" y="8719747"/>
                    <a:pt x="358575" y="8723759"/>
                    <a:pt x="358575" y="8728708"/>
                  </a:cubicBezTo>
                  <a:cubicBezTo>
                    <a:pt x="358575" y="8733656"/>
                    <a:pt x="354563" y="8737668"/>
                    <a:pt x="349614" y="8737668"/>
                  </a:cubicBezTo>
                  <a:cubicBezTo>
                    <a:pt x="344665" y="8737668"/>
                    <a:pt x="340654" y="8733656"/>
                    <a:pt x="340654" y="8728708"/>
                  </a:cubicBezTo>
                  <a:cubicBezTo>
                    <a:pt x="340654" y="8723759"/>
                    <a:pt x="344665" y="8719747"/>
                    <a:pt x="349614" y="8719747"/>
                  </a:cubicBezTo>
                  <a:close/>
                  <a:moveTo>
                    <a:pt x="179293" y="8719747"/>
                  </a:moveTo>
                  <a:cubicBezTo>
                    <a:pt x="184242" y="8719747"/>
                    <a:pt x="188254" y="8723759"/>
                    <a:pt x="188254" y="8728708"/>
                  </a:cubicBezTo>
                  <a:cubicBezTo>
                    <a:pt x="188254" y="8733656"/>
                    <a:pt x="184242" y="8737668"/>
                    <a:pt x="179293" y="8737668"/>
                  </a:cubicBezTo>
                  <a:cubicBezTo>
                    <a:pt x="174345" y="8737668"/>
                    <a:pt x="170333" y="8733656"/>
                    <a:pt x="170333" y="8728708"/>
                  </a:cubicBezTo>
                  <a:cubicBezTo>
                    <a:pt x="170333" y="8723759"/>
                    <a:pt x="174345" y="8719747"/>
                    <a:pt x="179293" y="8719747"/>
                  </a:cubicBezTo>
                  <a:close/>
                  <a:moveTo>
                    <a:pt x="8973" y="8719747"/>
                  </a:moveTo>
                  <a:cubicBezTo>
                    <a:pt x="13921" y="8719747"/>
                    <a:pt x="17933" y="8723759"/>
                    <a:pt x="17933" y="8728708"/>
                  </a:cubicBezTo>
                  <a:cubicBezTo>
                    <a:pt x="17933" y="8733656"/>
                    <a:pt x="13921" y="8737668"/>
                    <a:pt x="8973" y="8737668"/>
                  </a:cubicBezTo>
                  <a:cubicBezTo>
                    <a:pt x="4024" y="8737668"/>
                    <a:pt x="12" y="8733656"/>
                    <a:pt x="12" y="8728708"/>
                  </a:cubicBezTo>
                  <a:cubicBezTo>
                    <a:pt x="12" y="8723759"/>
                    <a:pt x="4024" y="8719747"/>
                    <a:pt x="8973" y="8719747"/>
                  </a:cubicBezTo>
                  <a:close/>
                  <a:moveTo>
                    <a:pt x="6933679" y="8548766"/>
                  </a:moveTo>
                  <a:cubicBezTo>
                    <a:pt x="6938628" y="8548766"/>
                    <a:pt x="6942639" y="8552778"/>
                    <a:pt x="6942639" y="8557726"/>
                  </a:cubicBezTo>
                  <a:cubicBezTo>
                    <a:pt x="6942639" y="8562675"/>
                    <a:pt x="6938628" y="8566687"/>
                    <a:pt x="6933679" y="8566687"/>
                  </a:cubicBezTo>
                  <a:cubicBezTo>
                    <a:pt x="6928730" y="8566687"/>
                    <a:pt x="6924718" y="8562675"/>
                    <a:pt x="6924718" y="8557726"/>
                  </a:cubicBezTo>
                  <a:cubicBezTo>
                    <a:pt x="6924718" y="8552778"/>
                    <a:pt x="6928730" y="8548766"/>
                    <a:pt x="6933679" y="8548766"/>
                  </a:cubicBezTo>
                  <a:close/>
                  <a:moveTo>
                    <a:pt x="6763357" y="8548766"/>
                  </a:moveTo>
                  <a:cubicBezTo>
                    <a:pt x="6768306" y="8548766"/>
                    <a:pt x="6772318" y="8552778"/>
                    <a:pt x="6772318" y="8557726"/>
                  </a:cubicBezTo>
                  <a:cubicBezTo>
                    <a:pt x="6772318" y="8562675"/>
                    <a:pt x="6768306" y="8566687"/>
                    <a:pt x="6763357" y="8566687"/>
                  </a:cubicBezTo>
                  <a:cubicBezTo>
                    <a:pt x="6758408" y="8566687"/>
                    <a:pt x="6754397" y="8562675"/>
                    <a:pt x="6754397" y="8557726"/>
                  </a:cubicBezTo>
                  <a:cubicBezTo>
                    <a:pt x="6754397" y="8552778"/>
                    <a:pt x="6758408" y="8548766"/>
                    <a:pt x="6763357" y="8548766"/>
                  </a:cubicBezTo>
                  <a:close/>
                  <a:moveTo>
                    <a:pt x="6593035" y="8548766"/>
                  </a:moveTo>
                  <a:cubicBezTo>
                    <a:pt x="6597984" y="8548766"/>
                    <a:pt x="6601996" y="8552778"/>
                    <a:pt x="6601996" y="8557726"/>
                  </a:cubicBezTo>
                  <a:cubicBezTo>
                    <a:pt x="6601996" y="8562675"/>
                    <a:pt x="6597984" y="8566687"/>
                    <a:pt x="6593035" y="8566687"/>
                  </a:cubicBezTo>
                  <a:cubicBezTo>
                    <a:pt x="6588086" y="8566687"/>
                    <a:pt x="6584075" y="8562675"/>
                    <a:pt x="6584075" y="8557726"/>
                  </a:cubicBezTo>
                  <a:cubicBezTo>
                    <a:pt x="6584075" y="8552778"/>
                    <a:pt x="6588086" y="8548766"/>
                    <a:pt x="6593035" y="8548766"/>
                  </a:cubicBezTo>
                  <a:close/>
                  <a:moveTo>
                    <a:pt x="6424294" y="8548766"/>
                  </a:moveTo>
                  <a:cubicBezTo>
                    <a:pt x="6429243" y="8548766"/>
                    <a:pt x="6433255" y="8552778"/>
                    <a:pt x="6433255" y="8557726"/>
                  </a:cubicBezTo>
                  <a:cubicBezTo>
                    <a:pt x="6433255" y="8562675"/>
                    <a:pt x="6429243" y="8566687"/>
                    <a:pt x="6424294" y="8566687"/>
                  </a:cubicBezTo>
                  <a:cubicBezTo>
                    <a:pt x="6419345" y="8566687"/>
                    <a:pt x="6415334" y="8562675"/>
                    <a:pt x="6415334" y="8557726"/>
                  </a:cubicBezTo>
                  <a:cubicBezTo>
                    <a:pt x="6415334" y="8552778"/>
                    <a:pt x="6419345" y="8548766"/>
                    <a:pt x="6424294" y="8548766"/>
                  </a:cubicBezTo>
                  <a:close/>
                  <a:moveTo>
                    <a:pt x="6255553" y="8548766"/>
                  </a:moveTo>
                  <a:cubicBezTo>
                    <a:pt x="6260502" y="8548766"/>
                    <a:pt x="6264514" y="8552778"/>
                    <a:pt x="6264514" y="8557726"/>
                  </a:cubicBezTo>
                  <a:cubicBezTo>
                    <a:pt x="6264514" y="8562675"/>
                    <a:pt x="6260502" y="8566687"/>
                    <a:pt x="6255553" y="8566687"/>
                  </a:cubicBezTo>
                  <a:cubicBezTo>
                    <a:pt x="6250604" y="8566687"/>
                    <a:pt x="6246593" y="8562675"/>
                    <a:pt x="6246593" y="8557726"/>
                  </a:cubicBezTo>
                  <a:cubicBezTo>
                    <a:pt x="6246593" y="8552778"/>
                    <a:pt x="6250604" y="8548766"/>
                    <a:pt x="6255553" y="8548766"/>
                  </a:cubicBezTo>
                  <a:close/>
                  <a:moveTo>
                    <a:pt x="6086811" y="8548766"/>
                  </a:moveTo>
                  <a:cubicBezTo>
                    <a:pt x="6091760" y="8548766"/>
                    <a:pt x="6095772" y="8552778"/>
                    <a:pt x="6095772" y="8557726"/>
                  </a:cubicBezTo>
                  <a:cubicBezTo>
                    <a:pt x="6095772" y="8562675"/>
                    <a:pt x="6091760" y="8566687"/>
                    <a:pt x="6086811" y="8566687"/>
                  </a:cubicBezTo>
                  <a:cubicBezTo>
                    <a:pt x="6081862" y="8566687"/>
                    <a:pt x="6077851" y="8562675"/>
                    <a:pt x="6077851" y="8557726"/>
                  </a:cubicBezTo>
                  <a:cubicBezTo>
                    <a:pt x="6077851" y="8552778"/>
                    <a:pt x="6081862" y="8548766"/>
                    <a:pt x="6086811" y="8548766"/>
                  </a:cubicBezTo>
                  <a:close/>
                  <a:moveTo>
                    <a:pt x="5918069" y="8548766"/>
                  </a:moveTo>
                  <a:cubicBezTo>
                    <a:pt x="5923018" y="8548766"/>
                    <a:pt x="5927030" y="8552778"/>
                    <a:pt x="5927030" y="8557726"/>
                  </a:cubicBezTo>
                  <a:cubicBezTo>
                    <a:pt x="5927030" y="8562675"/>
                    <a:pt x="5923018" y="8566687"/>
                    <a:pt x="5918069" y="8566687"/>
                  </a:cubicBezTo>
                  <a:cubicBezTo>
                    <a:pt x="5913120" y="8566687"/>
                    <a:pt x="5909109" y="8562675"/>
                    <a:pt x="5909109" y="8557726"/>
                  </a:cubicBezTo>
                  <a:cubicBezTo>
                    <a:pt x="5909109" y="8552778"/>
                    <a:pt x="5913120" y="8548766"/>
                    <a:pt x="5918069" y="8548766"/>
                  </a:cubicBezTo>
                  <a:close/>
                  <a:moveTo>
                    <a:pt x="5749328" y="8548766"/>
                  </a:moveTo>
                  <a:cubicBezTo>
                    <a:pt x="5754277" y="8548766"/>
                    <a:pt x="5758289" y="8552778"/>
                    <a:pt x="5758289" y="8557726"/>
                  </a:cubicBezTo>
                  <a:cubicBezTo>
                    <a:pt x="5758289" y="8562675"/>
                    <a:pt x="5754277" y="8566687"/>
                    <a:pt x="5749328" y="8566687"/>
                  </a:cubicBezTo>
                  <a:cubicBezTo>
                    <a:pt x="5744379" y="8566687"/>
                    <a:pt x="5740368" y="8562675"/>
                    <a:pt x="5740368" y="8557726"/>
                  </a:cubicBezTo>
                  <a:cubicBezTo>
                    <a:pt x="5740368" y="8552778"/>
                    <a:pt x="5744379" y="8548766"/>
                    <a:pt x="5749328" y="8548766"/>
                  </a:cubicBezTo>
                  <a:close/>
                  <a:moveTo>
                    <a:pt x="5580586" y="8548766"/>
                  </a:moveTo>
                  <a:cubicBezTo>
                    <a:pt x="5585535" y="8548766"/>
                    <a:pt x="5589547" y="8552778"/>
                    <a:pt x="5589547" y="8557726"/>
                  </a:cubicBezTo>
                  <a:cubicBezTo>
                    <a:pt x="5589547" y="8562675"/>
                    <a:pt x="5585535" y="8566687"/>
                    <a:pt x="5580586" y="8566687"/>
                  </a:cubicBezTo>
                  <a:cubicBezTo>
                    <a:pt x="5575637" y="8566687"/>
                    <a:pt x="5571626" y="8562675"/>
                    <a:pt x="5571626" y="8557726"/>
                  </a:cubicBezTo>
                  <a:cubicBezTo>
                    <a:pt x="5571626" y="8552778"/>
                    <a:pt x="5575637" y="8548766"/>
                    <a:pt x="5580586" y="8548766"/>
                  </a:cubicBezTo>
                  <a:close/>
                  <a:moveTo>
                    <a:pt x="5411845" y="8548766"/>
                  </a:moveTo>
                  <a:cubicBezTo>
                    <a:pt x="5416794" y="8548766"/>
                    <a:pt x="5420806" y="8552778"/>
                    <a:pt x="5420806" y="8557726"/>
                  </a:cubicBezTo>
                  <a:cubicBezTo>
                    <a:pt x="5420806" y="8562675"/>
                    <a:pt x="5416794" y="8566687"/>
                    <a:pt x="5411845" y="8566687"/>
                  </a:cubicBezTo>
                  <a:cubicBezTo>
                    <a:pt x="5406896" y="8566687"/>
                    <a:pt x="5402885" y="8562675"/>
                    <a:pt x="5402885" y="8557726"/>
                  </a:cubicBezTo>
                  <a:cubicBezTo>
                    <a:pt x="5402885" y="8552778"/>
                    <a:pt x="5406896" y="8548766"/>
                    <a:pt x="5411845" y="8548766"/>
                  </a:cubicBezTo>
                  <a:close/>
                  <a:moveTo>
                    <a:pt x="5243103" y="8548766"/>
                  </a:moveTo>
                  <a:cubicBezTo>
                    <a:pt x="5248052" y="8548766"/>
                    <a:pt x="5252064" y="8552778"/>
                    <a:pt x="5252064" y="8557726"/>
                  </a:cubicBezTo>
                  <a:cubicBezTo>
                    <a:pt x="5252064" y="8562675"/>
                    <a:pt x="5248052" y="8566687"/>
                    <a:pt x="5243103" y="8566687"/>
                  </a:cubicBezTo>
                  <a:cubicBezTo>
                    <a:pt x="5238154" y="8566687"/>
                    <a:pt x="5234143" y="8562675"/>
                    <a:pt x="5234143" y="8557726"/>
                  </a:cubicBezTo>
                  <a:cubicBezTo>
                    <a:pt x="5234143" y="8552778"/>
                    <a:pt x="5238154" y="8548766"/>
                    <a:pt x="5243103" y="8548766"/>
                  </a:cubicBezTo>
                  <a:close/>
                  <a:moveTo>
                    <a:pt x="5074362" y="8548766"/>
                  </a:moveTo>
                  <a:cubicBezTo>
                    <a:pt x="5079311" y="8548766"/>
                    <a:pt x="5083323" y="8552778"/>
                    <a:pt x="5083323" y="8557726"/>
                  </a:cubicBezTo>
                  <a:cubicBezTo>
                    <a:pt x="5083323" y="8562675"/>
                    <a:pt x="5079311" y="8566687"/>
                    <a:pt x="5074362" y="8566687"/>
                  </a:cubicBezTo>
                  <a:cubicBezTo>
                    <a:pt x="5069413" y="8566687"/>
                    <a:pt x="5065402" y="8562675"/>
                    <a:pt x="5065402" y="8557726"/>
                  </a:cubicBezTo>
                  <a:cubicBezTo>
                    <a:pt x="5065402" y="8552778"/>
                    <a:pt x="5069413" y="8548766"/>
                    <a:pt x="5074362" y="8548766"/>
                  </a:cubicBezTo>
                  <a:close/>
                  <a:moveTo>
                    <a:pt x="4905620" y="8548766"/>
                  </a:moveTo>
                  <a:cubicBezTo>
                    <a:pt x="4910569" y="8548766"/>
                    <a:pt x="4914581" y="8552778"/>
                    <a:pt x="4914581" y="8557726"/>
                  </a:cubicBezTo>
                  <a:cubicBezTo>
                    <a:pt x="4914581" y="8562675"/>
                    <a:pt x="4910569" y="8566687"/>
                    <a:pt x="4905620" y="8566687"/>
                  </a:cubicBezTo>
                  <a:cubicBezTo>
                    <a:pt x="4900671" y="8566687"/>
                    <a:pt x="4896660" y="8562675"/>
                    <a:pt x="4896660" y="8557726"/>
                  </a:cubicBezTo>
                  <a:cubicBezTo>
                    <a:pt x="4896660" y="8552778"/>
                    <a:pt x="4900671" y="8548766"/>
                    <a:pt x="4905620" y="8548766"/>
                  </a:cubicBezTo>
                  <a:close/>
                  <a:moveTo>
                    <a:pt x="4736878" y="8548766"/>
                  </a:moveTo>
                  <a:cubicBezTo>
                    <a:pt x="4741827" y="8548766"/>
                    <a:pt x="4745839" y="8552778"/>
                    <a:pt x="4745839" y="8557726"/>
                  </a:cubicBezTo>
                  <a:cubicBezTo>
                    <a:pt x="4745839" y="8562675"/>
                    <a:pt x="4741827" y="8566687"/>
                    <a:pt x="4736878" y="8566687"/>
                  </a:cubicBezTo>
                  <a:cubicBezTo>
                    <a:pt x="4731929" y="8566687"/>
                    <a:pt x="4727918" y="8562675"/>
                    <a:pt x="4727918" y="8557726"/>
                  </a:cubicBezTo>
                  <a:cubicBezTo>
                    <a:pt x="4727918" y="8552778"/>
                    <a:pt x="4731929" y="8548766"/>
                    <a:pt x="4736878" y="8548766"/>
                  </a:cubicBezTo>
                  <a:close/>
                  <a:moveTo>
                    <a:pt x="4568137" y="8548766"/>
                  </a:moveTo>
                  <a:cubicBezTo>
                    <a:pt x="4573086" y="8548766"/>
                    <a:pt x="4577098" y="8552778"/>
                    <a:pt x="4577098" y="8557726"/>
                  </a:cubicBezTo>
                  <a:cubicBezTo>
                    <a:pt x="4577098" y="8562675"/>
                    <a:pt x="4573086" y="8566687"/>
                    <a:pt x="4568137" y="8566687"/>
                  </a:cubicBezTo>
                  <a:cubicBezTo>
                    <a:pt x="4563188" y="8566687"/>
                    <a:pt x="4559177" y="8562675"/>
                    <a:pt x="4559177" y="8557726"/>
                  </a:cubicBezTo>
                  <a:cubicBezTo>
                    <a:pt x="4559177" y="8552778"/>
                    <a:pt x="4563188" y="8548766"/>
                    <a:pt x="4568137" y="8548766"/>
                  </a:cubicBezTo>
                  <a:close/>
                  <a:moveTo>
                    <a:pt x="4399396" y="8548766"/>
                  </a:moveTo>
                  <a:cubicBezTo>
                    <a:pt x="4404345" y="8548766"/>
                    <a:pt x="4408357" y="8552778"/>
                    <a:pt x="4408357" y="8557726"/>
                  </a:cubicBezTo>
                  <a:cubicBezTo>
                    <a:pt x="4408357" y="8562675"/>
                    <a:pt x="4404345" y="8566687"/>
                    <a:pt x="4399396" y="8566687"/>
                  </a:cubicBezTo>
                  <a:cubicBezTo>
                    <a:pt x="4394447" y="8566687"/>
                    <a:pt x="4390436" y="8562675"/>
                    <a:pt x="4390436" y="8557726"/>
                  </a:cubicBezTo>
                  <a:cubicBezTo>
                    <a:pt x="4390436" y="8552778"/>
                    <a:pt x="4394447" y="8548766"/>
                    <a:pt x="4399396" y="8548766"/>
                  </a:cubicBezTo>
                  <a:close/>
                  <a:moveTo>
                    <a:pt x="4230654" y="8548766"/>
                  </a:moveTo>
                  <a:cubicBezTo>
                    <a:pt x="4235603" y="8548766"/>
                    <a:pt x="4239615" y="8552778"/>
                    <a:pt x="4239615" y="8557726"/>
                  </a:cubicBezTo>
                  <a:cubicBezTo>
                    <a:pt x="4239615" y="8562675"/>
                    <a:pt x="4235603" y="8566687"/>
                    <a:pt x="4230654" y="8566687"/>
                  </a:cubicBezTo>
                  <a:cubicBezTo>
                    <a:pt x="4225705" y="8566687"/>
                    <a:pt x="4221694" y="8562675"/>
                    <a:pt x="4221694" y="8557726"/>
                  </a:cubicBezTo>
                  <a:cubicBezTo>
                    <a:pt x="4221694" y="8552778"/>
                    <a:pt x="4225705" y="8548766"/>
                    <a:pt x="4230654" y="8548766"/>
                  </a:cubicBezTo>
                  <a:close/>
                  <a:moveTo>
                    <a:pt x="4061912" y="8548766"/>
                  </a:moveTo>
                  <a:cubicBezTo>
                    <a:pt x="4066861" y="8548766"/>
                    <a:pt x="4070873" y="8552778"/>
                    <a:pt x="4070873" y="8557726"/>
                  </a:cubicBezTo>
                  <a:cubicBezTo>
                    <a:pt x="4070873" y="8562675"/>
                    <a:pt x="4066861" y="8566687"/>
                    <a:pt x="4061912" y="8566687"/>
                  </a:cubicBezTo>
                  <a:cubicBezTo>
                    <a:pt x="4056963" y="8566687"/>
                    <a:pt x="4052952" y="8562675"/>
                    <a:pt x="4052952" y="8557726"/>
                  </a:cubicBezTo>
                  <a:cubicBezTo>
                    <a:pt x="4052952" y="8552778"/>
                    <a:pt x="4056963" y="8548766"/>
                    <a:pt x="4061912" y="8548766"/>
                  </a:cubicBezTo>
                  <a:close/>
                  <a:moveTo>
                    <a:pt x="3893170" y="8548766"/>
                  </a:moveTo>
                  <a:cubicBezTo>
                    <a:pt x="3898119" y="8548766"/>
                    <a:pt x="3902131" y="8552778"/>
                    <a:pt x="3902131" y="8557726"/>
                  </a:cubicBezTo>
                  <a:cubicBezTo>
                    <a:pt x="3902131" y="8562675"/>
                    <a:pt x="3898119" y="8566687"/>
                    <a:pt x="3893170" y="8566687"/>
                  </a:cubicBezTo>
                  <a:cubicBezTo>
                    <a:pt x="3888221" y="8566687"/>
                    <a:pt x="3884210" y="8562675"/>
                    <a:pt x="3884210" y="8557726"/>
                  </a:cubicBezTo>
                  <a:cubicBezTo>
                    <a:pt x="3884210" y="8552778"/>
                    <a:pt x="3888221" y="8548766"/>
                    <a:pt x="3893170" y="8548766"/>
                  </a:cubicBezTo>
                  <a:close/>
                  <a:moveTo>
                    <a:pt x="3724429" y="8548766"/>
                  </a:moveTo>
                  <a:cubicBezTo>
                    <a:pt x="3729378" y="8548766"/>
                    <a:pt x="3733390" y="8552778"/>
                    <a:pt x="3733390" y="8557726"/>
                  </a:cubicBezTo>
                  <a:cubicBezTo>
                    <a:pt x="3733390" y="8562675"/>
                    <a:pt x="3729378" y="8566687"/>
                    <a:pt x="3724429" y="8566687"/>
                  </a:cubicBezTo>
                  <a:cubicBezTo>
                    <a:pt x="3719481" y="8566687"/>
                    <a:pt x="3715469" y="8562675"/>
                    <a:pt x="3715469" y="8557726"/>
                  </a:cubicBezTo>
                  <a:cubicBezTo>
                    <a:pt x="3715469" y="8552778"/>
                    <a:pt x="3719481" y="8548766"/>
                    <a:pt x="3724429" y="8548766"/>
                  </a:cubicBezTo>
                  <a:close/>
                  <a:moveTo>
                    <a:pt x="3555688" y="8548766"/>
                  </a:moveTo>
                  <a:cubicBezTo>
                    <a:pt x="3560637" y="8548766"/>
                    <a:pt x="3564649" y="8552778"/>
                    <a:pt x="3564649" y="8557726"/>
                  </a:cubicBezTo>
                  <a:cubicBezTo>
                    <a:pt x="3564649" y="8562675"/>
                    <a:pt x="3560637" y="8566687"/>
                    <a:pt x="3555688" y="8566687"/>
                  </a:cubicBezTo>
                  <a:cubicBezTo>
                    <a:pt x="3550740" y="8566687"/>
                    <a:pt x="3546728" y="8562675"/>
                    <a:pt x="3546728" y="8557726"/>
                  </a:cubicBezTo>
                  <a:cubicBezTo>
                    <a:pt x="3546728" y="8552778"/>
                    <a:pt x="3550740" y="8548766"/>
                    <a:pt x="3555688" y="8548766"/>
                  </a:cubicBezTo>
                  <a:close/>
                  <a:moveTo>
                    <a:pt x="3386960" y="8548766"/>
                  </a:moveTo>
                  <a:cubicBezTo>
                    <a:pt x="3391908" y="8548766"/>
                    <a:pt x="3395921" y="8552778"/>
                    <a:pt x="3395921" y="8557726"/>
                  </a:cubicBezTo>
                  <a:cubicBezTo>
                    <a:pt x="3395921" y="8562675"/>
                    <a:pt x="3391908" y="8566687"/>
                    <a:pt x="3386960" y="8566687"/>
                  </a:cubicBezTo>
                  <a:cubicBezTo>
                    <a:pt x="3382005" y="8566687"/>
                    <a:pt x="3377993" y="8562675"/>
                    <a:pt x="3377993" y="8557726"/>
                  </a:cubicBezTo>
                  <a:cubicBezTo>
                    <a:pt x="3377993" y="8552778"/>
                    <a:pt x="3382005" y="8548766"/>
                    <a:pt x="3386960" y="8548766"/>
                  </a:cubicBezTo>
                  <a:close/>
                  <a:moveTo>
                    <a:pt x="3218217" y="8548766"/>
                  </a:moveTo>
                  <a:cubicBezTo>
                    <a:pt x="3223164" y="8548766"/>
                    <a:pt x="3227177" y="8552778"/>
                    <a:pt x="3227177" y="8557726"/>
                  </a:cubicBezTo>
                  <a:cubicBezTo>
                    <a:pt x="3227177" y="8562675"/>
                    <a:pt x="3223164" y="8566687"/>
                    <a:pt x="3218217" y="8566687"/>
                  </a:cubicBezTo>
                  <a:cubicBezTo>
                    <a:pt x="3213265" y="8566687"/>
                    <a:pt x="3209257" y="8562675"/>
                    <a:pt x="3209257" y="8557726"/>
                  </a:cubicBezTo>
                  <a:cubicBezTo>
                    <a:pt x="3209257" y="8552778"/>
                    <a:pt x="3213265" y="8548766"/>
                    <a:pt x="3218217" y="8548766"/>
                  </a:cubicBezTo>
                  <a:close/>
                  <a:moveTo>
                    <a:pt x="3049484" y="8548766"/>
                  </a:moveTo>
                  <a:cubicBezTo>
                    <a:pt x="3054426" y="8548766"/>
                    <a:pt x="3058439" y="8552778"/>
                    <a:pt x="3058439" y="8557726"/>
                  </a:cubicBezTo>
                  <a:cubicBezTo>
                    <a:pt x="3058439" y="8562675"/>
                    <a:pt x="3054426" y="8566687"/>
                    <a:pt x="3049484" y="8566687"/>
                  </a:cubicBezTo>
                  <a:cubicBezTo>
                    <a:pt x="3044529" y="8566687"/>
                    <a:pt x="3040517" y="8562675"/>
                    <a:pt x="3040517" y="8557726"/>
                  </a:cubicBezTo>
                  <a:cubicBezTo>
                    <a:pt x="3040517" y="8552778"/>
                    <a:pt x="3044529" y="8548766"/>
                    <a:pt x="3049484" y="8548766"/>
                  </a:cubicBezTo>
                  <a:close/>
                  <a:moveTo>
                    <a:pt x="2880740" y="8548766"/>
                  </a:moveTo>
                  <a:cubicBezTo>
                    <a:pt x="2885688" y="8548766"/>
                    <a:pt x="2889700" y="8552778"/>
                    <a:pt x="2889700" y="8557726"/>
                  </a:cubicBezTo>
                  <a:cubicBezTo>
                    <a:pt x="2889700" y="8562675"/>
                    <a:pt x="2885688" y="8566687"/>
                    <a:pt x="2880740" y="8566687"/>
                  </a:cubicBezTo>
                  <a:cubicBezTo>
                    <a:pt x="2875790" y="8566687"/>
                    <a:pt x="2871780" y="8562675"/>
                    <a:pt x="2871780" y="8557726"/>
                  </a:cubicBezTo>
                  <a:cubicBezTo>
                    <a:pt x="2871780" y="8552778"/>
                    <a:pt x="2875790" y="8548766"/>
                    <a:pt x="2880740" y="8548766"/>
                  </a:cubicBezTo>
                  <a:close/>
                  <a:moveTo>
                    <a:pt x="2711996" y="8548766"/>
                  </a:moveTo>
                  <a:cubicBezTo>
                    <a:pt x="2716945" y="8548766"/>
                    <a:pt x="2720961" y="8552778"/>
                    <a:pt x="2720961" y="8557726"/>
                  </a:cubicBezTo>
                  <a:cubicBezTo>
                    <a:pt x="2720961" y="8562675"/>
                    <a:pt x="2716945" y="8566687"/>
                    <a:pt x="2711996" y="8566687"/>
                  </a:cubicBezTo>
                  <a:cubicBezTo>
                    <a:pt x="2707050" y="8566687"/>
                    <a:pt x="2703038" y="8562675"/>
                    <a:pt x="2703038" y="8557726"/>
                  </a:cubicBezTo>
                  <a:cubicBezTo>
                    <a:pt x="2703038" y="8552778"/>
                    <a:pt x="2707050" y="8548766"/>
                    <a:pt x="2711996" y="8548766"/>
                  </a:cubicBezTo>
                  <a:close/>
                  <a:moveTo>
                    <a:pt x="2543258" y="8548766"/>
                  </a:moveTo>
                  <a:cubicBezTo>
                    <a:pt x="2548213" y="8548766"/>
                    <a:pt x="2552219" y="8552778"/>
                    <a:pt x="2552219" y="8557726"/>
                  </a:cubicBezTo>
                  <a:cubicBezTo>
                    <a:pt x="2552219" y="8562675"/>
                    <a:pt x="2548213" y="8566687"/>
                    <a:pt x="2543258" y="8566687"/>
                  </a:cubicBezTo>
                  <a:cubicBezTo>
                    <a:pt x="2538311" y="8566687"/>
                    <a:pt x="2534298" y="8562675"/>
                    <a:pt x="2534298" y="8557726"/>
                  </a:cubicBezTo>
                  <a:cubicBezTo>
                    <a:pt x="2534298" y="8552778"/>
                    <a:pt x="2538311" y="8548766"/>
                    <a:pt x="2543258" y="8548766"/>
                  </a:cubicBezTo>
                  <a:close/>
                  <a:moveTo>
                    <a:pt x="2374514" y="8548766"/>
                  </a:moveTo>
                  <a:cubicBezTo>
                    <a:pt x="2379463" y="8548766"/>
                    <a:pt x="2383479" y="8552778"/>
                    <a:pt x="2383479" y="8557726"/>
                  </a:cubicBezTo>
                  <a:cubicBezTo>
                    <a:pt x="2383479" y="8562675"/>
                    <a:pt x="2379463" y="8566687"/>
                    <a:pt x="2374514" y="8566687"/>
                  </a:cubicBezTo>
                  <a:cubicBezTo>
                    <a:pt x="2369564" y="8566687"/>
                    <a:pt x="2365551" y="8562675"/>
                    <a:pt x="2365551" y="8557726"/>
                  </a:cubicBezTo>
                  <a:cubicBezTo>
                    <a:pt x="2365551" y="8552778"/>
                    <a:pt x="2369564" y="8548766"/>
                    <a:pt x="2374514" y="8548766"/>
                  </a:cubicBezTo>
                  <a:close/>
                  <a:moveTo>
                    <a:pt x="2205774" y="8548766"/>
                  </a:moveTo>
                  <a:cubicBezTo>
                    <a:pt x="2210724" y="8548766"/>
                    <a:pt x="2214737" y="8552778"/>
                    <a:pt x="2214737" y="8557726"/>
                  </a:cubicBezTo>
                  <a:cubicBezTo>
                    <a:pt x="2214737" y="8562675"/>
                    <a:pt x="2210724" y="8566687"/>
                    <a:pt x="2205774" y="8566687"/>
                  </a:cubicBezTo>
                  <a:cubicBezTo>
                    <a:pt x="2200825" y="8566687"/>
                    <a:pt x="2196816" y="8562675"/>
                    <a:pt x="2196816" y="8557726"/>
                  </a:cubicBezTo>
                  <a:cubicBezTo>
                    <a:pt x="2196816" y="8552778"/>
                    <a:pt x="2200825" y="8548766"/>
                    <a:pt x="2205774" y="8548766"/>
                  </a:cubicBezTo>
                  <a:close/>
                  <a:moveTo>
                    <a:pt x="2037035" y="8548766"/>
                  </a:moveTo>
                  <a:cubicBezTo>
                    <a:pt x="2041983" y="8548766"/>
                    <a:pt x="2045992" y="8552778"/>
                    <a:pt x="2045992" y="8557726"/>
                  </a:cubicBezTo>
                  <a:cubicBezTo>
                    <a:pt x="2045992" y="8562675"/>
                    <a:pt x="2041983" y="8566687"/>
                    <a:pt x="2037035" y="8566687"/>
                  </a:cubicBezTo>
                  <a:cubicBezTo>
                    <a:pt x="2032087" y="8566687"/>
                    <a:pt x="2028076" y="8562675"/>
                    <a:pt x="2028076" y="8557726"/>
                  </a:cubicBezTo>
                  <a:cubicBezTo>
                    <a:pt x="2028076" y="8552778"/>
                    <a:pt x="2032087" y="8548766"/>
                    <a:pt x="2037035" y="8548766"/>
                  </a:cubicBezTo>
                  <a:close/>
                  <a:moveTo>
                    <a:pt x="1868296" y="8548766"/>
                  </a:moveTo>
                  <a:cubicBezTo>
                    <a:pt x="1873244" y="8548766"/>
                    <a:pt x="1877255" y="8552778"/>
                    <a:pt x="1877255" y="8557726"/>
                  </a:cubicBezTo>
                  <a:cubicBezTo>
                    <a:pt x="1877255" y="8562675"/>
                    <a:pt x="1873244" y="8566687"/>
                    <a:pt x="1868296" y="8566687"/>
                  </a:cubicBezTo>
                  <a:cubicBezTo>
                    <a:pt x="1863347" y="8566687"/>
                    <a:pt x="1859333" y="8562675"/>
                    <a:pt x="1859333" y="8557726"/>
                  </a:cubicBezTo>
                  <a:cubicBezTo>
                    <a:pt x="1859333" y="8552778"/>
                    <a:pt x="1863347" y="8548766"/>
                    <a:pt x="1868296" y="8548766"/>
                  </a:cubicBezTo>
                  <a:close/>
                  <a:moveTo>
                    <a:pt x="1699555" y="8548766"/>
                  </a:moveTo>
                  <a:cubicBezTo>
                    <a:pt x="1704504" y="8548766"/>
                    <a:pt x="1708515" y="8552778"/>
                    <a:pt x="1708515" y="8557726"/>
                  </a:cubicBezTo>
                  <a:cubicBezTo>
                    <a:pt x="1708515" y="8562675"/>
                    <a:pt x="1704504" y="8566687"/>
                    <a:pt x="1699555" y="8566687"/>
                  </a:cubicBezTo>
                  <a:cubicBezTo>
                    <a:pt x="1694604" y="8566687"/>
                    <a:pt x="1690593" y="8562675"/>
                    <a:pt x="1690593" y="8557726"/>
                  </a:cubicBezTo>
                  <a:cubicBezTo>
                    <a:pt x="1690593" y="8552778"/>
                    <a:pt x="1694604" y="8548766"/>
                    <a:pt x="1699555" y="8548766"/>
                  </a:cubicBezTo>
                  <a:close/>
                  <a:moveTo>
                    <a:pt x="1530812" y="8548766"/>
                  </a:moveTo>
                  <a:cubicBezTo>
                    <a:pt x="1535761" y="8548766"/>
                    <a:pt x="1539773" y="8552778"/>
                    <a:pt x="1539773" y="8557726"/>
                  </a:cubicBezTo>
                  <a:cubicBezTo>
                    <a:pt x="1539773" y="8562675"/>
                    <a:pt x="1535761" y="8566687"/>
                    <a:pt x="1530812" y="8566687"/>
                  </a:cubicBezTo>
                  <a:cubicBezTo>
                    <a:pt x="1525863" y="8566687"/>
                    <a:pt x="1521851" y="8562675"/>
                    <a:pt x="1521851" y="8557726"/>
                  </a:cubicBezTo>
                  <a:cubicBezTo>
                    <a:pt x="1521851" y="8552778"/>
                    <a:pt x="1525863" y="8548766"/>
                    <a:pt x="1530812" y="8548766"/>
                  </a:cubicBezTo>
                  <a:close/>
                  <a:moveTo>
                    <a:pt x="1362069" y="8548766"/>
                  </a:moveTo>
                  <a:cubicBezTo>
                    <a:pt x="1367018" y="8548766"/>
                    <a:pt x="1371029" y="8552778"/>
                    <a:pt x="1371029" y="8557726"/>
                  </a:cubicBezTo>
                  <a:cubicBezTo>
                    <a:pt x="1371029" y="8562675"/>
                    <a:pt x="1367018" y="8566687"/>
                    <a:pt x="1362069" y="8566687"/>
                  </a:cubicBezTo>
                  <a:cubicBezTo>
                    <a:pt x="1357120" y="8566687"/>
                    <a:pt x="1353108" y="8562675"/>
                    <a:pt x="1353108" y="8557726"/>
                  </a:cubicBezTo>
                  <a:cubicBezTo>
                    <a:pt x="1353108" y="8552778"/>
                    <a:pt x="1357120" y="8548766"/>
                    <a:pt x="1362069" y="8548766"/>
                  </a:cubicBezTo>
                  <a:close/>
                  <a:moveTo>
                    <a:pt x="1193328" y="8548766"/>
                  </a:moveTo>
                  <a:cubicBezTo>
                    <a:pt x="1198276" y="8548766"/>
                    <a:pt x="1202288" y="8552778"/>
                    <a:pt x="1202288" y="8557726"/>
                  </a:cubicBezTo>
                  <a:cubicBezTo>
                    <a:pt x="1202288" y="8562675"/>
                    <a:pt x="1198276" y="8566687"/>
                    <a:pt x="1193328" y="8566687"/>
                  </a:cubicBezTo>
                  <a:cubicBezTo>
                    <a:pt x="1188379" y="8566687"/>
                    <a:pt x="1184368" y="8562675"/>
                    <a:pt x="1184368" y="8557726"/>
                  </a:cubicBezTo>
                  <a:cubicBezTo>
                    <a:pt x="1184368" y="8552778"/>
                    <a:pt x="1188379" y="8548766"/>
                    <a:pt x="1193328" y="8548766"/>
                  </a:cubicBezTo>
                  <a:close/>
                  <a:moveTo>
                    <a:pt x="1024586" y="8548766"/>
                  </a:moveTo>
                  <a:cubicBezTo>
                    <a:pt x="1029535" y="8548766"/>
                    <a:pt x="1033546" y="8552778"/>
                    <a:pt x="1033546" y="8557726"/>
                  </a:cubicBezTo>
                  <a:cubicBezTo>
                    <a:pt x="1033546" y="8562675"/>
                    <a:pt x="1029535" y="8566687"/>
                    <a:pt x="1024586" y="8566687"/>
                  </a:cubicBezTo>
                  <a:cubicBezTo>
                    <a:pt x="1019637" y="8566687"/>
                    <a:pt x="1015625" y="8562675"/>
                    <a:pt x="1015625" y="8557726"/>
                  </a:cubicBezTo>
                  <a:cubicBezTo>
                    <a:pt x="1015625" y="8552778"/>
                    <a:pt x="1019637" y="8548766"/>
                    <a:pt x="1024586" y="8548766"/>
                  </a:cubicBezTo>
                  <a:close/>
                  <a:moveTo>
                    <a:pt x="855846" y="8548766"/>
                  </a:moveTo>
                  <a:cubicBezTo>
                    <a:pt x="860794" y="8548766"/>
                    <a:pt x="864806" y="8552778"/>
                    <a:pt x="864806" y="8557726"/>
                  </a:cubicBezTo>
                  <a:cubicBezTo>
                    <a:pt x="864806" y="8562675"/>
                    <a:pt x="860794" y="8566687"/>
                    <a:pt x="855846" y="8566687"/>
                  </a:cubicBezTo>
                  <a:cubicBezTo>
                    <a:pt x="850896" y="8566687"/>
                    <a:pt x="846884" y="8562675"/>
                    <a:pt x="846884" y="8557726"/>
                  </a:cubicBezTo>
                  <a:cubicBezTo>
                    <a:pt x="846884" y="8552778"/>
                    <a:pt x="850896" y="8548766"/>
                    <a:pt x="855846" y="8548766"/>
                  </a:cubicBezTo>
                  <a:close/>
                  <a:moveTo>
                    <a:pt x="687104" y="8548766"/>
                  </a:moveTo>
                  <a:cubicBezTo>
                    <a:pt x="692053" y="8548766"/>
                    <a:pt x="696064" y="8552778"/>
                    <a:pt x="696064" y="8557726"/>
                  </a:cubicBezTo>
                  <a:cubicBezTo>
                    <a:pt x="696064" y="8562675"/>
                    <a:pt x="692053" y="8566687"/>
                    <a:pt x="687104" y="8566687"/>
                  </a:cubicBezTo>
                  <a:cubicBezTo>
                    <a:pt x="682155" y="8566687"/>
                    <a:pt x="678144" y="8562675"/>
                    <a:pt x="678144" y="8557726"/>
                  </a:cubicBezTo>
                  <a:cubicBezTo>
                    <a:pt x="678144" y="8552778"/>
                    <a:pt x="682155" y="8548766"/>
                    <a:pt x="687104" y="8548766"/>
                  </a:cubicBezTo>
                  <a:close/>
                  <a:moveTo>
                    <a:pt x="518358" y="8548766"/>
                  </a:moveTo>
                  <a:cubicBezTo>
                    <a:pt x="523307" y="8548766"/>
                    <a:pt x="527319" y="8552778"/>
                    <a:pt x="527319" y="8557726"/>
                  </a:cubicBezTo>
                  <a:cubicBezTo>
                    <a:pt x="527319" y="8562675"/>
                    <a:pt x="523307" y="8566687"/>
                    <a:pt x="518358" y="8566687"/>
                  </a:cubicBezTo>
                  <a:cubicBezTo>
                    <a:pt x="513409" y="8566687"/>
                    <a:pt x="509398" y="8562675"/>
                    <a:pt x="509398" y="8557726"/>
                  </a:cubicBezTo>
                  <a:cubicBezTo>
                    <a:pt x="509398" y="8552778"/>
                    <a:pt x="513409" y="8548766"/>
                    <a:pt x="518358" y="8548766"/>
                  </a:cubicBezTo>
                  <a:close/>
                  <a:moveTo>
                    <a:pt x="349618" y="8548766"/>
                  </a:moveTo>
                  <a:cubicBezTo>
                    <a:pt x="354567" y="8548766"/>
                    <a:pt x="358578" y="8552778"/>
                    <a:pt x="358578" y="8557726"/>
                  </a:cubicBezTo>
                  <a:cubicBezTo>
                    <a:pt x="358578" y="8562675"/>
                    <a:pt x="354567" y="8566687"/>
                    <a:pt x="349618" y="8566687"/>
                  </a:cubicBezTo>
                  <a:cubicBezTo>
                    <a:pt x="344669" y="8566687"/>
                    <a:pt x="340658" y="8562675"/>
                    <a:pt x="340658" y="8557726"/>
                  </a:cubicBezTo>
                  <a:cubicBezTo>
                    <a:pt x="340658" y="8552778"/>
                    <a:pt x="344669" y="8548766"/>
                    <a:pt x="349618" y="8548766"/>
                  </a:cubicBezTo>
                  <a:close/>
                  <a:moveTo>
                    <a:pt x="179297" y="8548766"/>
                  </a:moveTo>
                  <a:cubicBezTo>
                    <a:pt x="184246" y="8548766"/>
                    <a:pt x="188258" y="8552778"/>
                    <a:pt x="188258" y="8557726"/>
                  </a:cubicBezTo>
                  <a:cubicBezTo>
                    <a:pt x="188258" y="8562675"/>
                    <a:pt x="184246" y="8566687"/>
                    <a:pt x="179297" y="8566687"/>
                  </a:cubicBezTo>
                  <a:cubicBezTo>
                    <a:pt x="174349" y="8566687"/>
                    <a:pt x="170337" y="8562675"/>
                    <a:pt x="170337" y="8557726"/>
                  </a:cubicBezTo>
                  <a:cubicBezTo>
                    <a:pt x="170337" y="8552778"/>
                    <a:pt x="174349" y="8548766"/>
                    <a:pt x="179297" y="8548766"/>
                  </a:cubicBezTo>
                  <a:close/>
                  <a:moveTo>
                    <a:pt x="8977" y="8548766"/>
                  </a:moveTo>
                  <a:cubicBezTo>
                    <a:pt x="13926" y="8548766"/>
                    <a:pt x="17937" y="8552778"/>
                    <a:pt x="17937" y="8557726"/>
                  </a:cubicBezTo>
                  <a:cubicBezTo>
                    <a:pt x="17937" y="8562675"/>
                    <a:pt x="13926" y="8566687"/>
                    <a:pt x="8977" y="8566687"/>
                  </a:cubicBezTo>
                  <a:cubicBezTo>
                    <a:pt x="4028" y="8566687"/>
                    <a:pt x="16" y="8562675"/>
                    <a:pt x="16" y="8557726"/>
                  </a:cubicBezTo>
                  <a:cubicBezTo>
                    <a:pt x="16" y="8552778"/>
                    <a:pt x="4028" y="8548766"/>
                    <a:pt x="8977" y="8548766"/>
                  </a:cubicBezTo>
                  <a:close/>
                  <a:moveTo>
                    <a:pt x="6933679" y="8377784"/>
                  </a:moveTo>
                  <a:cubicBezTo>
                    <a:pt x="6938628" y="8377784"/>
                    <a:pt x="6942639" y="8381796"/>
                    <a:pt x="6942639" y="8386744"/>
                  </a:cubicBezTo>
                  <a:cubicBezTo>
                    <a:pt x="6942639" y="8391693"/>
                    <a:pt x="6938628" y="8395705"/>
                    <a:pt x="6933679" y="8395705"/>
                  </a:cubicBezTo>
                  <a:cubicBezTo>
                    <a:pt x="6928730" y="8395705"/>
                    <a:pt x="6924718" y="8391693"/>
                    <a:pt x="6924718" y="8386744"/>
                  </a:cubicBezTo>
                  <a:cubicBezTo>
                    <a:pt x="6924718" y="8381796"/>
                    <a:pt x="6928730" y="8377784"/>
                    <a:pt x="6933679" y="8377784"/>
                  </a:cubicBezTo>
                  <a:close/>
                  <a:moveTo>
                    <a:pt x="6763357" y="8377784"/>
                  </a:moveTo>
                  <a:cubicBezTo>
                    <a:pt x="6768306" y="8377784"/>
                    <a:pt x="6772318" y="8381796"/>
                    <a:pt x="6772318" y="8386744"/>
                  </a:cubicBezTo>
                  <a:cubicBezTo>
                    <a:pt x="6772318" y="8391693"/>
                    <a:pt x="6768306" y="8395705"/>
                    <a:pt x="6763357" y="8395705"/>
                  </a:cubicBezTo>
                  <a:cubicBezTo>
                    <a:pt x="6758408" y="8395705"/>
                    <a:pt x="6754397" y="8391693"/>
                    <a:pt x="6754397" y="8386744"/>
                  </a:cubicBezTo>
                  <a:cubicBezTo>
                    <a:pt x="6754397" y="8381796"/>
                    <a:pt x="6758408" y="8377784"/>
                    <a:pt x="6763357" y="8377784"/>
                  </a:cubicBezTo>
                  <a:close/>
                  <a:moveTo>
                    <a:pt x="6593035" y="8377784"/>
                  </a:moveTo>
                  <a:cubicBezTo>
                    <a:pt x="6597984" y="8377784"/>
                    <a:pt x="6601996" y="8381796"/>
                    <a:pt x="6601996" y="8386744"/>
                  </a:cubicBezTo>
                  <a:cubicBezTo>
                    <a:pt x="6601996" y="8391693"/>
                    <a:pt x="6597984" y="8395705"/>
                    <a:pt x="6593035" y="8395705"/>
                  </a:cubicBezTo>
                  <a:cubicBezTo>
                    <a:pt x="6588086" y="8395705"/>
                    <a:pt x="6584075" y="8391693"/>
                    <a:pt x="6584075" y="8386744"/>
                  </a:cubicBezTo>
                  <a:cubicBezTo>
                    <a:pt x="6584075" y="8381796"/>
                    <a:pt x="6588086" y="8377784"/>
                    <a:pt x="6593035" y="8377784"/>
                  </a:cubicBezTo>
                  <a:close/>
                  <a:moveTo>
                    <a:pt x="6424294" y="8377784"/>
                  </a:moveTo>
                  <a:cubicBezTo>
                    <a:pt x="6429243" y="8377784"/>
                    <a:pt x="6433255" y="8381796"/>
                    <a:pt x="6433255" y="8386744"/>
                  </a:cubicBezTo>
                  <a:cubicBezTo>
                    <a:pt x="6433255" y="8391693"/>
                    <a:pt x="6429243" y="8395705"/>
                    <a:pt x="6424294" y="8395705"/>
                  </a:cubicBezTo>
                  <a:cubicBezTo>
                    <a:pt x="6419345" y="8395705"/>
                    <a:pt x="6415334" y="8391693"/>
                    <a:pt x="6415334" y="8386744"/>
                  </a:cubicBezTo>
                  <a:cubicBezTo>
                    <a:pt x="6415334" y="8381796"/>
                    <a:pt x="6419345" y="8377784"/>
                    <a:pt x="6424294" y="8377784"/>
                  </a:cubicBezTo>
                  <a:close/>
                  <a:moveTo>
                    <a:pt x="6255553" y="8377784"/>
                  </a:moveTo>
                  <a:cubicBezTo>
                    <a:pt x="6260502" y="8377784"/>
                    <a:pt x="6264514" y="8381796"/>
                    <a:pt x="6264514" y="8386744"/>
                  </a:cubicBezTo>
                  <a:cubicBezTo>
                    <a:pt x="6264514" y="8391693"/>
                    <a:pt x="6260502" y="8395705"/>
                    <a:pt x="6255553" y="8395705"/>
                  </a:cubicBezTo>
                  <a:cubicBezTo>
                    <a:pt x="6250604" y="8395705"/>
                    <a:pt x="6246593" y="8391693"/>
                    <a:pt x="6246593" y="8386744"/>
                  </a:cubicBezTo>
                  <a:cubicBezTo>
                    <a:pt x="6246593" y="8381796"/>
                    <a:pt x="6250604" y="8377784"/>
                    <a:pt x="6255553" y="8377784"/>
                  </a:cubicBezTo>
                  <a:close/>
                  <a:moveTo>
                    <a:pt x="6086811" y="8377784"/>
                  </a:moveTo>
                  <a:cubicBezTo>
                    <a:pt x="6091760" y="8377784"/>
                    <a:pt x="6095772" y="8381796"/>
                    <a:pt x="6095772" y="8386744"/>
                  </a:cubicBezTo>
                  <a:cubicBezTo>
                    <a:pt x="6095772" y="8391693"/>
                    <a:pt x="6091760" y="8395705"/>
                    <a:pt x="6086811" y="8395705"/>
                  </a:cubicBezTo>
                  <a:cubicBezTo>
                    <a:pt x="6081862" y="8395705"/>
                    <a:pt x="6077851" y="8391693"/>
                    <a:pt x="6077851" y="8386744"/>
                  </a:cubicBezTo>
                  <a:cubicBezTo>
                    <a:pt x="6077851" y="8381796"/>
                    <a:pt x="6081862" y="8377784"/>
                    <a:pt x="6086811" y="8377784"/>
                  </a:cubicBezTo>
                  <a:close/>
                  <a:moveTo>
                    <a:pt x="5918069" y="8377784"/>
                  </a:moveTo>
                  <a:cubicBezTo>
                    <a:pt x="5923018" y="8377784"/>
                    <a:pt x="5927030" y="8381796"/>
                    <a:pt x="5927030" y="8386744"/>
                  </a:cubicBezTo>
                  <a:cubicBezTo>
                    <a:pt x="5927030" y="8391693"/>
                    <a:pt x="5923018" y="8395705"/>
                    <a:pt x="5918069" y="8395705"/>
                  </a:cubicBezTo>
                  <a:cubicBezTo>
                    <a:pt x="5913120" y="8395705"/>
                    <a:pt x="5909109" y="8391693"/>
                    <a:pt x="5909109" y="8386744"/>
                  </a:cubicBezTo>
                  <a:cubicBezTo>
                    <a:pt x="5909109" y="8381796"/>
                    <a:pt x="5913120" y="8377784"/>
                    <a:pt x="5918069" y="8377784"/>
                  </a:cubicBezTo>
                  <a:close/>
                  <a:moveTo>
                    <a:pt x="5749328" y="8377784"/>
                  </a:moveTo>
                  <a:cubicBezTo>
                    <a:pt x="5754277" y="8377784"/>
                    <a:pt x="5758289" y="8381796"/>
                    <a:pt x="5758289" y="8386744"/>
                  </a:cubicBezTo>
                  <a:cubicBezTo>
                    <a:pt x="5758289" y="8391693"/>
                    <a:pt x="5754277" y="8395705"/>
                    <a:pt x="5749328" y="8395705"/>
                  </a:cubicBezTo>
                  <a:cubicBezTo>
                    <a:pt x="5744379" y="8395705"/>
                    <a:pt x="5740368" y="8391693"/>
                    <a:pt x="5740368" y="8386744"/>
                  </a:cubicBezTo>
                  <a:cubicBezTo>
                    <a:pt x="5740368" y="8381796"/>
                    <a:pt x="5744379" y="8377784"/>
                    <a:pt x="5749328" y="8377784"/>
                  </a:cubicBezTo>
                  <a:close/>
                  <a:moveTo>
                    <a:pt x="5580586" y="8377784"/>
                  </a:moveTo>
                  <a:cubicBezTo>
                    <a:pt x="5585535" y="8377784"/>
                    <a:pt x="5589547" y="8381796"/>
                    <a:pt x="5589547" y="8386744"/>
                  </a:cubicBezTo>
                  <a:cubicBezTo>
                    <a:pt x="5589547" y="8391693"/>
                    <a:pt x="5585535" y="8395705"/>
                    <a:pt x="5580586" y="8395705"/>
                  </a:cubicBezTo>
                  <a:cubicBezTo>
                    <a:pt x="5575637" y="8395705"/>
                    <a:pt x="5571626" y="8391693"/>
                    <a:pt x="5571626" y="8386744"/>
                  </a:cubicBezTo>
                  <a:cubicBezTo>
                    <a:pt x="5571626" y="8381796"/>
                    <a:pt x="5575637" y="8377784"/>
                    <a:pt x="5580586" y="8377784"/>
                  </a:cubicBezTo>
                  <a:close/>
                  <a:moveTo>
                    <a:pt x="5411845" y="8377784"/>
                  </a:moveTo>
                  <a:cubicBezTo>
                    <a:pt x="5416794" y="8377784"/>
                    <a:pt x="5420806" y="8381796"/>
                    <a:pt x="5420806" y="8386744"/>
                  </a:cubicBezTo>
                  <a:cubicBezTo>
                    <a:pt x="5420806" y="8391693"/>
                    <a:pt x="5416794" y="8395705"/>
                    <a:pt x="5411845" y="8395705"/>
                  </a:cubicBezTo>
                  <a:cubicBezTo>
                    <a:pt x="5406896" y="8395705"/>
                    <a:pt x="5402885" y="8391693"/>
                    <a:pt x="5402885" y="8386744"/>
                  </a:cubicBezTo>
                  <a:cubicBezTo>
                    <a:pt x="5402885" y="8381796"/>
                    <a:pt x="5406896" y="8377784"/>
                    <a:pt x="5411845" y="8377784"/>
                  </a:cubicBezTo>
                  <a:close/>
                  <a:moveTo>
                    <a:pt x="5243103" y="8377784"/>
                  </a:moveTo>
                  <a:cubicBezTo>
                    <a:pt x="5248052" y="8377784"/>
                    <a:pt x="5252064" y="8381796"/>
                    <a:pt x="5252064" y="8386744"/>
                  </a:cubicBezTo>
                  <a:cubicBezTo>
                    <a:pt x="5252064" y="8391693"/>
                    <a:pt x="5248052" y="8395705"/>
                    <a:pt x="5243103" y="8395705"/>
                  </a:cubicBezTo>
                  <a:cubicBezTo>
                    <a:pt x="5238154" y="8395705"/>
                    <a:pt x="5234143" y="8391693"/>
                    <a:pt x="5234143" y="8386744"/>
                  </a:cubicBezTo>
                  <a:cubicBezTo>
                    <a:pt x="5234143" y="8381796"/>
                    <a:pt x="5238154" y="8377784"/>
                    <a:pt x="5243103" y="8377784"/>
                  </a:cubicBezTo>
                  <a:close/>
                  <a:moveTo>
                    <a:pt x="5074362" y="8377784"/>
                  </a:moveTo>
                  <a:cubicBezTo>
                    <a:pt x="5079311" y="8377784"/>
                    <a:pt x="5083323" y="8381796"/>
                    <a:pt x="5083323" y="8386744"/>
                  </a:cubicBezTo>
                  <a:cubicBezTo>
                    <a:pt x="5083323" y="8391693"/>
                    <a:pt x="5079311" y="8395705"/>
                    <a:pt x="5074362" y="8395705"/>
                  </a:cubicBezTo>
                  <a:cubicBezTo>
                    <a:pt x="5069413" y="8395705"/>
                    <a:pt x="5065402" y="8391693"/>
                    <a:pt x="5065402" y="8386744"/>
                  </a:cubicBezTo>
                  <a:cubicBezTo>
                    <a:pt x="5065402" y="8381796"/>
                    <a:pt x="5069413" y="8377784"/>
                    <a:pt x="5074362" y="8377784"/>
                  </a:cubicBezTo>
                  <a:close/>
                  <a:moveTo>
                    <a:pt x="4905620" y="8377784"/>
                  </a:moveTo>
                  <a:cubicBezTo>
                    <a:pt x="4910569" y="8377784"/>
                    <a:pt x="4914581" y="8381796"/>
                    <a:pt x="4914581" y="8386744"/>
                  </a:cubicBezTo>
                  <a:cubicBezTo>
                    <a:pt x="4914581" y="8391693"/>
                    <a:pt x="4910569" y="8395705"/>
                    <a:pt x="4905620" y="8395705"/>
                  </a:cubicBezTo>
                  <a:cubicBezTo>
                    <a:pt x="4900671" y="8395705"/>
                    <a:pt x="4896660" y="8391693"/>
                    <a:pt x="4896660" y="8386744"/>
                  </a:cubicBezTo>
                  <a:cubicBezTo>
                    <a:pt x="4896660" y="8381796"/>
                    <a:pt x="4900671" y="8377784"/>
                    <a:pt x="4905620" y="8377784"/>
                  </a:cubicBezTo>
                  <a:close/>
                  <a:moveTo>
                    <a:pt x="4736878" y="8377784"/>
                  </a:moveTo>
                  <a:cubicBezTo>
                    <a:pt x="4741827" y="8377784"/>
                    <a:pt x="4745839" y="8381796"/>
                    <a:pt x="4745839" y="8386744"/>
                  </a:cubicBezTo>
                  <a:cubicBezTo>
                    <a:pt x="4745839" y="8391693"/>
                    <a:pt x="4741827" y="8395705"/>
                    <a:pt x="4736878" y="8395705"/>
                  </a:cubicBezTo>
                  <a:cubicBezTo>
                    <a:pt x="4731929" y="8395705"/>
                    <a:pt x="4727918" y="8391693"/>
                    <a:pt x="4727918" y="8386744"/>
                  </a:cubicBezTo>
                  <a:cubicBezTo>
                    <a:pt x="4727918" y="8381796"/>
                    <a:pt x="4731929" y="8377784"/>
                    <a:pt x="4736878" y="8377784"/>
                  </a:cubicBezTo>
                  <a:close/>
                  <a:moveTo>
                    <a:pt x="4568137" y="8377784"/>
                  </a:moveTo>
                  <a:cubicBezTo>
                    <a:pt x="4573086" y="8377784"/>
                    <a:pt x="4577098" y="8381796"/>
                    <a:pt x="4577098" y="8386744"/>
                  </a:cubicBezTo>
                  <a:cubicBezTo>
                    <a:pt x="4577098" y="8391693"/>
                    <a:pt x="4573086" y="8395705"/>
                    <a:pt x="4568137" y="8395705"/>
                  </a:cubicBezTo>
                  <a:cubicBezTo>
                    <a:pt x="4563188" y="8395705"/>
                    <a:pt x="4559177" y="8391693"/>
                    <a:pt x="4559177" y="8386744"/>
                  </a:cubicBezTo>
                  <a:cubicBezTo>
                    <a:pt x="4559177" y="8381796"/>
                    <a:pt x="4563188" y="8377784"/>
                    <a:pt x="4568137" y="8377784"/>
                  </a:cubicBezTo>
                  <a:close/>
                  <a:moveTo>
                    <a:pt x="4399396" y="8377784"/>
                  </a:moveTo>
                  <a:cubicBezTo>
                    <a:pt x="4404345" y="8377784"/>
                    <a:pt x="4408357" y="8381796"/>
                    <a:pt x="4408357" y="8386744"/>
                  </a:cubicBezTo>
                  <a:cubicBezTo>
                    <a:pt x="4408357" y="8391693"/>
                    <a:pt x="4404345" y="8395705"/>
                    <a:pt x="4399396" y="8395705"/>
                  </a:cubicBezTo>
                  <a:cubicBezTo>
                    <a:pt x="4394447" y="8395705"/>
                    <a:pt x="4390436" y="8391693"/>
                    <a:pt x="4390436" y="8386744"/>
                  </a:cubicBezTo>
                  <a:cubicBezTo>
                    <a:pt x="4390436" y="8381796"/>
                    <a:pt x="4394447" y="8377784"/>
                    <a:pt x="4399396" y="8377784"/>
                  </a:cubicBezTo>
                  <a:close/>
                  <a:moveTo>
                    <a:pt x="4230654" y="8377784"/>
                  </a:moveTo>
                  <a:cubicBezTo>
                    <a:pt x="4235603" y="8377784"/>
                    <a:pt x="4239615" y="8381796"/>
                    <a:pt x="4239615" y="8386744"/>
                  </a:cubicBezTo>
                  <a:cubicBezTo>
                    <a:pt x="4239615" y="8391693"/>
                    <a:pt x="4235603" y="8395705"/>
                    <a:pt x="4230654" y="8395705"/>
                  </a:cubicBezTo>
                  <a:cubicBezTo>
                    <a:pt x="4225705" y="8395705"/>
                    <a:pt x="4221694" y="8391693"/>
                    <a:pt x="4221694" y="8386744"/>
                  </a:cubicBezTo>
                  <a:cubicBezTo>
                    <a:pt x="4221694" y="8381796"/>
                    <a:pt x="4225705" y="8377784"/>
                    <a:pt x="4230654" y="8377784"/>
                  </a:cubicBezTo>
                  <a:close/>
                  <a:moveTo>
                    <a:pt x="4061912" y="8377784"/>
                  </a:moveTo>
                  <a:cubicBezTo>
                    <a:pt x="4066861" y="8377784"/>
                    <a:pt x="4070873" y="8381796"/>
                    <a:pt x="4070873" y="8386744"/>
                  </a:cubicBezTo>
                  <a:cubicBezTo>
                    <a:pt x="4070873" y="8391693"/>
                    <a:pt x="4066861" y="8395705"/>
                    <a:pt x="4061912" y="8395705"/>
                  </a:cubicBezTo>
                  <a:cubicBezTo>
                    <a:pt x="4056963" y="8395705"/>
                    <a:pt x="4052952" y="8391693"/>
                    <a:pt x="4052952" y="8386744"/>
                  </a:cubicBezTo>
                  <a:cubicBezTo>
                    <a:pt x="4052952" y="8381796"/>
                    <a:pt x="4056963" y="8377784"/>
                    <a:pt x="4061912" y="8377784"/>
                  </a:cubicBezTo>
                  <a:close/>
                  <a:moveTo>
                    <a:pt x="3893170" y="8377784"/>
                  </a:moveTo>
                  <a:cubicBezTo>
                    <a:pt x="3898119" y="8377784"/>
                    <a:pt x="3902131" y="8381796"/>
                    <a:pt x="3902131" y="8386744"/>
                  </a:cubicBezTo>
                  <a:cubicBezTo>
                    <a:pt x="3902131" y="8391693"/>
                    <a:pt x="3898119" y="8395705"/>
                    <a:pt x="3893170" y="8395705"/>
                  </a:cubicBezTo>
                  <a:cubicBezTo>
                    <a:pt x="3888221" y="8395705"/>
                    <a:pt x="3884210" y="8391693"/>
                    <a:pt x="3884210" y="8386744"/>
                  </a:cubicBezTo>
                  <a:cubicBezTo>
                    <a:pt x="3884210" y="8381796"/>
                    <a:pt x="3888221" y="8377784"/>
                    <a:pt x="3893170" y="8377784"/>
                  </a:cubicBezTo>
                  <a:close/>
                  <a:moveTo>
                    <a:pt x="3724429" y="8377784"/>
                  </a:moveTo>
                  <a:cubicBezTo>
                    <a:pt x="3729378" y="8377784"/>
                    <a:pt x="3733390" y="8381796"/>
                    <a:pt x="3733390" y="8386744"/>
                  </a:cubicBezTo>
                  <a:cubicBezTo>
                    <a:pt x="3733390" y="8391693"/>
                    <a:pt x="3729378" y="8395705"/>
                    <a:pt x="3724429" y="8395705"/>
                  </a:cubicBezTo>
                  <a:cubicBezTo>
                    <a:pt x="3719481" y="8395705"/>
                    <a:pt x="3715469" y="8391693"/>
                    <a:pt x="3715469" y="8386744"/>
                  </a:cubicBezTo>
                  <a:cubicBezTo>
                    <a:pt x="3715469" y="8381796"/>
                    <a:pt x="3719481" y="8377784"/>
                    <a:pt x="3724429" y="8377784"/>
                  </a:cubicBezTo>
                  <a:close/>
                  <a:moveTo>
                    <a:pt x="3555688" y="8377784"/>
                  </a:moveTo>
                  <a:cubicBezTo>
                    <a:pt x="3560637" y="8377784"/>
                    <a:pt x="3564649" y="8381796"/>
                    <a:pt x="3564649" y="8386744"/>
                  </a:cubicBezTo>
                  <a:cubicBezTo>
                    <a:pt x="3564649" y="8391693"/>
                    <a:pt x="3560637" y="8395705"/>
                    <a:pt x="3555688" y="8395705"/>
                  </a:cubicBezTo>
                  <a:cubicBezTo>
                    <a:pt x="3550740" y="8395705"/>
                    <a:pt x="3546728" y="8391693"/>
                    <a:pt x="3546728" y="8386744"/>
                  </a:cubicBezTo>
                  <a:cubicBezTo>
                    <a:pt x="3546728" y="8381796"/>
                    <a:pt x="3550740" y="8377784"/>
                    <a:pt x="3555688" y="8377784"/>
                  </a:cubicBezTo>
                  <a:close/>
                  <a:moveTo>
                    <a:pt x="3386963" y="8377784"/>
                  </a:moveTo>
                  <a:cubicBezTo>
                    <a:pt x="3391911" y="8377784"/>
                    <a:pt x="3395924" y="8381796"/>
                    <a:pt x="3395924" y="8386744"/>
                  </a:cubicBezTo>
                  <a:cubicBezTo>
                    <a:pt x="3395924" y="8391693"/>
                    <a:pt x="3391911" y="8395705"/>
                    <a:pt x="3386963" y="8395705"/>
                  </a:cubicBezTo>
                  <a:cubicBezTo>
                    <a:pt x="3382007" y="8395705"/>
                    <a:pt x="3377994" y="8391693"/>
                    <a:pt x="3377994" y="8386744"/>
                  </a:cubicBezTo>
                  <a:cubicBezTo>
                    <a:pt x="3377994" y="8381796"/>
                    <a:pt x="3382007" y="8377784"/>
                    <a:pt x="3386963" y="8377784"/>
                  </a:cubicBezTo>
                  <a:close/>
                  <a:moveTo>
                    <a:pt x="3218218" y="8377784"/>
                  </a:moveTo>
                  <a:cubicBezTo>
                    <a:pt x="3223167" y="8377784"/>
                    <a:pt x="3227180" y="8381796"/>
                    <a:pt x="3227180" y="8386744"/>
                  </a:cubicBezTo>
                  <a:cubicBezTo>
                    <a:pt x="3227180" y="8391693"/>
                    <a:pt x="3223167" y="8395705"/>
                    <a:pt x="3218218" y="8395705"/>
                  </a:cubicBezTo>
                  <a:cubicBezTo>
                    <a:pt x="3213266" y="8395705"/>
                    <a:pt x="3209259" y="8391693"/>
                    <a:pt x="3209259" y="8386744"/>
                  </a:cubicBezTo>
                  <a:cubicBezTo>
                    <a:pt x="3209259" y="8381796"/>
                    <a:pt x="3213266" y="8377784"/>
                    <a:pt x="3218218" y="8377784"/>
                  </a:cubicBezTo>
                  <a:close/>
                  <a:moveTo>
                    <a:pt x="3049488" y="8377784"/>
                  </a:moveTo>
                  <a:cubicBezTo>
                    <a:pt x="3054429" y="8377784"/>
                    <a:pt x="3058442" y="8381796"/>
                    <a:pt x="3058442" y="8386744"/>
                  </a:cubicBezTo>
                  <a:cubicBezTo>
                    <a:pt x="3058442" y="8391693"/>
                    <a:pt x="3054429" y="8395705"/>
                    <a:pt x="3049488" y="8395705"/>
                  </a:cubicBezTo>
                  <a:cubicBezTo>
                    <a:pt x="3044532" y="8395705"/>
                    <a:pt x="3040520" y="8391693"/>
                    <a:pt x="3040520" y="8386744"/>
                  </a:cubicBezTo>
                  <a:cubicBezTo>
                    <a:pt x="3040520" y="8381796"/>
                    <a:pt x="3044532" y="8377784"/>
                    <a:pt x="3049488" y="8377784"/>
                  </a:cubicBezTo>
                  <a:close/>
                  <a:moveTo>
                    <a:pt x="2880744" y="8377784"/>
                  </a:moveTo>
                  <a:cubicBezTo>
                    <a:pt x="2885691" y="8377784"/>
                    <a:pt x="2889704" y="8381796"/>
                    <a:pt x="2889704" y="8386744"/>
                  </a:cubicBezTo>
                  <a:cubicBezTo>
                    <a:pt x="2889704" y="8391693"/>
                    <a:pt x="2885691" y="8395705"/>
                    <a:pt x="2880744" y="8395705"/>
                  </a:cubicBezTo>
                  <a:cubicBezTo>
                    <a:pt x="2875794" y="8395705"/>
                    <a:pt x="2871784" y="8391693"/>
                    <a:pt x="2871784" y="8386744"/>
                  </a:cubicBezTo>
                  <a:cubicBezTo>
                    <a:pt x="2871784" y="8381796"/>
                    <a:pt x="2875794" y="8377784"/>
                    <a:pt x="2880744" y="8377784"/>
                  </a:cubicBezTo>
                  <a:close/>
                  <a:moveTo>
                    <a:pt x="2711999" y="8377784"/>
                  </a:moveTo>
                  <a:cubicBezTo>
                    <a:pt x="2716949" y="8377784"/>
                    <a:pt x="2720965" y="8381796"/>
                    <a:pt x="2720965" y="8386744"/>
                  </a:cubicBezTo>
                  <a:cubicBezTo>
                    <a:pt x="2720965" y="8391693"/>
                    <a:pt x="2716949" y="8395705"/>
                    <a:pt x="2711999" y="8395705"/>
                  </a:cubicBezTo>
                  <a:cubicBezTo>
                    <a:pt x="2707054" y="8395705"/>
                    <a:pt x="2703043" y="8391693"/>
                    <a:pt x="2703043" y="8386744"/>
                  </a:cubicBezTo>
                  <a:cubicBezTo>
                    <a:pt x="2703043" y="8381796"/>
                    <a:pt x="2707054" y="8377784"/>
                    <a:pt x="2711999" y="8377784"/>
                  </a:cubicBezTo>
                  <a:close/>
                  <a:moveTo>
                    <a:pt x="2543263" y="8377784"/>
                  </a:moveTo>
                  <a:cubicBezTo>
                    <a:pt x="2548217" y="8377784"/>
                    <a:pt x="2552225" y="8381796"/>
                    <a:pt x="2552225" y="8386744"/>
                  </a:cubicBezTo>
                  <a:cubicBezTo>
                    <a:pt x="2552225" y="8391693"/>
                    <a:pt x="2548217" y="8395705"/>
                    <a:pt x="2543263" y="8395705"/>
                  </a:cubicBezTo>
                  <a:cubicBezTo>
                    <a:pt x="2538315" y="8395705"/>
                    <a:pt x="2534302" y="8391693"/>
                    <a:pt x="2534302" y="8386744"/>
                  </a:cubicBezTo>
                  <a:cubicBezTo>
                    <a:pt x="2534302" y="8381796"/>
                    <a:pt x="2538315" y="8377784"/>
                    <a:pt x="2543263" y="8377784"/>
                  </a:cubicBezTo>
                  <a:close/>
                  <a:moveTo>
                    <a:pt x="2374517" y="8377784"/>
                  </a:moveTo>
                  <a:cubicBezTo>
                    <a:pt x="2379466" y="8377784"/>
                    <a:pt x="2383483" y="8381796"/>
                    <a:pt x="2383483" y="8386744"/>
                  </a:cubicBezTo>
                  <a:cubicBezTo>
                    <a:pt x="2383483" y="8391693"/>
                    <a:pt x="2379466" y="8395705"/>
                    <a:pt x="2374517" y="8395705"/>
                  </a:cubicBezTo>
                  <a:cubicBezTo>
                    <a:pt x="2369567" y="8395705"/>
                    <a:pt x="2365554" y="8391693"/>
                    <a:pt x="2365554" y="8386744"/>
                  </a:cubicBezTo>
                  <a:cubicBezTo>
                    <a:pt x="2365554" y="8381796"/>
                    <a:pt x="2369567" y="8377784"/>
                    <a:pt x="2374517" y="8377784"/>
                  </a:cubicBezTo>
                  <a:close/>
                  <a:moveTo>
                    <a:pt x="2205778" y="8377784"/>
                  </a:moveTo>
                  <a:cubicBezTo>
                    <a:pt x="2210728" y="8377784"/>
                    <a:pt x="2214741" y="8381796"/>
                    <a:pt x="2214741" y="8386744"/>
                  </a:cubicBezTo>
                  <a:cubicBezTo>
                    <a:pt x="2214741" y="8391693"/>
                    <a:pt x="2210728" y="8395705"/>
                    <a:pt x="2205778" y="8395705"/>
                  </a:cubicBezTo>
                  <a:cubicBezTo>
                    <a:pt x="2200829" y="8395705"/>
                    <a:pt x="2196821" y="8391693"/>
                    <a:pt x="2196821" y="8386744"/>
                  </a:cubicBezTo>
                  <a:cubicBezTo>
                    <a:pt x="2196821" y="8381796"/>
                    <a:pt x="2200829" y="8377784"/>
                    <a:pt x="2205778" y="8377784"/>
                  </a:cubicBezTo>
                  <a:close/>
                  <a:moveTo>
                    <a:pt x="2037040" y="8377784"/>
                  </a:moveTo>
                  <a:cubicBezTo>
                    <a:pt x="2041987" y="8377784"/>
                    <a:pt x="2045995" y="8381796"/>
                    <a:pt x="2045995" y="8386744"/>
                  </a:cubicBezTo>
                  <a:cubicBezTo>
                    <a:pt x="2045995" y="8391693"/>
                    <a:pt x="2041987" y="8395705"/>
                    <a:pt x="2037040" y="8395705"/>
                  </a:cubicBezTo>
                  <a:cubicBezTo>
                    <a:pt x="2032092" y="8395705"/>
                    <a:pt x="2028080" y="8391693"/>
                    <a:pt x="2028080" y="8386744"/>
                  </a:cubicBezTo>
                  <a:cubicBezTo>
                    <a:pt x="2028080" y="8381796"/>
                    <a:pt x="2032092" y="8377784"/>
                    <a:pt x="2037040" y="8377784"/>
                  </a:cubicBezTo>
                  <a:close/>
                  <a:moveTo>
                    <a:pt x="1868301" y="8377784"/>
                  </a:moveTo>
                  <a:cubicBezTo>
                    <a:pt x="1873249" y="8377784"/>
                    <a:pt x="1877260" y="8381796"/>
                    <a:pt x="1877260" y="8386744"/>
                  </a:cubicBezTo>
                  <a:cubicBezTo>
                    <a:pt x="1877260" y="8391693"/>
                    <a:pt x="1873249" y="8395705"/>
                    <a:pt x="1868301" y="8395705"/>
                  </a:cubicBezTo>
                  <a:cubicBezTo>
                    <a:pt x="1863352" y="8395705"/>
                    <a:pt x="1859338" y="8391693"/>
                    <a:pt x="1859338" y="8386744"/>
                  </a:cubicBezTo>
                  <a:cubicBezTo>
                    <a:pt x="1859338" y="8381796"/>
                    <a:pt x="1863352" y="8377784"/>
                    <a:pt x="1868301" y="8377784"/>
                  </a:cubicBezTo>
                  <a:close/>
                  <a:moveTo>
                    <a:pt x="1699560" y="8377784"/>
                  </a:moveTo>
                  <a:cubicBezTo>
                    <a:pt x="1704508" y="8377784"/>
                    <a:pt x="1708520" y="8381796"/>
                    <a:pt x="1708520" y="8386744"/>
                  </a:cubicBezTo>
                  <a:cubicBezTo>
                    <a:pt x="1708520" y="8391693"/>
                    <a:pt x="1704508" y="8395705"/>
                    <a:pt x="1699560" y="8395705"/>
                  </a:cubicBezTo>
                  <a:cubicBezTo>
                    <a:pt x="1694609" y="8395705"/>
                    <a:pt x="1690598" y="8391693"/>
                    <a:pt x="1690598" y="8386744"/>
                  </a:cubicBezTo>
                  <a:cubicBezTo>
                    <a:pt x="1690598" y="8381796"/>
                    <a:pt x="1694609" y="8377784"/>
                    <a:pt x="1699560" y="8377784"/>
                  </a:cubicBezTo>
                  <a:close/>
                  <a:moveTo>
                    <a:pt x="1530817" y="8377784"/>
                  </a:moveTo>
                  <a:cubicBezTo>
                    <a:pt x="1535766" y="8377784"/>
                    <a:pt x="1539778" y="8381796"/>
                    <a:pt x="1539778" y="8386744"/>
                  </a:cubicBezTo>
                  <a:cubicBezTo>
                    <a:pt x="1539778" y="8391693"/>
                    <a:pt x="1535766" y="8395705"/>
                    <a:pt x="1530817" y="8395705"/>
                  </a:cubicBezTo>
                  <a:cubicBezTo>
                    <a:pt x="1525868" y="8395705"/>
                    <a:pt x="1521856" y="8391693"/>
                    <a:pt x="1521856" y="8386744"/>
                  </a:cubicBezTo>
                  <a:cubicBezTo>
                    <a:pt x="1521856" y="8381796"/>
                    <a:pt x="1525868" y="8377784"/>
                    <a:pt x="1530817" y="8377784"/>
                  </a:cubicBezTo>
                  <a:close/>
                  <a:moveTo>
                    <a:pt x="1362074" y="8377784"/>
                  </a:moveTo>
                  <a:cubicBezTo>
                    <a:pt x="1367023" y="8377784"/>
                    <a:pt x="1371034" y="8381796"/>
                    <a:pt x="1371034" y="8386744"/>
                  </a:cubicBezTo>
                  <a:cubicBezTo>
                    <a:pt x="1371034" y="8391693"/>
                    <a:pt x="1367023" y="8395705"/>
                    <a:pt x="1362074" y="8395705"/>
                  </a:cubicBezTo>
                  <a:cubicBezTo>
                    <a:pt x="1357124" y="8395705"/>
                    <a:pt x="1353113" y="8391693"/>
                    <a:pt x="1353113" y="8386744"/>
                  </a:cubicBezTo>
                  <a:cubicBezTo>
                    <a:pt x="1353113" y="8381796"/>
                    <a:pt x="1357124" y="8377784"/>
                    <a:pt x="1362074" y="8377784"/>
                  </a:cubicBezTo>
                  <a:close/>
                  <a:moveTo>
                    <a:pt x="1193332" y="8377784"/>
                  </a:moveTo>
                  <a:cubicBezTo>
                    <a:pt x="1198281" y="8377784"/>
                    <a:pt x="1202293" y="8381796"/>
                    <a:pt x="1202293" y="8386744"/>
                  </a:cubicBezTo>
                  <a:cubicBezTo>
                    <a:pt x="1202293" y="8391693"/>
                    <a:pt x="1198281" y="8395705"/>
                    <a:pt x="1193332" y="8395705"/>
                  </a:cubicBezTo>
                  <a:cubicBezTo>
                    <a:pt x="1188384" y="8395705"/>
                    <a:pt x="1184373" y="8391693"/>
                    <a:pt x="1184373" y="8386744"/>
                  </a:cubicBezTo>
                  <a:cubicBezTo>
                    <a:pt x="1184373" y="8381796"/>
                    <a:pt x="1188384" y="8377784"/>
                    <a:pt x="1193332" y="8377784"/>
                  </a:cubicBezTo>
                  <a:close/>
                  <a:moveTo>
                    <a:pt x="1024589" y="8377784"/>
                  </a:moveTo>
                  <a:cubicBezTo>
                    <a:pt x="1029539" y="8377784"/>
                    <a:pt x="1033551" y="8381796"/>
                    <a:pt x="1033551" y="8386744"/>
                  </a:cubicBezTo>
                  <a:cubicBezTo>
                    <a:pt x="1033551" y="8391693"/>
                    <a:pt x="1029539" y="8395705"/>
                    <a:pt x="1024589" y="8395705"/>
                  </a:cubicBezTo>
                  <a:cubicBezTo>
                    <a:pt x="1019642" y="8395705"/>
                    <a:pt x="1015630" y="8391693"/>
                    <a:pt x="1015630" y="8386744"/>
                  </a:cubicBezTo>
                  <a:cubicBezTo>
                    <a:pt x="1015630" y="8381796"/>
                    <a:pt x="1019642" y="8377784"/>
                    <a:pt x="1024589" y="8377784"/>
                  </a:cubicBezTo>
                  <a:close/>
                  <a:moveTo>
                    <a:pt x="855850" y="8377784"/>
                  </a:moveTo>
                  <a:cubicBezTo>
                    <a:pt x="860799" y="8377784"/>
                    <a:pt x="864810" y="8381796"/>
                    <a:pt x="864810" y="8386744"/>
                  </a:cubicBezTo>
                  <a:cubicBezTo>
                    <a:pt x="864810" y="8391693"/>
                    <a:pt x="860799" y="8395705"/>
                    <a:pt x="855850" y="8395705"/>
                  </a:cubicBezTo>
                  <a:cubicBezTo>
                    <a:pt x="850901" y="8395705"/>
                    <a:pt x="846889" y="8391693"/>
                    <a:pt x="846889" y="8386744"/>
                  </a:cubicBezTo>
                  <a:cubicBezTo>
                    <a:pt x="846889" y="8381796"/>
                    <a:pt x="850901" y="8377784"/>
                    <a:pt x="855850" y="8377784"/>
                  </a:cubicBezTo>
                  <a:close/>
                  <a:moveTo>
                    <a:pt x="687108" y="8377784"/>
                  </a:moveTo>
                  <a:cubicBezTo>
                    <a:pt x="692057" y="8377784"/>
                    <a:pt x="696069" y="8381796"/>
                    <a:pt x="696069" y="8386744"/>
                  </a:cubicBezTo>
                  <a:cubicBezTo>
                    <a:pt x="696069" y="8391693"/>
                    <a:pt x="692057" y="8395705"/>
                    <a:pt x="687108" y="8395705"/>
                  </a:cubicBezTo>
                  <a:cubicBezTo>
                    <a:pt x="682160" y="8395705"/>
                    <a:pt x="678148" y="8391693"/>
                    <a:pt x="678148" y="8386744"/>
                  </a:cubicBezTo>
                  <a:cubicBezTo>
                    <a:pt x="678148" y="8381796"/>
                    <a:pt x="682160" y="8377784"/>
                    <a:pt x="687108" y="8377784"/>
                  </a:cubicBezTo>
                  <a:close/>
                  <a:moveTo>
                    <a:pt x="518362" y="8377784"/>
                  </a:moveTo>
                  <a:cubicBezTo>
                    <a:pt x="523311" y="8377784"/>
                    <a:pt x="527323" y="8381796"/>
                    <a:pt x="527323" y="8386744"/>
                  </a:cubicBezTo>
                  <a:cubicBezTo>
                    <a:pt x="527323" y="8391693"/>
                    <a:pt x="523311" y="8395705"/>
                    <a:pt x="518362" y="8395705"/>
                  </a:cubicBezTo>
                  <a:cubicBezTo>
                    <a:pt x="513413" y="8395705"/>
                    <a:pt x="509402" y="8391693"/>
                    <a:pt x="509402" y="8386744"/>
                  </a:cubicBezTo>
                  <a:cubicBezTo>
                    <a:pt x="509402" y="8381796"/>
                    <a:pt x="513413" y="8377784"/>
                    <a:pt x="518362" y="8377784"/>
                  </a:cubicBezTo>
                  <a:close/>
                  <a:moveTo>
                    <a:pt x="349622" y="8377784"/>
                  </a:moveTo>
                  <a:cubicBezTo>
                    <a:pt x="354571" y="8377784"/>
                    <a:pt x="358582" y="8381796"/>
                    <a:pt x="358582" y="8386744"/>
                  </a:cubicBezTo>
                  <a:cubicBezTo>
                    <a:pt x="358582" y="8391693"/>
                    <a:pt x="354571" y="8395705"/>
                    <a:pt x="349622" y="8395705"/>
                  </a:cubicBezTo>
                  <a:cubicBezTo>
                    <a:pt x="344673" y="8395705"/>
                    <a:pt x="340661" y="8391693"/>
                    <a:pt x="340661" y="8386744"/>
                  </a:cubicBezTo>
                  <a:cubicBezTo>
                    <a:pt x="340661" y="8381796"/>
                    <a:pt x="344673" y="8377784"/>
                    <a:pt x="349622" y="8377784"/>
                  </a:cubicBezTo>
                  <a:close/>
                  <a:moveTo>
                    <a:pt x="179301" y="8377784"/>
                  </a:moveTo>
                  <a:cubicBezTo>
                    <a:pt x="184250" y="8377784"/>
                    <a:pt x="188262" y="8381796"/>
                    <a:pt x="188262" y="8386744"/>
                  </a:cubicBezTo>
                  <a:cubicBezTo>
                    <a:pt x="188262" y="8391693"/>
                    <a:pt x="184250" y="8395705"/>
                    <a:pt x="179301" y="8395705"/>
                  </a:cubicBezTo>
                  <a:cubicBezTo>
                    <a:pt x="174353" y="8395705"/>
                    <a:pt x="170341" y="8391693"/>
                    <a:pt x="170341" y="8386744"/>
                  </a:cubicBezTo>
                  <a:cubicBezTo>
                    <a:pt x="170341" y="8381796"/>
                    <a:pt x="174353" y="8377784"/>
                    <a:pt x="179301" y="8377784"/>
                  </a:cubicBezTo>
                  <a:close/>
                  <a:moveTo>
                    <a:pt x="8981" y="8377784"/>
                  </a:moveTo>
                  <a:cubicBezTo>
                    <a:pt x="13930" y="8377784"/>
                    <a:pt x="17941" y="8381796"/>
                    <a:pt x="17941" y="8386744"/>
                  </a:cubicBezTo>
                  <a:cubicBezTo>
                    <a:pt x="17941" y="8391693"/>
                    <a:pt x="13930" y="8395705"/>
                    <a:pt x="8981" y="8395705"/>
                  </a:cubicBezTo>
                  <a:cubicBezTo>
                    <a:pt x="4032" y="8395705"/>
                    <a:pt x="20" y="8391693"/>
                    <a:pt x="20" y="8386744"/>
                  </a:cubicBezTo>
                  <a:cubicBezTo>
                    <a:pt x="20" y="8381796"/>
                    <a:pt x="4032" y="8377784"/>
                    <a:pt x="8981" y="8377784"/>
                  </a:cubicBezTo>
                  <a:close/>
                  <a:moveTo>
                    <a:pt x="6933679" y="8206802"/>
                  </a:moveTo>
                  <a:cubicBezTo>
                    <a:pt x="6938628" y="8206802"/>
                    <a:pt x="6942639" y="8210814"/>
                    <a:pt x="6942639" y="8215762"/>
                  </a:cubicBezTo>
                  <a:cubicBezTo>
                    <a:pt x="6942639" y="8220711"/>
                    <a:pt x="6938628" y="8224723"/>
                    <a:pt x="6933679" y="8224723"/>
                  </a:cubicBezTo>
                  <a:cubicBezTo>
                    <a:pt x="6928730" y="8224723"/>
                    <a:pt x="6924718" y="8220711"/>
                    <a:pt x="6924718" y="8215762"/>
                  </a:cubicBezTo>
                  <a:cubicBezTo>
                    <a:pt x="6924718" y="8210814"/>
                    <a:pt x="6928730" y="8206802"/>
                    <a:pt x="6933679" y="8206802"/>
                  </a:cubicBezTo>
                  <a:close/>
                  <a:moveTo>
                    <a:pt x="6763357" y="8206802"/>
                  </a:moveTo>
                  <a:cubicBezTo>
                    <a:pt x="6768306" y="8206802"/>
                    <a:pt x="6772318" y="8210814"/>
                    <a:pt x="6772318" y="8215762"/>
                  </a:cubicBezTo>
                  <a:cubicBezTo>
                    <a:pt x="6772318" y="8220711"/>
                    <a:pt x="6768306" y="8224723"/>
                    <a:pt x="6763357" y="8224723"/>
                  </a:cubicBezTo>
                  <a:cubicBezTo>
                    <a:pt x="6758408" y="8224723"/>
                    <a:pt x="6754397" y="8220711"/>
                    <a:pt x="6754397" y="8215762"/>
                  </a:cubicBezTo>
                  <a:cubicBezTo>
                    <a:pt x="6754397" y="8210814"/>
                    <a:pt x="6758408" y="8206802"/>
                    <a:pt x="6763357" y="8206802"/>
                  </a:cubicBezTo>
                  <a:close/>
                  <a:moveTo>
                    <a:pt x="6593035" y="8206802"/>
                  </a:moveTo>
                  <a:cubicBezTo>
                    <a:pt x="6597984" y="8206802"/>
                    <a:pt x="6601996" y="8210814"/>
                    <a:pt x="6601996" y="8215762"/>
                  </a:cubicBezTo>
                  <a:cubicBezTo>
                    <a:pt x="6601996" y="8220711"/>
                    <a:pt x="6597984" y="8224723"/>
                    <a:pt x="6593035" y="8224723"/>
                  </a:cubicBezTo>
                  <a:cubicBezTo>
                    <a:pt x="6588086" y="8224723"/>
                    <a:pt x="6584075" y="8220711"/>
                    <a:pt x="6584075" y="8215762"/>
                  </a:cubicBezTo>
                  <a:cubicBezTo>
                    <a:pt x="6584075" y="8210814"/>
                    <a:pt x="6588086" y="8206802"/>
                    <a:pt x="6593035" y="8206802"/>
                  </a:cubicBezTo>
                  <a:close/>
                  <a:moveTo>
                    <a:pt x="6424294" y="8206802"/>
                  </a:moveTo>
                  <a:cubicBezTo>
                    <a:pt x="6429243" y="8206802"/>
                    <a:pt x="6433255" y="8210814"/>
                    <a:pt x="6433255" y="8215762"/>
                  </a:cubicBezTo>
                  <a:cubicBezTo>
                    <a:pt x="6433255" y="8220711"/>
                    <a:pt x="6429243" y="8224723"/>
                    <a:pt x="6424294" y="8224723"/>
                  </a:cubicBezTo>
                  <a:cubicBezTo>
                    <a:pt x="6419345" y="8224723"/>
                    <a:pt x="6415334" y="8220711"/>
                    <a:pt x="6415334" y="8215762"/>
                  </a:cubicBezTo>
                  <a:cubicBezTo>
                    <a:pt x="6415334" y="8210814"/>
                    <a:pt x="6419345" y="8206802"/>
                    <a:pt x="6424294" y="8206802"/>
                  </a:cubicBezTo>
                  <a:close/>
                  <a:moveTo>
                    <a:pt x="6255553" y="8206802"/>
                  </a:moveTo>
                  <a:cubicBezTo>
                    <a:pt x="6260502" y="8206802"/>
                    <a:pt x="6264514" y="8210814"/>
                    <a:pt x="6264514" y="8215762"/>
                  </a:cubicBezTo>
                  <a:cubicBezTo>
                    <a:pt x="6264514" y="8220711"/>
                    <a:pt x="6260502" y="8224723"/>
                    <a:pt x="6255553" y="8224723"/>
                  </a:cubicBezTo>
                  <a:cubicBezTo>
                    <a:pt x="6250604" y="8224723"/>
                    <a:pt x="6246593" y="8220711"/>
                    <a:pt x="6246593" y="8215762"/>
                  </a:cubicBezTo>
                  <a:cubicBezTo>
                    <a:pt x="6246593" y="8210814"/>
                    <a:pt x="6250604" y="8206802"/>
                    <a:pt x="6255553" y="8206802"/>
                  </a:cubicBezTo>
                  <a:close/>
                  <a:moveTo>
                    <a:pt x="6086811" y="8206802"/>
                  </a:moveTo>
                  <a:cubicBezTo>
                    <a:pt x="6091760" y="8206802"/>
                    <a:pt x="6095772" y="8210814"/>
                    <a:pt x="6095772" y="8215762"/>
                  </a:cubicBezTo>
                  <a:cubicBezTo>
                    <a:pt x="6095772" y="8220711"/>
                    <a:pt x="6091760" y="8224723"/>
                    <a:pt x="6086811" y="8224723"/>
                  </a:cubicBezTo>
                  <a:cubicBezTo>
                    <a:pt x="6081862" y="8224723"/>
                    <a:pt x="6077851" y="8220711"/>
                    <a:pt x="6077851" y="8215762"/>
                  </a:cubicBezTo>
                  <a:cubicBezTo>
                    <a:pt x="6077851" y="8210814"/>
                    <a:pt x="6081862" y="8206802"/>
                    <a:pt x="6086811" y="8206802"/>
                  </a:cubicBezTo>
                  <a:close/>
                  <a:moveTo>
                    <a:pt x="5918069" y="8206802"/>
                  </a:moveTo>
                  <a:cubicBezTo>
                    <a:pt x="5923018" y="8206802"/>
                    <a:pt x="5927030" y="8210814"/>
                    <a:pt x="5927030" y="8215762"/>
                  </a:cubicBezTo>
                  <a:cubicBezTo>
                    <a:pt x="5927030" y="8220711"/>
                    <a:pt x="5923018" y="8224723"/>
                    <a:pt x="5918069" y="8224723"/>
                  </a:cubicBezTo>
                  <a:cubicBezTo>
                    <a:pt x="5913120" y="8224723"/>
                    <a:pt x="5909109" y="8220711"/>
                    <a:pt x="5909109" y="8215762"/>
                  </a:cubicBezTo>
                  <a:cubicBezTo>
                    <a:pt x="5909109" y="8210814"/>
                    <a:pt x="5913120" y="8206802"/>
                    <a:pt x="5918069" y="8206802"/>
                  </a:cubicBezTo>
                  <a:close/>
                  <a:moveTo>
                    <a:pt x="5749328" y="8206802"/>
                  </a:moveTo>
                  <a:cubicBezTo>
                    <a:pt x="5754277" y="8206802"/>
                    <a:pt x="5758289" y="8210814"/>
                    <a:pt x="5758289" y="8215762"/>
                  </a:cubicBezTo>
                  <a:cubicBezTo>
                    <a:pt x="5758289" y="8220711"/>
                    <a:pt x="5754277" y="8224723"/>
                    <a:pt x="5749328" y="8224723"/>
                  </a:cubicBezTo>
                  <a:cubicBezTo>
                    <a:pt x="5744379" y="8224723"/>
                    <a:pt x="5740368" y="8220711"/>
                    <a:pt x="5740368" y="8215762"/>
                  </a:cubicBezTo>
                  <a:cubicBezTo>
                    <a:pt x="5740368" y="8210814"/>
                    <a:pt x="5744379" y="8206802"/>
                    <a:pt x="5749328" y="8206802"/>
                  </a:cubicBezTo>
                  <a:close/>
                  <a:moveTo>
                    <a:pt x="5580586" y="8206802"/>
                  </a:moveTo>
                  <a:cubicBezTo>
                    <a:pt x="5585535" y="8206802"/>
                    <a:pt x="5589547" y="8210814"/>
                    <a:pt x="5589547" y="8215762"/>
                  </a:cubicBezTo>
                  <a:cubicBezTo>
                    <a:pt x="5589547" y="8220711"/>
                    <a:pt x="5585535" y="8224723"/>
                    <a:pt x="5580586" y="8224723"/>
                  </a:cubicBezTo>
                  <a:cubicBezTo>
                    <a:pt x="5575637" y="8224723"/>
                    <a:pt x="5571626" y="8220711"/>
                    <a:pt x="5571626" y="8215762"/>
                  </a:cubicBezTo>
                  <a:cubicBezTo>
                    <a:pt x="5571626" y="8210814"/>
                    <a:pt x="5575637" y="8206802"/>
                    <a:pt x="5580586" y="8206802"/>
                  </a:cubicBezTo>
                  <a:close/>
                  <a:moveTo>
                    <a:pt x="5411845" y="8206802"/>
                  </a:moveTo>
                  <a:cubicBezTo>
                    <a:pt x="5416794" y="8206802"/>
                    <a:pt x="5420806" y="8210814"/>
                    <a:pt x="5420806" y="8215762"/>
                  </a:cubicBezTo>
                  <a:cubicBezTo>
                    <a:pt x="5420806" y="8220711"/>
                    <a:pt x="5416794" y="8224723"/>
                    <a:pt x="5411845" y="8224723"/>
                  </a:cubicBezTo>
                  <a:cubicBezTo>
                    <a:pt x="5406896" y="8224723"/>
                    <a:pt x="5402885" y="8220711"/>
                    <a:pt x="5402885" y="8215762"/>
                  </a:cubicBezTo>
                  <a:cubicBezTo>
                    <a:pt x="5402885" y="8210814"/>
                    <a:pt x="5406896" y="8206802"/>
                    <a:pt x="5411845" y="8206802"/>
                  </a:cubicBezTo>
                  <a:close/>
                  <a:moveTo>
                    <a:pt x="5243103" y="8206802"/>
                  </a:moveTo>
                  <a:cubicBezTo>
                    <a:pt x="5248052" y="8206802"/>
                    <a:pt x="5252064" y="8210814"/>
                    <a:pt x="5252064" y="8215762"/>
                  </a:cubicBezTo>
                  <a:cubicBezTo>
                    <a:pt x="5252064" y="8220711"/>
                    <a:pt x="5248052" y="8224723"/>
                    <a:pt x="5243103" y="8224723"/>
                  </a:cubicBezTo>
                  <a:cubicBezTo>
                    <a:pt x="5238154" y="8224723"/>
                    <a:pt x="5234143" y="8220711"/>
                    <a:pt x="5234143" y="8215762"/>
                  </a:cubicBezTo>
                  <a:cubicBezTo>
                    <a:pt x="5234143" y="8210814"/>
                    <a:pt x="5238154" y="8206802"/>
                    <a:pt x="5243103" y="8206802"/>
                  </a:cubicBezTo>
                  <a:close/>
                  <a:moveTo>
                    <a:pt x="5074362" y="8206802"/>
                  </a:moveTo>
                  <a:cubicBezTo>
                    <a:pt x="5079311" y="8206802"/>
                    <a:pt x="5083323" y="8210814"/>
                    <a:pt x="5083323" y="8215762"/>
                  </a:cubicBezTo>
                  <a:cubicBezTo>
                    <a:pt x="5083323" y="8220711"/>
                    <a:pt x="5079311" y="8224723"/>
                    <a:pt x="5074362" y="8224723"/>
                  </a:cubicBezTo>
                  <a:cubicBezTo>
                    <a:pt x="5069413" y="8224723"/>
                    <a:pt x="5065402" y="8220711"/>
                    <a:pt x="5065402" y="8215762"/>
                  </a:cubicBezTo>
                  <a:cubicBezTo>
                    <a:pt x="5065402" y="8210814"/>
                    <a:pt x="5069413" y="8206802"/>
                    <a:pt x="5074362" y="8206802"/>
                  </a:cubicBezTo>
                  <a:close/>
                  <a:moveTo>
                    <a:pt x="4905620" y="8206802"/>
                  </a:moveTo>
                  <a:cubicBezTo>
                    <a:pt x="4910569" y="8206802"/>
                    <a:pt x="4914581" y="8210814"/>
                    <a:pt x="4914581" y="8215762"/>
                  </a:cubicBezTo>
                  <a:cubicBezTo>
                    <a:pt x="4914581" y="8220711"/>
                    <a:pt x="4910569" y="8224723"/>
                    <a:pt x="4905620" y="8224723"/>
                  </a:cubicBezTo>
                  <a:cubicBezTo>
                    <a:pt x="4900671" y="8224723"/>
                    <a:pt x="4896660" y="8220711"/>
                    <a:pt x="4896660" y="8215762"/>
                  </a:cubicBezTo>
                  <a:cubicBezTo>
                    <a:pt x="4896660" y="8210814"/>
                    <a:pt x="4900671" y="8206802"/>
                    <a:pt x="4905620" y="8206802"/>
                  </a:cubicBezTo>
                  <a:close/>
                  <a:moveTo>
                    <a:pt x="4736878" y="8206802"/>
                  </a:moveTo>
                  <a:cubicBezTo>
                    <a:pt x="4741827" y="8206802"/>
                    <a:pt x="4745839" y="8210814"/>
                    <a:pt x="4745839" y="8215762"/>
                  </a:cubicBezTo>
                  <a:cubicBezTo>
                    <a:pt x="4745839" y="8220711"/>
                    <a:pt x="4741827" y="8224723"/>
                    <a:pt x="4736878" y="8224723"/>
                  </a:cubicBezTo>
                  <a:cubicBezTo>
                    <a:pt x="4731929" y="8224723"/>
                    <a:pt x="4727918" y="8220711"/>
                    <a:pt x="4727918" y="8215762"/>
                  </a:cubicBezTo>
                  <a:cubicBezTo>
                    <a:pt x="4727918" y="8210814"/>
                    <a:pt x="4731929" y="8206802"/>
                    <a:pt x="4736878" y="8206802"/>
                  </a:cubicBezTo>
                  <a:close/>
                  <a:moveTo>
                    <a:pt x="4568137" y="8206802"/>
                  </a:moveTo>
                  <a:cubicBezTo>
                    <a:pt x="4573086" y="8206802"/>
                    <a:pt x="4577098" y="8210814"/>
                    <a:pt x="4577098" y="8215762"/>
                  </a:cubicBezTo>
                  <a:cubicBezTo>
                    <a:pt x="4577098" y="8220711"/>
                    <a:pt x="4573086" y="8224723"/>
                    <a:pt x="4568137" y="8224723"/>
                  </a:cubicBezTo>
                  <a:cubicBezTo>
                    <a:pt x="4563188" y="8224723"/>
                    <a:pt x="4559177" y="8220711"/>
                    <a:pt x="4559177" y="8215762"/>
                  </a:cubicBezTo>
                  <a:cubicBezTo>
                    <a:pt x="4559177" y="8210814"/>
                    <a:pt x="4563188" y="8206802"/>
                    <a:pt x="4568137" y="8206802"/>
                  </a:cubicBezTo>
                  <a:close/>
                  <a:moveTo>
                    <a:pt x="4399396" y="8206802"/>
                  </a:moveTo>
                  <a:cubicBezTo>
                    <a:pt x="4404345" y="8206802"/>
                    <a:pt x="4408357" y="8210814"/>
                    <a:pt x="4408357" y="8215762"/>
                  </a:cubicBezTo>
                  <a:cubicBezTo>
                    <a:pt x="4408357" y="8220711"/>
                    <a:pt x="4404345" y="8224723"/>
                    <a:pt x="4399396" y="8224723"/>
                  </a:cubicBezTo>
                  <a:cubicBezTo>
                    <a:pt x="4394447" y="8224723"/>
                    <a:pt x="4390436" y="8220711"/>
                    <a:pt x="4390436" y="8215762"/>
                  </a:cubicBezTo>
                  <a:cubicBezTo>
                    <a:pt x="4390436" y="8210814"/>
                    <a:pt x="4394447" y="8206802"/>
                    <a:pt x="4399396" y="8206802"/>
                  </a:cubicBezTo>
                  <a:close/>
                  <a:moveTo>
                    <a:pt x="4230654" y="8206802"/>
                  </a:moveTo>
                  <a:cubicBezTo>
                    <a:pt x="4235603" y="8206802"/>
                    <a:pt x="4239615" y="8210814"/>
                    <a:pt x="4239615" y="8215762"/>
                  </a:cubicBezTo>
                  <a:cubicBezTo>
                    <a:pt x="4239615" y="8220711"/>
                    <a:pt x="4235603" y="8224723"/>
                    <a:pt x="4230654" y="8224723"/>
                  </a:cubicBezTo>
                  <a:cubicBezTo>
                    <a:pt x="4225705" y="8224723"/>
                    <a:pt x="4221694" y="8220711"/>
                    <a:pt x="4221694" y="8215762"/>
                  </a:cubicBezTo>
                  <a:cubicBezTo>
                    <a:pt x="4221694" y="8210814"/>
                    <a:pt x="4225705" y="8206802"/>
                    <a:pt x="4230654" y="8206802"/>
                  </a:cubicBezTo>
                  <a:close/>
                  <a:moveTo>
                    <a:pt x="4061912" y="8206802"/>
                  </a:moveTo>
                  <a:cubicBezTo>
                    <a:pt x="4066861" y="8206802"/>
                    <a:pt x="4070873" y="8210814"/>
                    <a:pt x="4070873" y="8215762"/>
                  </a:cubicBezTo>
                  <a:cubicBezTo>
                    <a:pt x="4070873" y="8220711"/>
                    <a:pt x="4066861" y="8224723"/>
                    <a:pt x="4061912" y="8224723"/>
                  </a:cubicBezTo>
                  <a:cubicBezTo>
                    <a:pt x="4056963" y="8224723"/>
                    <a:pt x="4052952" y="8220711"/>
                    <a:pt x="4052952" y="8215762"/>
                  </a:cubicBezTo>
                  <a:cubicBezTo>
                    <a:pt x="4052952" y="8210814"/>
                    <a:pt x="4056963" y="8206802"/>
                    <a:pt x="4061912" y="8206802"/>
                  </a:cubicBezTo>
                  <a:close/>
                  <a:moveTo>
                    <a:pt x="3893170" y="8206802"/>
                  </a:moveTo>
                  <a:cubicBezTo>
                    <a:pt x="3898119" y="8206802"/>
                    <a:pt x="3902131" y="8210814"/>
                    <a:pt x="3902131" y="8215762"/>
                  </a:cubicBezTo>
                  <a:cubicBezTo>
                    <a:pt x="3902131" y="8220711"/>
                    <a:pt x="3898119" y="8224723"/>
                    <a:pt x="3893170" y="8224723"/>
                  </a:cubicBezTo>
                  <a:cubicBezTo>
                    <a:pt x="3888221" y="8224723"/>
                    <a:pt x="3884210" y="8220711"/>
                    <a:pt x="3884210" y="8215762"/>
                  </a:cubicBezTo>
                  <a:cubicBezTo>
                    <a:pt x="3884210" y="8210814"/>
                    <a:pt x="3888221" y="8206802"/>
                    <a:pt x="3893170" y="8206802"/>
                  </a:cubicBezTo>
                  <a:close/>
                  <a:moveTo>
                    <a:pt x="3724429" y="8206802"/>
                  </a:moveTo>
                  <a:cubicBezTo>
                    <a:pt x="3729378" y="8206802"/>
                    <a:pt x="3733390" y="8210814"/>
                    <a:pt x="3733390" y="8215762"/>
                  </a:cubicBezTo>
                  <a:cubicBezTo>
                    <a:pt x="3733390" y="8220711"/>
                    <a:pt x="3729378" y="8224723"/>
                    <a:pt x="3724429" y="8224723"/>
                  </a:cubicBezTo>
                  <a:cubicBezTo>
                    <a:pt x="3719481" y="8224723"/>
                    <a:pt x="3715469" y="8220711"/>
                    <a:pt x="3715469" y="8215762"/>
                  </a:cubicBezTo>
                  <a:cubicBezTo>
                    <a:pt x="3715469" y="8210814"/>
                    <a:pt x="3719481" y="8206802"/>
                    <a:pt x="3724429" y="8206802"/>
                  </a:cubicBezTo>
                  <a:close/>
                  <a:moveTo>
                    <a:pt x="3555688" y="8206802"/>
                  </a:moveTo>
                  <a:cubicBezTo>
                    <a:pt x="3560637" y="8206802"/>
                    <a:pt x="3564649" y="8210814"/>
                    <a:pt x="3564649" y="8215762"/>
                  </a:cubicBezTo>
                  <a:cubicBezTo>
                    <a:pt x="3564649" y="8220711"/>
                    <a:pt x="3560637" y="8224723"/>
                    <a:pt x="3555688" y="8224723"/>
                  </a:cubicBezTo>
                  <a:cubicBezTo>
                    <a:pt x="3550740" y="8224723"/>
                    <a:pt x="3546728" y="8220711"/>
                    <a:pt x="3546728" y="8215762"/>
                  </a:cubicBezTo>
                  <a:cubicBezTo>
                    <a:pt x="3546728" y="8210814"/>
                    <a:pt x="3550740" y="8206802"/>
                    <a:pt x="3555688" y="8206802"/>
                  </a:cubicBezTo>
                  <a:close/>
                  <a:moveTo>
                    <a:pt x="3386966" y="8206802"/>
                  </a:moveTo>
                  <a:cubicBezTo>
                    <a:pt x="3391914" y="8206802"/>
                    <a:pt x="3395927" y="8210814"/>
                    <a:pt x="3395927" y="8215762"/>
                  </a:cubicBezTo>
                  <a:cubicBezTo>
                    <a:pt x="3395927" y="8220711"/>
                    <a:pt x="3391914" y="8224723"/>
                    <a:pt x="3386966" y="8224723"/>
                  </a:cubicBezTo>
                  <a:cubicBezTo>
                    <a:pt x="3382008" y="8224723"/>
                    <a:pt x="3377996" y="8220711"/>
                    <a:pt x="3377996" y="8215762"/>
                  </a:cubicBezTo>
                  <a:cubicBezTo>
                    <a:pt x="3377996" y="8210814"/>
                    <a:pt x="3382008" y="8206802"/>
                    <a:pt x="3386966" y="8206802"/>
                  </a:cubicBezTo>
                  <a:close/>
                  <a:moveTo>
                    <a:pt x="3218220" y="8206802"/>
                  </a:moveTo>
                  <a:cubicBezTo>
                    <a:pt x="3223170" y="8206802"/>
                    <a:pt x="3227183" y="8210814"/>
                    <a:pt x="3227183" y="8215762"/>
                  </a:cubicBezTo>
                  <a:cubicBezTo>
                    <a:pt x="3227183" y="8220711"/>
                    <a:pt x="3223170" y="8224723"/>
                    <a:pt x="3218220" y="8224723"/>
                  </a:cubicBezTo>
                  <a:cubicBezTo>
                    <a:pt x="3213269" y="8224723"/>
                    <a:pt x="3209261" y="8220711"/>
                    <a:pt x="3209261" y="8215762"/>
                  </a:cubicBezTo>
                  <a:cubicBezTo>
                    <a:pt x="3209261" y="8210814"/>
                    <a:pt x="3213269" y="8206802"/>
                    <a:pt x="3218220" y="8206802"/>
                  </a:cubicBezTo>
                  <a:close/>
                  <a:moveTo>
                    <a:pt x="3049493" y="8206802"/>
                  </a:moveTo>
                  <a:cubicBezTo>
                    <a:pt x="3054432" y="8206802"/>
                    <a:pt x="3058445" y="8210814"/>
                    <a:pt x="3058445" y="8215762"/>
                  </a:cubicBezTo>
                  <a:cubicBezTo>
                    <a:pt x="3058445" y="8220711"/>
                    <a:pt x="3054432" y="8224723"/>
                    <a:pt x="3049493" y="8224723"/>
                  </a:cubicBezTo>
                  <a:cubicBezTo>
                    <a:pt x="3044535" y="8224723"/>
                    <a:pt x="3040523" y="8220711"/>
                    <a:pt x="3040523" y="8215762"/>
                  </a:cubicBezTo>
                  <a:cubicBezTo>
                    <a:pt x="3040523" y="8210814"/>
                    <a:pt x="3044535" y="8206802"/>
                    <a:pt x="3049493" y="8206802"/>
                  </a:cubicBezTo>
                  <a:close/>
                  <a:moveTo>
                    <a:pt x="2880748" y="8206802"/>
                  </a:moveTo>
                  <a:cubicBezTo>
                    <a:pt x="2885695" y="8206802"/>
                    <a:pt x="2889708" y="8210814"/>
                    <a:pt x="2889708" y="8215762"/>
                  </a:cubicBezTo>
                  <a:cubicBezTo>
                    <a:pt x="2889708" y="8220711"/>
                    <a:pt x="2885695" y="8224723"/>
                    <a:pt x="2880748" y="8224723"/>
                  </a:cubicBezTo>
                  <a:cubicBezTo>
                    <a:pt x="2875797" y="8224723"/>
                    <a:pt x="2871788" y="8220711"/>
                    <a:pt x="2871788" y="8215762"/>
                  </a:cubicBezTo>
                  <a:cubicBezTo>
                    <a:pt x="2871788" y="8210814"/>
                    <a:pt x="2875797" y="8206802"/>
                    <a:pt x="2880748" y="8206802"/>
                  </a:cubicBezTo>
                  <a:close/>
                  <a:moveTo>
                    <a:pt x="2712002" y="8206802"/>
                  </a:moveTo>
                  <a:cubicBezTo>
                    <a:pt x="2716953" y="8206802"/>
                    <a:pt x="2720970" y="8210814"/>
                    <a:pt x="2720970" y="8215762"/>
                  </a:cubicBezTo>
                  <a:cubicBezTo>
                    <a:pt x="2720970" y="8220711"/>
                    <a:pt x="2716953" y="8224723"/>
                    <a:pt x="2712002" y="8224723"/>
                  </a:cubicBezTo>
                  <a:cubicBezTo>
                    <a:pt x="2707057" y="8224723"/>
                    <a:pt x="2703047" y="8220711"/>
                    <a:pt x="2703047" y="8215762"/>
                  </a:cubicBezTo>
                  <a:cubicBezTo>
                    <a:pt x="2703047" y="8210814"/>
                    <a:pt x="2707057" y="8206802"/>
                    <a:pt x="2712002" y="8206802"/>
                  </a:cubicBezTo>
                  <a:close/>
                  <a:moveTo>
                    <a:pt x="2543267" y="8206802"/>
                  </a:moveTo>
                  <a:cubicBezTo>
                    <a:pt x="2548222" y="8206802"/>
                    <a:pt x="2552231" y="8210814"/>
                    <a:pt x="2552231" y="8215762"/>
                  </a:cubicBezTo>
                  <a:cubicBezTo>
                    <a:pt x="2552231" y="8220711"/>
                    <a:pt x="2548222" y="8224723"/>
                    <a:pt x="2543267" y="8224723"/>
                  </a:cubicBezTo>
                  <a:cubicBezTo>
                    <a:pt x="2538320" y="8224723"/>
                    <a:pt x="2534307" y="8220711"/>
                    <a:pt x="2534307" y="8215762"/>
                  </a:cubicBezTo>
                  <a:cubicBezTo>
                    <a:pt x="2534307" y="8210814"/>
                    <a:pt x="2538320" y="8206802"/>
                    <a:pt x="2543267" y="8206802"/>
                  </a:cubicBezTo>
                  <a:close/>
                  <a:moveTo>
                    <a:pt x="2374520" y="8206802"/>
                  </a:moveTo>
                  <a:cubicBezTo>
                    <a:pt x="2379469" y="8206802"/>
                    <a:pt x="2383488" y="8210814"/>
                    <a:pt x="2383488" y="8215762"/>
                  </a:cubicBezTo>
                  <a:cubicBezTo>
                    <a:pt x="2383488" y="8220711"/>
                    <a:pt x="2379469" y="8224723"/>
                    <a:pt x="2374520" y="8224723"/>
                  </a:cubicBezTo>
                  <a:cubicBezTo>
                    <a:pt x="2369570" y="8224723"/>
                    <a:pt x="2365557" y="8220711"/>
                    <a:pt x="2365557" y="8215762"/>
                  </a:cubicBezTo>
                  <a:cubicBezTo>
                    <a:pt x="2365557" y="8210814"/>
                    <a:pt x="2369570" y="8206802"/>
                    <a:pt x="2374520" y="8206802"/>
                  </a:cubicBezTo>
                  <a:close/>
                  <a:moveTo>
                    <a:pt x="2205783" y="8206802"/>
                  </a:moveTo>
                  <a:cubicBezTo>
                    <a:pt x="2210733" y="8206802"/>
                    <a:pt x="2214745" y="8210814"/>
                    <a:pt x="2214745" y="8215762"/>
                  </a:cubicBezTo>
                  <a:cubicBezTo>
                    <a:pt x="2214745" y="8220711"/>
                    <a:pt x="2210733" y="8224723"/>
                    <a:pt x="2205783" y="8224723"/>
                  </a:cubicBezTo>
                  <a:cubicBezTo>
                    <a:pt x="2200834" y="8224723"/>
                    <a:pt x="2196825" y="8220711"/>
                    <a:pt x="2196825" y="8215762"/>
                  </a:cubicBezTo>
                  <a:cubicBezTo>
                    <a:pt x="2196825" y="8210814"/>
                    <a:pt x="2200834" y="8206802"/>
                    <a:pt x="2205783" y="8206802"/>
                  </a:cubicBezTo>
                  <a:close/>
                  <a:moveTo>
                    <a:pt x="2037045" y="8206802"/>
                  </a:moveTo>
                  <a:cubicBezTo>
                    <a:pt x="2041992" y="8206802"/>
                    <a:pt x="2045998" y="8210814"/>
                    <a:pt x="2045998" y="8215762"/>
                  </a:cubicBezTo>
                  <a:cubicBezTo>
                    <a:pt x="2045998" y="8220711"/>
                    <a:pt x="2041992" y="8224723"/>
                    <a:pt x="2037045" y="8224723"/>
                  </a:cubicBezTo>
                  <a:cubicBezTo>
                    <a:pt x="2032096" y="8224723"/>
                    <a:pt x="2028085" y="8220711"/>
                    <a:pt x="2028085" y="8215762"/>
                  </a:cubicBezTo>
                  <a:cubicBezTo>
                    <a:pt x="2028085" y="8210814"/>
                    <a:pt x="2032096" y="8206802"/>
                    <a:pt x="2037045" y="8206802"/>
                  </a:cubicBezTo>
                  <a:close/>
                  <a:moveTo>
                    <a:pt x="1868306" y="8206802"/>
                  </a:moveTo>
                  <a:cubicBezTo>
                    <a:pt x="1873254" y="8206802"/>
                    <a:pt x="1877264" y="8210814"/>
                    <a:pt x="1877264" y="8215762"/>
                  </a:cubicBezTo>
                  <a:cubicBezTo>
                    <a:pt x="1877264" y="8220711"/>
                    <a:pt x="1873254" y="8224723"/>
                    <a:pt x="1868306" y="8224723"/>
                  </a:cubicBezTo>
                  <a:cubicBezTo>
                    <a:pt x="1863356" y="8224723"/>
                    <a:pt x="1859343" y="8220711"/>
                    <a:pt x="1859343" y="8215762"/>
                  </a:cubicBezTo>
                  <a:cubicBezTo>
                    <a:pt x="1859343" y="8210814"/>
                    <a:pt x="1863356" y="8206802"/>
                    <a:pt x="1868306" y="8206802"/>
                  </a:cubicBezTo>
                  <a:close/>
                  <a:moveTo>
                    <a:pt x="1699565" y="8206802"/>
                  </a:moveTo>
                  <a:cubicBezTo>
                    <a:pt x="1704514" y="8206802"/>
                    <a:pt x="1708525" y="8210814"/>
                    <a:pt x="1708525" y="8215762"/>
                  </a:cubicBezTo>
                  <a:cubicBezTo>
                    <a:pt x="1708525" y="8220711"/>
                    <a:pt x="1704514" y="8224723"/>
                    <a:pt x="1699565" y="8224723"/>
                  </a:cubicBezTo>
                  <a:cubicBezTo>
                    <a:pt x="1694613" y="8224723"/>
                    <a:pt x="1690602" y="8220711"/>
                    <a:pt x="1690602" y="8215762"/>
                  </a:cubicBezTo>
                  <a:cubicBezTo>
                    <a:pt x="1690602" y="8210814"/>
                    <a:pt x="1694613" y="8206802"/>
                    <a:pt x="1699565" y="8206802"/>
                  </a:cubicBezTo>
                  <a:close/>
                  <a:moveTo>
                    <a:pt x="1530821" y="8206802"/>
                  </a:moveTo>
                  <a:cubicBezTo>
                    <a:pt x="1535771" y="8206802"/>
                    <a:pt x="1539782" y="8210814"/>
                    <a:pt x="1539782" y="8215762"/>
                  </a:cubicBezTo>
                  <a:cubicBezTo>
                    <a:pt x="1539782" y="8220711"/>
                    <a:pt x="1535771" y="8224723"/>
                    <a:pt x="1530821" y="8224723"/>
                  </a:cubicBezTo>
                  <a:cubicBezTo>
                    <a:pt x="1525873" y="8224723"/>
                    <a:pt x="1521861" y="8220711"/>
                    <a:pt x="1521861" y="8215762"/>
                  </a:cubicBezTo>
                  <a:cubicBezTo>
                    <a:pt x="1521861" y="8210814"/>
                    <a:pt x="1525873" y="8206802"/>
                    <a:pt x="1530821" y="8206802"/>
                  </a:cubicBezTo>
                  <a:close/>
                  <a:moveTo>
                    <a:pt x="1362078" y="8206802"/>
                  </a:moveTo>
                  <a:cubicBezTo>
                    <a:pt x="1367027" y="8206802"/>
                    <a:pt x="1371038" y="8210814"/>
                    <a:pt x="1371038" y="8215762"/>
                  </a:cubicBezTo>
                  <a:cubicBezTo>
                    <a:pt x="1371038" y="8220711"/>
                    <a:pt x="1367027" y="8224723"/>
                    <a:pt x="1362078" y="8224723"/>
                  </a:cubicBezTo>
                  <a:cubicBezTo>
                    <a:pt x="1357129" y="8224723"/>
                    <a:pt x="1353117" y="8220711"/>
                    <a:pt x="1353117" y="8215762"/>
                  </a:cubicBezTo>
                  <a:cubicBezTo>
                    <a:pt x="1353117" y="8210814"/>
                    <a:pt x="1357129" y="8206802"/>
                    <a:pt x="1362078" y="8206802"/>
                  </a:cubicBezTo>
                  <a:close/>
                  <a:moveTo>
                    <a:pt x="1193337" y="8206802"/>
                  </a:moveTo>
                  <a:cubicBezTo>
                    <a:pt x="1198285" y="8206802"/>
                    <a:pt x="1202297" y="8210814"/>
                    <a:pt x="1202297" y="8215762"/>
                  </a:cubicBezTo>
                  <a:cubicBezTo>
                    <a:pt x="1202297" y="8220711"/>
                    <a:pt x="1198285" y="8224723"/>
                    <a:pt x="1193337" y="8224723"/>
                  </a:cubicBezTo>
                  <a:cubicBezTo>
                    <a:pt x="1188388" y="8224723"/>
                    <a:pt x="1184378" y="8220711"/>
                    <a:pt x="1184378" y="8215762"/>
                  </a:cubicBezTo>
                  <a:cubicBezTo>
                    <a:pt x="1184378" y="8210814"/>
                    <a:pt x="1188388" y="8206802"/>
                    <a:pt x="1193337" y="8206802"/>
                  </a:cubicBezTo>
                  <a:close/>
                  <a:moveTo>
                    <a:pt x="1024593" y="8206802"/>
                  </a:moveTo>
                  <a:cubicBezTo>
                    <a:pt x="1029543" y="8206802"/>
                    <a:pt x="1033555" y="8210814"/>
                    <a:pt x="1033555" y="8215762"/>
                  </a:cubicBezTo>
                  <a:cubicBezTo>
                    <a:pt x="1033555" y="8220711"/>
                    <a:pt x="1029543" y="8224723"/>
                    <a:pt x="1024593" y="8224723"/>
                  </a:cubicBezTo>
                  <a:cubicBezTo>
                    <a:pt x="1019646" y="8224723"/>
                    <a:pt x="1015633" y="8220711"/>
                    <a:pt x="1015633" y="8215762"/>
                  </a:cubicBezTo>
                  <a:cubicBezTo>
                    <a:pt x="1015633" y="8210814"/>
                    <a:pt x="1019646" y="8206802"/>
                    <a:pt x="1024593" y="8206802"/>
                  </a:cubicBezTo>
                  <a:close/>
                  <a:moveTo>
                    <a:pt x="855855" y="8206802"/>
                  </a:moveTo>
                  <a:cubicBezTo>
                    <a:pt x="860803" y="8206802"/>
                    <a:pt x="864815" y="8210814"/>
                    <a:pt x="864815" y="8215762"/>
                  </a:cubicBezTo>
                  <a:cubicBezTo>
                    <a:pt x="864815" y="8220711"/>
                    <a:pt x="860803" y="8224723"/>
                    <a:pt x="855855" y="8224723"/>
                  </a:cubicBezTo>
                  <a:cubicBezTo>
                    <a:pt x="850906" y="8224723"/>
                    <a:pt x="846894" y="8220711"/>
                    <a:pt x="846894" y="8215762"/>
                  </a:cubicBezTo>
                  <a:cubicBezTo>
                    <a:pt x="846894" y="8210814"/>
                    <a:pt x="850906" y="8206802"/>
                    <a:pt x="855855" y="8206802"/>
                  </a:cubicBezTo>
                  <a:close/>
                  <a:moveTo>
                    <a:pt x="687113" y="8206802"/>
                  </a:moveTo>
                  <a:cubicBezTo>
                    <a:pt x="692062" y="8206802"/>
                    <a:pt x="696074" y="8210814"/>
                    <a:pt x="696074" y="8215762"/>
                  </a:cubicBezTo>
                  <a:cubicBezTo>
                    <a:pt x="696074" y="8220711"/>
                    <a:pt x="692062" y="8224723"/>
                    <a:pt x="687113" y="8224723"/>
                  </a:cubicBezTo>
                  <a:cubicBezTo>
                    <a:pt x="682165" y="8224723"/>
                    <a:pt x="678153" y="8220711"/>
                    <a:pt x="678153" y="8215762"/>
                  </a:cubicBezTo>
                  <a:cubicBezTo>
                    <a:pt x="678153" y="8210814"/>
                    <a:pt x="682165" y="8206802"/>
                    <a:pt x="687113" y="8206802"/>
                  </a:cubicBezTo>
                  <a:close/>
                  <a:moveTo>
                    <a:pt x="518366" y="8206802"/>
                  </a:moveTo>
                  <a:cubicBezTo>
                    <a:pt x="523315" y="8206802"/>
                    <a:pt x="527326" y="8210814"/>
                    <a:pt x="527326" y="8215762"/>
                  </a:cubicBezTo>
                  <a:cubicBezTo>
                    <a:pt x="527326" y="8220711"/>
                    <a:pt x="523315" y="8224723"/>
                    <a:pt x="518366" y="8224723"/>
                  </a:cubicBezTo>
                  <a:cubicBezTo>
                    <a:pt x="513417" y="8224723"/>
                    <a:pt x="509405" y="8220711"/>
                    <a:pt x="509405" y="8215762"/>
                  </a:cubicBezTo>
                  <a:cubicBezTo>
                    <a:pt x="509405" y="8210814"/>
                    <a:pt x="513417" y="8206802"/>
                    <a:pt x="518366" y="8206802"/>
                  </a:cubicBezTo>
                  <a:close/>
                  <a:moveTo>
                    <a:pt x="349626" y="8206802"/>
                  </a:moveTo>
                  <a:cubicBezTo>
                    <a:pt x="354574" y="8206802"/>
                    <a:pt x="358586" y="8210814"/>
                    <a:pt x="358586" y="8215762"/>
                  </a:cubicBezTo>
                  <a:cubicBezTo>
                    <a:pt x="358586" y="8220711"/>
                    <a:pt x="354574" y="8224723"/>
                    <a:pt x="349626" y="8224723"/>
                  </a:cubicBezTo>
                  <a:cubicBezTo>
                    <a:pt x="344677" y="8224723"/>
                    <a:pt x="340665" y="8220711"/>
                    <a:pt x="340665" y="8215762"/>
                  </a:cubicBezTo>
                  <a:cubicBezTo>
                    <a:pt x="340665" y="8210814"/>
                    <a:pt x="344677" y="8206802"/>
                    <a:pt x="349626" y="8206802"/>
                  </a:cubicBezTo>
                  <a:close/>
                  <a:moveTo>
                    <a:pt x="179305" y="8206802"/>
                  </a:moveTo>
                  <a:cubicBezTo>
                    <a:pt x="184254" y="8206802"/>
                    <a:pt x="188266" y="8210814"/>
                    <a:pt x="188266" y="8215762"/>
                  </a:cubicBezTo>
                  <a:cubicBezTo>
                    <a:pt x="188266" y="8220711"/>
                    <a:pt x="184254" y="8224723"/>
                    <a:pt x="179305" y="8224723"/>
                  </a:cubicBezTo>
                  <a:cubicBezTo>
                    <a:pt x="174357" y="8224723"/>
                    <a:pt x="170345" y="8220711"/>
                    <a:pt x="170345" y="8215762"/>
                  </a:cubicBezTo>
                  <a:cubicBezTo>
                    <a:pt x="170345" y="8210814"/>
                    <a:pt x="174357" y="8206802"/>
                    <a:pt x="179305" y="8206802"/>
                  </a:cubicBezTo>
                  <a:close/>
                  <a:moveTo>
                    <a:pt x="8985" y="8206802"/>
                  </a:moveTo>
                  <a:cubicBezTo>
                    <a:pt x="13934" y="8206802"/>
                    <a:pt x="17945" y="8210814"/>
                    <a:pt x="17945" y="8215762"/>
                  </a:cubicBezTo>
                  <a:cubicBezTo>
                    <a:pt x="17945" y="8220711"/>
                    <a:pt x="13934" y="8224723"/>
                    <a:pt x="8985" y="8224723"/>
                  </a:cubicBezTo>
                  <a:cubicBezTo>
                    <a:pt x="4036" y="8224723"/>
                    <a:pt x="25" y="8220711"/>
                    <a:pt x="25" y="8215762"/>
                  </a:cubicBezTo>
                  <a:cubicBezTo>
                    <a:pt x="25" y="8210814"/>
                    <a:pt x="4036" y="8206802"/>
                    <a:pt x="8985" y="8206802"/>
                  </a:cubicBezTo>
                  <a:close/>
                  <a:moveTo>
                    <a:pt x="6933679" y="8035821"/>
                  </a:moveTo>
                  <a:cubicBezTo>
                    <a:pt x="6938628" y="8035821"/>
                    <a:pt x="6942639" y="8039833"/>
                    <a:pt x="6942639" y="8044782"/>
                  </a:cubicBezTo>
                  <a:cubicBezTo>
                    <a:pt x="6942639" y="8049730"/>
                    <a:pt x="6938628" y="8053742"/>
                    <a:pt x="6933679" y="8053742"/>
                  </a:cubicBezTo>
                  <a:cubicBezTo>
                    <a:pt x="6928730" y="8053742"/>
                    <a:pt x="6924718" y="8049730"/>
                    <a:pt x="6924718" y="8044782"/>
                  </a:cubicBezTo>
                  <a:cubicBezTo>
                    <a:pt x="6924718" y="8039833"/>
                    <a:pt x="6928730" y="8035821"/>
                    <a:pt x="6933679" y="8035821"/>
                  </a:cubicBezTo>
                  <a:close/>
                  <a:moveTo>
                    <a:pt x="6763357" y="8035821"/>
                  </a:moveTo>
                  <a:cubicBezTo>
                    <a:pt x="6768306" y="8035821"/>
                    <a:pt x="6772318" y="8039833"/>
                    <a:pt x="6772318" y="8044782"/>
                  </a:cubicBezTo>
                  <a:cubicBezTo>
                    <a:pt x="6772318" y="8049730"/>
                    <a:pt x="6768306" y="8053742"/>
                    <a:pt x="6763357" y="8053742"/>
                  </a:cubicBezTo>
                  <a:cubicBezTo>
                    <a:pt x="6758408" y="8053742"/>
                    <a:pt x="6754397" y="8049730"/>
                    <a:pt x="6754397" y="8044782"/>
                  </a:cubicBezTo>
                  <a:cubicBezTo>
                    <a:pt x="6754397" y="8039833"/>
                    <a:pt x="6758408" y="8035821"/>
                    <a:pt x="6763357" y="8035821"/>
                  </a:cubicBezTo>
                  <a:close/>
                  <a:moveTo>
                    <a:pt x="6593035" y="8035821"/>
                  </a:moveTo>
                  <a:cubicBezTo>
                    <a:pt x="6597984" y="8035821"/>
                    <a:pt x="6601996" y="8039833"/>
                    <a:pt x="6601996" y="8044782"/>
                  </a:cubicBezTo>
                  <a:cubicBezTo>
                    <a:pt x="6601996" y="8049730"/>
                    <a:pt x="6597984" y="8053742"/>
                    <a:pt x="6593035" y="8053742"/>
                  </a:cubicBezTo>
                  <a:cubicBezTo>
                    <a:pt x="6588086" y="8053742"/>
                    <a:pt x="6584075" y="8049730"/>
                    <a:pt x="6584075" y="8044782"/>
                  </a:cubicBezTo>
                  <a:cubicBezTo>
                    <a:pt x="6584075" y="8039833"/>
                    <a:pt x="6588086" y="8035821"/>
                    <a:pt x="6593035" y="8035821"/>
                  </a:cubicBezTo>
                  <a:close/>
                  <a:moveTo>
                    <a:pt x="6424294" y="8035821"/>
                  </a:moveTo>
                  <a:cubicBezTo>
                    <a:pt x="6429243" y="8035821"/>
                    <a:pt x="6433255" y="8039833"/>
                    <a:pt x="6433255" y="8044782"/>
                  </a:cubicBezTo>
                  <a:cubicBezTo>
                    <a:pt x="6433255" y="8049730"/>
                    <a:pt x="6429243" y="8053742"/>
                    <a:pt x="6424294" y="8053742"/>
                  </a:cubicBezTo>
                  <a:cubicBezTo>
                    <a:pt x="6419345" y="8053742"/>
                    <a:pt x="6415334" y="8049730"/>
                    <a:pt x="6415334" y="8044782"/>
                  </a:cubicBezTo>
                  <a:cubicBezTo>
                    <a:pt x="6415334" y="8039833"/>
                    <a:pt x="6419345" y="8035821"/>
                    <a:pt x="6424294" y="8035821"/>
                  </a:cubicBezTo>
                  <a:close/>
                  <a:moveTo>
                    <a:pt x="6255553" y="8035821"/>
                  </a:moveTo>
                  <a:cubicBezTo>
                    <a:pt x="6260502" y="8035821"/>
                    <a:pt x="6264514" y="8039833"/>
                    <a:pt x="6264514" y="8044782"/>
                  </a:cubicBezTo>
                  <a:cubicBezTo>
                    <a:pt x="6264514" y="8049730"/>
                    <a:pt x="6260502" y="8053742"/>
                    <a:pt x="6255553" y="8053742"/>
                  </a:cubicBezTo>
                  <a:cubicBezTo>
                    <a:pt x="6250604" y="8053742"/>
                    <a:pt x="6246593" y="8049730"/>
                    <a:pt x="6246593" y="8044782"/>
                  </a:cubicBezTo>
                  <a:cubicBezTo>
                    <a:pt x="6246593" y="8039833"/>
                    <a:pt x="6250604" y="8035821"/>
                    <a:pt x="6255553" y="8035821"/>
                  </a:cubicBezTo>
                  <a:close/>
                  <a:moveTo>
                    <a:pt x="6086811" y="8035821"/>
                  </a:moveTo>
                  <a:cubicBezTo>
                    <a:pt x="6091760" y="8035821"/>
                    <a:pt x="6095772" y="8039833"/>
                    <a:pt x="6095772" y="8044782"/>
                  </a:cubicBezTo>
                  <a:cubicBezTo>
                    <a:pt x="6095772" y="8049730"/>
                    <a:pt x="6091760" y="8053742"/>
                    <a:pt x="6086811" y="8053742"/>
                  </a:cubicBezTo>
                  <a:cubicBezTo>
                    <a:pt x="6081862" y="8053742"/>
                    <a:pt x="6077851" y="8049730"/>
                    <a:pt x="6077851" y="8044782"/>
                  </a:cubicBezTo>
                  <a:cubicBezTo>
                    <a:pt x="6077851" y="8039833"/>
                    <a:pt x="6081862" y="8035821"/>
                    <a:pt x="6086811" y="8035821"/>
                  </a:cubicBezTo>
                  <a:close/>
                  <a:moveTo>
                    <a:pt x="5918069" y="8035821"/>
                  </a:moveTo>
                  <a:cubicBezTo>
                    <a:pt x="5923018" y="8035821"/>
                    <a:pt x="5927030" y="8039833"/>
                    <a:pt x="5927030" y="8044782"/>
                  </a:cubicBezTo>
                  <a:cubicBezTo>
                    <a:pt x="5927030" y="8049730"/>
                    <a:pt x="5923018" y="8053742"/>
                    <a:pt x="5918069" y="8053742"/>
                  </a:cubicBezTo>
                  <a:cubicBezTo>
                    <a:pt x="5913120" y="8053742"/>
                    <a:pt x="5909109" y="8049730"/>
                    <a:pt x="5909109" y="8044782"/>
                  </a:cubicBezTo>
                  <a:cubicBezTo>
                    <a:pt x="5909109" y="8039833"/>
                    <a:pt x="5913120" y="8035821"/>
                    <a:pt x="5918069" y="8035821"/>
                  </a:cubicBezTo>
                  <a:close/>
                  <a:moveTo>
                    <a:pt x="5749328" y="8035821"/>
                  </a:moveTo>
                  <a:cubicBezTo>
                    <a:pt x="5754277" y="8035821"/>
                    <a:pt x="5758289" y="8039833"/>
                    <a:pt x="5758289" y="8044782"/>
                  </a:cubicBezTo>
                  <a:cubicBezTo>
                    <a:pt x="5758289" y="8049730"/>
                    <a:pt x="5754277" y="8053742"/>
                    <a:pt x="5749328" y="8053742"/>
                  </a:cubicBezTo>
                  <a:cubicBezTo>
                    <a:pt x="5744379" y="8053742"/>
                    <a:pt x="5740368" y="8049730"/>
                    <a:pt x="5740368" y="8044782"/>
                  </a:cubicBezTo>
                  <a:cubicBezTo>
                    <a:pt x="5740368" y="8039833"/>
                    <a:pt x="5744379" y="8035821"/>
                    <a:pt x="5749328" y="8035821"/>
                  </a:cubicBezTo>
                  <a:close/>
                  <a:moveTo>
                    <a:pt x="5580586" y="8035821"/>
                  </a:moveTo>
                  <a:cubicBezTo>
                    <a:pt x="5585535" y="8035821"/>
                    <a:pt x="5589547" y="8039833"/>
                    <a:pt x="5589547" y="8044782"/>
                  </a:cubicBezTo>
                  <a:cubicBezTo>
                    <a:pt x="5589547" y="8049730"/>
                    <a:pt x="5585535" y="8053742"/>
                    <a:pt x="5580586" y="8053742"/>
                  </a:cubicBezTo>
                  <a:cubicBezTo>
                    <a:pt x="5575637" y="8053742"/>
                    <a:pt x="5571626" y="8049730"/>
                    <a:pt x="5571626" y="8044782"/>
                  </a:cubicBezTo>
                  <a:cubicBezTo>
                    <a:pt x="5571626" y="8039833"/>
                    <a:pt x="5575637" y="8035821"/>
                    <a:pt x="5580586" y="8035821"/>
                  </a:cubicBezTo>
                  <a:close/>
                  <a:moveTo>
                    <a:pt x="5411845" y="8035821"/>
                  </a:moveTo>
                  <a:cubicBezTo>
                    <a:pt x="5416794" y="8035821"/>
                    <a:pt x="5420806" y="8039833"/>
                    <a:pt x="5420806" y="8044782"/>
                  </a:cubicBezTo>
                  <a:cubicBezTo>
                    <a:pt x="5420806" y="8049730"/>
                    <a:pt x="5416794" y="8053742"/>
                    <a:pt x="5411845" y="8053742"/>
                  </a:cubicBezTo>
                  <a:cubicBezTo>
                    <a:pt x="5406896" y="8053742"/>
                    <a:pt x="5402885" y="8049730"/>
                    <a:pt x="5402885" y="8044782"/>
                  </a:cubicBezTo>
                  <a:cubicBezTo>
                    <a:pt x="5402885" y="8039833"/>
                    <a:pt x="5406896" y="8035821"/>
                    <a:pt x="5411845" y="8035821"/>
                  </a:cubicBezTo>
                  <a:close/>
                  <a:moveTo>
                    <a:pt x="5243103" y="8035821"/>
                  </a:moveTo>
                  <a:cubicBezTo>
                    <a:pt x="5248052" y="8035821"/>
                    <a:pt x="5252064" y="8039833"/>
                    <a:pt x="5252064" y="8044782"/>
                  </a:cubicBezTo>
                  <a:cubicBezTo>
                    <a:pt x="5252064" y="8049730"/>
                    <a:pt x="5248052" y="8053742"/>
                    <a:pt x="5243103" y="8053742"/>
                  </a:cubicBezTo>
                  <a:cubicBezTo>
                    <a:pt x="5238154" y="8053742"/>
                    <a:pt x="5234143" y="8049730"/>
                    <a:pt x="5234143" y="8044782"/>
                  </a:cubicBezTo>
                  <a:cubicBezTo>
                    <a:pt x="5234143" y="8039833"/>
                    <a:pt x="5238154" y="8035821"/>
                    <a:pt x="5243103" y="8035821"/>
                  </a:cubicBezTo>
                  <a:close/>
                  <a:moveTo>
                    <a:pt x="5074362" y="8035821"/>
                  </a:moveTo>
                  <a:cubicBezTo>
                    <a:pt x="5079311" y="8035821"/>
                    <a:pt x="5083323" y="8039833"/>
                    <a:pt x="5083323" y="8044782"/>
                  </a:cubicBezTo>
                  <a:cubicBezTo>
                    <a:pt x="5083323" y="8049730"/>
                    <a:pt x="5079311" y="8053742"/>
                    <a:pt x="5074362" y="8053742"/>
                  </a:cubicBezTo>
                  <a:cubicBezTo>
                    <a:pt x="5069413" y="8053742"/>
                    <a:pt x="5065402" y="8049730"/>
                    <a:pt x="5065402" y="8044782"/>
                  </a:cubicBezTo>
                  <a:cubicBezTo>
                    <a:pt x="5065402" y="8039833"/>
                    <a:pt x="5069413" y="8035821"/>
                    <a:pt x="5074362" y="8035821"/>
                  </a:cubicBezTo>
                  <a:close/>
                  <a:moveTo>
                    <a:pt x="4905620" y="8035821"/>
                  </a:moveTo>
                  <a:cubicBezTo>
                    <a:pt x="4910569" y="8035821"/>
                    <a:pt x="4914581" y="8039833"/>
                    <a:pt x="4914581" y="8044782"/>
                  </a:cubicBezTo>
                  <a:cubicBezTo>
                    <a:pt x="4914581" y="8049730"/>
                    <a:pt x="4910569" y="8053742"/>
                    <a:pt x="4905620" y="8053742"/>
                  </a:cubicBezTo>
                  <a:cubicBezTo>
                    <a:pt x="4900671" y="8053742"/>
                    <a:pt x="4896660" y="8049730"/>
                    <a:pt x="4896660" y="8044782"/>
                  </a:cubicBezTo>
                  <a:cubicBezTo>
                    <a:pt x="4896660" y="8039833"/>
                    <a:pt x="4900671" y="8035821"/>
                    <a:pt x="4905620" y="8035821"/>
                  </a:cubicBezTo>
                  <a:close/>
                  <a:moveTo>
                    <a:pt x="4736878" y="8035821"/>
                  </a:moveTo>
                  <a:cubicBezTo>
                    <a:pt x="4741827" y="8035821"/>
                    <a:pt x="4745839" y="8039833"/>
                    <a:pt x="4745839" y="8044782"/>
                  </a:cubicBezTo>
                  <a:cubicBezTo>
                    <a:pt x="4745839" y="8049730"/>
                    <a:pt x="4741827" y="8053742"/>
                    <a:pt x="4736878" y="8053742"/>
                  </a:cubicBezTo>
                  <a:cubicBezTo>
                    <a:pt x="4731929" y="8053742"/>
                    <a:pt x="4727918" y="8049730"/>
                    <a:pt x="4727918" y="8044782"/>
                  </a:cubicBezTo>
                  <a:cubicBezTo>
                    <a:pt x="4727918" y="8039833"/>
                    <a:pt x="4731929" y="8035821"/>
                    <a:pt x="4736878" y="8035821"/>
                  </a:cubicBezTo>
                  <a:close/>
                  <a:moveTo>
                    <a:pt x="4568137" y="8035821"/>
                  </a:moveTo>
                  <a:cubicBezTo>
                    <a:pt x="4573086" y="8035821"/>
                    <a:pt x="4577098" y="8039833"/>
                    <a:pt x="4577098" y="8044782"/>
                  </a:cubicBezTo>
                  <a:cubicBezTo>
                    <a:pt x="4577098" y="8049730"/>
                    <a:pt x="4573086" y="8053742"/>
                    <a:pt x="4568137" y="8053742"/>
                  </a:cubicBezTo>
                  <a:cubicBezTo>
                    <a:pt x="4563188" y="8053742"/>
                    <a:pt x="4559177" y="8049730"/>
                    <a:pt x="4559177" y="8044782"/>
                  </a:cubicBezTo>
                  <a:cubicBezTo>
                    <a:pt x="4559177" y="8039833"/>
                    <a:pt x="4563188" y="8035821"/>
                    <a:pt x="4568137" y="8035821"/>
                  </a:cubicBezTo>
                  <a:close/>
                  <a:moveTo>
                    <a:pt x="4399396" y="8035821"/>
                  </a:moveTo>
                  <a:cubicBezTo>
                    <a:pt x="4404345" y="8035821"/>
                    <a:pt x="4408357" y="8039833"/>
                    <a:pt x="4408357" y="8044782"/>
                  </a:cubicBezTo>
                  <a:cubicBezTo>
                    <a:pt x="4408357" y="8049730"/>
                    <a:pt x="4404345" y="8053742"/>
                    <a:pt x="4399396" y="8053742"/>
                  </a:cubicBezTo>
                  <a:cubicBezTo>
                    <a:pt x="4394447" y="8053742"/>
                    <a:pt x="4390436" y="8049730"/>
                    <a:pt x="4390436" y="8044782"/>
                  </a:cubicBezTo>
                  <a:cubicBezTo>
                    <a:pt x="4390436" y="8039833"/>
                    <a:pt x="4394447" y="8035821"/>
                    <a:pt x="4399396" y="8035821"/>
                  </a:cubicBezTo>
                  <a:close/>
                  <a:moveTo>
                    <a:pt x="4230654" y="8035821"/>
                  </a:moveTo>
                  <a:cubicBezTo>
                    <a:pt x="4235603" y="8035821"/>
                    <a:pt x="4239615" y="8039833"/>
                    <a:pt x="4239615" y="8044782"/>
                  </a:cubicBezTo>
                  <a:cubicBezTo>
                    <a:pt x="4239615" y="8049730"/>
                    <a:pt x="4235603" y="8053742"/>
                    <a:pt x="4230654" y="8053742"/>
                  </a:cubicBezTo>
                  <a:cubicBezTo>
                    <a:pt x="4225705" y="8053742"/>
                    <a:pt x="4221694" y="8049730"/>
                    <a:pt x="4221694" y="8044782"/>
                  </a:cubicBezTo>
                  <a:cubicBezTo>
                    <a:pt x="4221694" y="8039833"/>
                    <a:pt x="4225705" y="8035821"/>
                    <a:pt x="4230654" y="8035821"/>
                  </a:cubicBezTo>
                  <a:close/>
                  <a:moveTo>
                    <a:pt x="4061912" y="8035821"/>
                  </a:moveTo>
                  <a:cubicBezTo>
                    <a:pt x="4066861" y="8035821"/>
                    <a:pt x="4070873" y="8039833"/>
                    <a:pt x="4070873" y="8044782"/>
                  </a:cubicBezTo>
                  <a:cubicBezTo>
                    <a:pt x="4070873" y="8049730"/>
                    <a:pt x="4066861" y="8053742"/>
                    <a:pt x="4061912" y="8053742"/>
                  </a:cubicBezTo>
                  <a:cubicBezTo>
                    <a:pt x="4056963" y="8053742"/>
                    <a:pt x="4052952" y="8049730"/>
                    <a:pt x="4052952" y="8044782"/>
                  </a:cubicBezTo>
                  <a:cubicBezTo>
                    <a:pt x="4052952" y="8039833"/>
                    <a:pt x="4056963" y="8035821"/>
                    <a:pt x="4061912" y="8035821"/>
                  </a:cubicBezTo>
                  <a:close/>
                  <a:moveTo>
                    <a:pt x="3893170" y="8035821"/>
                  </a:moveTo>
                  <a:cubicBezTo>
                    <a:pt x="3898119" y="8035821"/>
                    <a:pt x="3902131" y="8039833"/>
                    <a:pt x="3902131" y="8044782"/>
                  </a:cubicBezTo>
                  <a:cubicBezTo>
                    <a:pt x="3902131" y="8049730"/>
                    <a:pt x="3898119" y="8053742"/>
                    <a:pt x="3893170" y="8053742"/>
                  </a:cubicBezTo>
                  <a:cubicBezTo>
                    <a:pt x="3888221" y="8053742"/>
                    <a:pt x="3884210" y="8049730"/>
                    <a:pt x="3884210" y="8044782"/>
                  </a:cubicBezTo>
                  <a:cubicBezTo>
                    <a:pt x="3884210" y="8039833"/>
                    <a:pt x="3888221" y="8035821"/>
                    <a:pt x="3893170" y="8035821"/>
                  </a:cubicBezTo>
                  <a:close/>
                  <a:moveTo>
                    <a:pt x="3724429" y="8035821"/>
                  </a:moveTo>
                  <a:cubicBezTo>
                    <a:pt x="3729378" y="8035821"/>
                    <a:pt x="3733390" y="8039833"/>
                    <a:pt x="3733390" y="8044782"/>
                  </a:cubicBezTo>
                  <a:cubicBezTo>
                    <a:pt x="3733390" y="8049730"/>
                    <a:pt x="3729378" y="8053742"/>
                    <a:pt x="3724429" y="8053742"/>
                  </a:cubicBezTo>
                  <a:cubicBezTo>
                    <a:pt x="3719481" y="8053742"/>
                    <a:pt x="3715469" y="8049730"/>
                    <a:pt x="3715469" y="8044782"/>
                  </a:cubicBezTo>
                  <a:cubicBezTo>
                    <a:pt x="3715469" y="8039833"/>
                    <a:pt x="3719481" y="8035821"/>
                    <a:pt x="3724429" y="8035821"/>
                  </a:cubicBezTo>
                  <a:close/>
                  <a:moveTo>
                    <a:pt x="3555688" y="8035821"/>
                  </a:moveTo>
                  <a:cubicBezTo>
                    <a:pt x="3560637" y="8035821"/>
                    <a:pt x="3564649" y="8039833"/>
                    <a:pt x="3564649" y="8044782"/>
                  </a:cubicBezTo>
                  <a:cubicBezTo>
                    <a:pt x="3564649" y="8049730"/>
                    <a:pt x="3560637" y="8053742"/>
                    <a:pt x="3555688" y="8053742"/>
                  </a:cubicBezTo>
                  <a:cubicBezTo>
                    <a:pt x="3550740" y="8053742"/>
                    <a:pt x="3546728" y="8049730"/>
                    <a:pt x="3546728" y="8044782"/>
                  </a:cubicBezTo>
                  <a:cubicBezTo>
                    <a:pt x="3546728" y="8039833"/>
                    <a:pt x="3550740" y="8035821"/>
                    <a:pt x="3555688" y="8035821"/>
                  </a:cubicBezTo>
                  <a:close/>
                  <a:moveTo>
                    <a:pt x="3386969" y="8035821"/>
                  </a:moveTo>
                  <a:cubicBezTo>
                    <a:pt x="3391917" y="8035821"/>
                    <a:pt x="3395930" y="8039833"/>
                    <a:pt x="3395930" y="8044782"/>
                  </a:cubicBezTo>
                  <a:cubicBezTo>
                    <a:pt x="3395930" y="8049730"/>
                    <a:pt x="3391917" y="8053742"/>
                    <a:pt x="3386969" y="8053742"/>
                  </a:cubicBezTo>
                  <a:cubicBezTo>
                    <a:pt x="3382010" y="8053742"/>
                    <a:pt x="3377997" y="8049730"/>
                    <a:pt x="3377997" y="8044782"/>
                  </a:cubicBezTo>
                  <a:cubicBezTo>
                    <a:pt x="3377997" y="8039833"/>
                    <a:pt x="3382010" y="8035821"/>
                    <a:pt x="3386969" y="8035821"/>
                  </a:cubicBezTo>
                  <a:close/>
                  <a:moveTo>
                    <a:pt x="3218221" y="8035821"/>
                  </a:moveTo>
                  <a:cubicBezTo>
                    <a:pt x="3223173" y="8035821"/>
                    <a:pt x="3227186" y="8039833"/>
                    <a:pt x="3227186" y="8044782"/>
                  </a:cubicBezTo>
                  <a:cubicBezTo>
                    <a:pt x="3227186" y="8049730"/>
                    <a:pt x="3223173" y="8053742"/>
                    <a:pt x="3218221" y="8053742"/>
                  </a:cubicBezTo>
                  <a:cubicBezTo>
                    <a:pt x="3213271" y="8053742"/>
                    <a:pt x="3209263" y="8049730"/>
                    <a:pt x="3209263" y="8044782"/>
                  </a:cubicBezTo>
                  <a:cubicBezTo>
                    <a:pt x="3209263" y="8039833"/>
                    <a:pt x="3213271" y="8035821"/>
                    <a:pt x="3218221" y="8035821"/>
                  </a:cubicBezTo>
                  <a:close/>
                  <a:moveTo>
                    <a:pt x="3049497" y="8035821"/>
                  </a:moveTo>
                  <a:cubicBezTo>
                    <a:pt x="3054435" y="8035821"/>
                    <a:pt x="3058448" y="8039833"/>
                    <a:pt x="3058448" y="8044782"/>
                  </a:cubicBezTo>
                  <a:cubicBezTo>
                    <a:pt x="3058448" y="8049730"/>
                    <a:pt x="3054435" y="8053742"/>
                    <a:pt x="3049497" y="8053742"/>
                  </a:cubicBezTo>
                  <a:cubicBezTo>
                    <a:pt x="3044538" y="8053742"/>
                    <a:pt x="3040526" y="8049730"/>
                    <a:pt x="3040526" y="8044782"/>
                  </a:cubicBezTo>
                  <a:cubicBezTo>
                    <a:pt x="3040526" y="8039833"/>
                    <a:pt x="3044538" y="8035821"/>
                    <a:pt x="3049497" y="8035821"/>
                  </a:cubicBezTo>
                  <a:close/>
                  <a:moveTo>
                    <a:pt x="2880752" y="8035821"/>
                  </a:moveTo>
                  <a:cubicBezTo>
                    <a:pt x="2885698" y="8035821"/>
                    <a:pt x="2889712" y="8039833"/>
                    <a:pt x="2889712" y="8044782"/>
                  </a:cubicBezTo>
                  <a:cubicBezTo>
                    <a:pt x="2889712" y="8049730"/>
                    <a:pt x="2885698" y="8053742"/>
                    <a:pt x="2880752" y="8053742"/>
                  </a:cubicBezTo>
                  <a:cubicBezTo>
                    <a:pt x="2875801" y="8053742"/>
                    <a:pt x="2871792" y="8049730"/>
                    <a:pt x="2871792" y="8044782"/>
                  </a:cubicBezTo>
                  <a:cubicBezTo>
                    <a:pt x="2871792" y="8039833"/>
                    <a:pt x="2875801" y="8035821"/>
                    <a:pt x="2880752" y="8035821"/>
                  </a:cubicBezTo>
                  <a:close/>
                  <a:moveTo>
                    <a:pt x="2712005" y="8035821"/>
                  </a:moveTo>
                  <a:cubicBezTo>
                    <a:pt x="2716957" y="8035821"/>
                    <a:pt x="2720974" y="8039833"/>
                    <a:pt x="2720974" y="8044782"/>
                  </a:cubicBezTo>
                  <a:cubicBezTo>
                    <a:pt x="2720974" y="8049730"/>
                    <a:pt x="2716957" y="8053742"/>
                    <a:pt x="2712005" y="8053742"/>
                  </a:cubicBezTo>
                  <a:cubicBezTo>
                    <a:pt x="2707060" y="8053742"/>
                    <a:pt x="2703050" y="8049730"/>
                    <a:pt x="2703050" y="8044782"/>
                  </a:cubicBezTo>
                  <a:cubicBezTo>
                    <a:pt x="2703050" y="8039833"/>
                    <a:pt x="2707060" y="8035821"/>
                    <a:pt x="2712005" y="8035821"/>
                  </a:cubicBezTo>
                  <a:close/>
                  <a:moveTo>
                    <a:pt x="2543272" y="8035821"/>
                  </a:moveTo>
                  <a:cubicBezTo>
                    <a:pt x="2548226" y="8035821"/>
                    <a:pt x="2552236" y="8039833"/>
                    <a:pt x="2552236" y="8044782"/>
                  </a:cubicBezTo>
                  <a:cubicBezTo>
                    <a:pt x="2552236" y="8049730"/>
                    <a:pt x="2548226" y="8053742"/>
                    <a:pt x="2543272" y="8053742"/>
                  </a:cubicBezTo>
                  <a:cubicBezTo>
                    <a:pt x="2538324" y="8053742"/>
                    <a:pt x="2534311" y="8049730"/>
                    <a:pt x="2534311" y="8044782"/>
                  </a:cubicBezTo>
                  <a:cubicBezTo>
                    <a:pt x="2534311" y="8039833"/>
                    <a:pt x="2538324" y="8035821"/>
                    <a:pt x="2543272" y="8035821"/>
                  </a:cubicBezTo>
                  <a:close/>
                  <a:moveTo>
                    <a:pt x="2374523" y="8035821"/>
                  </a:moveTo>
                  <a:cubicBezTo>
                    <a:pt x="2379472" y="8035821"/>
                    <a:pt x="2383492" y="8039833"/>
                    <a:pt x="2383492" y="8044782"/>
                  </a:cubicBezTo>
                  <a:cubicBezTo>
                    <a:pt x="2383492" y="8049730"/>
                    <a:pt x="2379472" y="8053742"/>
                    <a:pt x="2374523" y="8053742"/>
                  </a:cubicBezTo>
                  <a:cubicBezTo>
                    <a:pt x="2369573" y="8053742"/>
                    <a:pt x="2365560" y="8049730"/>
                    <a:pt x="2365560" y="8044782"/>
                  </a:cubicBezTo>
                  <a:cubicBezTo>
                    <a:pt x="2365560" y="8039833"/>
                    <a:pt x="2369573" y="8035821"/>
                    <a:pt x="2374523" y="8035821"/>
                  </a:cubicBezTo>
                  <a:close/>
                  <a:moveTo>
                    <a:pt x="2205787" y="8035821"/>
                  </a:moveTo>
                  <a:cubicBezTo>
                    <a:pt x="2210737" y="8035821"/>
                    <a:pt x="2214749" y="8039833"/>
                    <a:pt x="2214749" y="8044782"/>
                  </a:cubicBezTo>
                  <a:cubicBezTo>
                    <a:pt x="2214749" y="8049730"/>
                    <a:pt x="2210737" y="8053742"/>
                    <a:pt x="2205787" y="8053742"/>
                  </a:cubicBezTo>
                  <a:cubicBezTo>
                    <a:pt x="2200838" y="8053742"/>
                    <a:pt x="2196829" y="8049730"/>
                    <a:pt x="2196829" y="8044782"/>
                  </a:cubicBezTo>
                  <a:cubicBezTo>
                    <a:pt x="2196829" y="8039833"/>
                    <a:pt x="2200838" y="8035821"/>
                    <a:pt x="2205787" y="8035821"/>
                  </a:cubicBezTo>
                  <a:close/>
                  <a:moveTo>
                    <a:pt x="2037050" y="8035821"/>
                  </a:moveTo>
                  <a:cubicBezTo>
                    <a:pt x="2041996" y="8035821"/>
                    <a:pt x="2046002" y="8039833"/>
                    <a:pt x="2046002" y="8044782"/>
                  </a:cubicBezTo>
                  <a:cubicBezTo>
                    <a:pt x="2046002" y="8049730"/>
                    <a:pt x="2041996" y="8053742"/>
                    <a:pt x="2037050" y="8053742"/>
                  </a:cubicBezTo>
                  <a:cubicBezTo>
                    <a:pt x="2032101" y="8053742"/>
                    <a:pt x="2028089" y="8049730"/>
                    <a:pt x="2028089" y="8044782"/>
                  </a:cubicBezTo>
                  <a:cubicBezTo>
                    <a:pt x="2028089" y="8039833"/>
                    <a:pt x="2032101" y="8035821"/>
                    <a:pt x="2037050" y="8035821"/>
                  </a:cubicBezTo>
                  <a:close/>
                  <a:moveTo>
                    <a:pt x="1868312" y="8035821"/>
                  </a:moveTo>
                  <a:cubicBezTo>
                    <a:pt x="1873258" y="8035821"/>
                    <a:pt x="1877269" y="8039833"/>
                    <a:pt x="1877269" y="8044782"/>
                  </a:cubicBezTo>
                  <a:cubicBezTo>
                    <a:pt x="1877269" y="8049730"/>
                    <a:pt x="1873258" y="8053742"/>
                    <a:pt x="1868312" y="8053742"/>
                  </a:cubicBezTo>
                  <a:cubicBezTo>
                    <a:pt x="1863361" y="8053742"/>
                    <a:pt x="1859347" y="8049730"/>
                    <a:pt x="1859347" y="8044782"/>
                  </a:cubicBezTo>
                  <a:cubicBezTo>
                    <a:pt x="1859347" y="8039833"/>
                    <a:pt x="1863361" y="8035821"/>
                    <a:pt x="1868312" y="8035821"/>
                  </a:cubicBezTo>
                  <a:close/>
                  <a:moveTo>
                    <a:pt x="1699570" y="8035821"/>
                  </a:moveTo>
                  <a:cubicBezTo>
                    <a:pt x="1704519" y="8035821"/>
                    <a:pt x="1708530" y="8039833"/>
                    <a:pt x="1708530" y="8044782"/>
                  </a:cubicBezTo>
                  <a:cubicBezTo>
                    <a:pt x="1708530" y="8049730"/>
                    <a:pt x="1704519" y="8053742"/>
                    <a:pt x="1699570" y="8053742"/>
                  </a:cubicBezTo>
                  <a:cubicBezTo>
                    <a:pt x="1694618" y="8053742"/>
                    <a:pt x="1690607" y="8049730"/>
                    <a:pt x="1690607" y="8044782"/>
                  </a:cubicBezTo>
                  <a:cubicBezTo>
                    <a:pt x="1690607" y="8039833"/>
                    <a:pt x="1694618" y="8035821"/>
                    <a:pt x="1699570" y="8035821"/>
                  </a:cubicBezTo>
                  <a:close/>
                  <a:moveTo>
                    <a:pt x="1530826" y="8035821"/>
                  </a:moveTo>
                  <a:cubicBezTo>
                    <a:pt x="1535776" y="8035821"/>
                    <a:pt x="1539787" y="8039833"/>
                    <a:pt x="1539787" y="8044782"/>
                  </a:cubicBezTo>
                  <a:cubicBezTo>
                    <a:pt x="1539787" y="8049730"/>
                    <a:pt x="1535776" y="8053742"/>
                    <a:pt x="1530826" y="8053742"/>
                  </a:cubicBezTo>
                  <a:cubicBezTo>
                    <a:pt x="1525877" y="8053742"/>
                    <a:pt x="1521866" y="8049730"/>
                    <a:pt x="1521866" y="8044782"/>
                  </a:cubicBezTo>
                  <a:cubicBezTo>
                    <a:pt x="1521866" y="8039833"/>
                    <a:pt x="1525877" y="8035821"/>
                    <a:pt x="1530826" y="8035821"/>
                  </a:cubicBezTo>
                  <a:close/>
                  <a:moveTo>
                    <a:pt x="1362083" y="8035821"/>
                  </a:moveTo>
                  <a:cubicBezTo>
                    <a:pt x="1367032" y="8035821"/>
                    <a:pt x="1371043" y="8039833"/>
                    <a:pt x="1371043" y="8044782"/>
                  </a:cubicBezTo>
                  <a:cubicBezTo>
                    <a:pt x="1371043" y="8049730"/>
                    <a:pt x="1367032" y="8053742"/>
                    <a:pt x="1362083" y="8053742"/>
                  </a:cubicBezTo>
                  <a:cubicBezTo>
                    <a:pt x="1357133" y="8053742"/>
                    <a:pt x="1353122" y="8049730"/>
                    <a:pt x="1353122" y="8044782"/>
                  </a:cubicBezTo>
                  <a:cubicBezTo>
                    <a:pt x="1353122" y="8039833"/>
                    <a:pt x="1357133" y="8035821"/>
                    <a:pt x="1362083" y="8035821"/>
                  </a:cubicBezTo>
                  <a:close/>
                  <a:moveTo>
                    <a:pt x="1193341" y="8035821"/>
                  </a:moveTo>
                  <a:cubicBezTo>
                    <a:pt x="1198290" y="8035821"/>
                    <a:pt x="1202302" y="8039833"/>
                    <a:pt x="1202302" y="8044782"/>
                  </a:cubicBezTo>
                  <a:cubicBezTo>
                    <a:pt x="1202302" y="8049730"/>
                    <a:pt x="1198290" y="8053742"/>
                    <a:pt x="1193341" y="8053742"/>
                  </a:cubicBezTo>
                  <a:cubicBezTo>
                    <a:pt x="1188393" y="8053742"/>
                    <a:pt x="1184382" y="8049730"/>
                    <a:pt x="1184382" y="8044782"/>
                  </a:cubicBezTo>
                  <a:cubicBezTo>
                    <a:pt x="1184382" y="8039833"/>
                    <a:pt x="1188393" y="8035821"/>
                    <a:pt x="1193341" y="8035821"/>
                  </a:cubicBezTo>
                  <a:close/>
                  <a:moveTo>
                    <a:pt x="1024598" y="8035821"/>
                  </a:moveTo>
                  <a:cubicBezTo>
                    <a:pt x="1029547" y="8035821"/>
                    <a:pt x="1033560" y="8039833"/>
                    <a:pt x="1033560" y="8044782"/>
                  </a:cubicBezTo>
                  <a:cubicBezTo>
                    <a:pt x="1033560" y="8049730"/>
                    <a:pt x="1029547" y="8053742"/>
                    <a:pt x="1024598" y="8053742"/>
                  </a:cubicBezTo>
                  <a:cubicBezTo>
                    <a:pt x="1019649" y="8053742"/>
                    <a:pt x="1015638" y="8049730"/>
                    <a:pt x="1015638" y="8044782"/>
                  </a:cubicBezTo>
                  <a:cubicBezTo>
                    <a:pt x="1015638" y="8039833"/>
                    <a:pt x="1019649" y="8035821"/>
                    <a:pt x="1024598" y="8035821"/>
                  </a:cubicBezTo>
                  <a:close/>
                  <a:moveTo>
                    <a:pt x="855859" y="8035821"/>
                  </a:moveTo>
                  <a:cubicBezTo>
                    <a:pt x="860808" y="8035821"/>
                    <a:pt x="864819" y="8039833"/>
                    <a:pt x="864819" y="8044782"/>
                  </a:cubicBezTo>
                  <a:cubicBezTo>
                    <a:pt x="864819" y="8049730"/>
                    <a:pt x="860808" y="8053742"/>
                    <a:pt x="855859" y="8053742"/>
                  </a:cubicBezTo>
                  <a:cubicBezTo>
                    <a:pt x="850910" y="8053742"/>
                    <a:pt x="846898" y="8049730"/>
                    <a:pt x="846898" y="8044782"/>
                  </a:cubicBezTo>
                  <a:cubicBezTo>
                    <a:pt x="846898" y="8039833"/>
                    <a:pt x="850910" y="8035821"/>
                    <a:pt x="855859" y="8035821"/>
                  </a:cubicBezTo>
                  <a:close/>
                  <a:moveTo>
                    <a:pt x="687118" y="8035821"/>
                  </a:moveTo>
                  <a:cubicBezTo>
                    <a:pt x="692067" y="8035821"/>
                    <a:pt x="696078" y="8039833"/>
                    <a:pt x="696078" y="8044782"/>
                  </a:cubicBezTo>
                  <a:cubicBezTo>
                    <a:pt x="696078" y="8049730"/>
                    <a:pt x="692067" y="8053742"/>
                    <a:pt x="687118" y="8053742"/>
                  </a:cubicBezTo>
                  <a:cubicBezTo>
                    <a:pt x="682169" y="8053742"/>
                    <a:pt x="678158" y="8049730"/>
                    <a:pt x="678158" y="8044782"/>
                  </a:cubicBezTo>
                  <a:cubicBezTo>
                    <a:pt x="678158" y="8039833"/>
                    <a:pt x="682169" y="8035821"/>
                    <a:pt x="687118" y="8035821"/>
                  </a:cubicBezTo>
                  <a:close/>
                  <a:moveTo>
                    <a:pt x="518370" y="8035821"/>
                  </a:moveTo>
                  <a:cubicBezTo>
                    <a:pt x="523318" y="8035821"/>
                    <a:pt x="527330" y="8039833"/>
                    <a:pt x="527330" y="8044782"/>
                  </a:cubicBezTo>
                  <a:cubicBezTo>
                    <a:pt x="527330" y="8049730"/>
                    <a:pt x="523318" y="8053742"/>
                    <a:pt x="518370" y="8053742"/>
                  </a:cubicBezTo>
                  <a:cubicBezTo>
                    <a:pt x="513421" y="8053742"/>
                    <a:pt x="509409" y="8049730"/>
                    <a:pt x="509409" y="8044782"/>
                  </a:cubicBezTo>
                  <a:cubicBezTo>
                    <a:pt x="509409" y="8039833"/>
                    <a:pt x="513421" y="8035821"/>
                    <a:pt x="518370" y="8035821"/>
                  </a:cubicBezTo>
                  <a:close/>
                  <a:moveTo>
                    <a:pt x="349630" y="8035821"/>
                  </a:moveTo>
                  <a:cubicBezTo>
                    <a:pt x="354578" y="8035821"/>
                    <a:pt x="358590" y="8039833"/>
                    <a:pt x="358590" y="8044782"/>
                  </a:cubicBezTo>
                  <a:cubicBezTo>
                    <a:pt x="358590" y="8049730"/>
                    <a:pt x="354578" y="8053742"/>
                    <a:pt x="349630" y="8053742"/>
                  </a:cubicBezTo>
                  <a:cubicBezTo>
                    <a:pt x="344681" y="8053742"/>
                    <a:pt x="340669" y="8049730"/>
                    <a:pt x="340669" y="8044782"/>
                  </a:cubicBezTo>
                  <a:cubicBezTo>
                    <a:pt x="340669" y="8039833"/>
                    <a:pt x="344681" y="8035821"/>
                    <a:pt x="349630" y="8035821"/>
                  </a:cubicBezTo>
                  <a:close/>
                  <a:moveTo>
                    <a:pt x="179309" y="8035821"/>
                  </a:moveTo>
                  <a:cubicBezTo>
                    <a:pt x="184258" y="8035821"/>
                    <a:pt x="188270" y="8039833"/>
                    <a:pt x="188270" y="8044782"/>
                  </a:cubicBezTo>
                  <a:cubicBezTo>
                    <a:pt x="188270" y="8049730"/>
                    <a:pt x="184258" y="8053742"/>
                    <a:pt x="179309" y="8053742"/>
                  </a:cubicBezTo>
                  <a:cubicBezTo>
                    <a:pt x="174361" y="8053742"/>
                    <a:pt x="170349" y="8049730"/>
                    <a:pt x="170349" y="8044782"/>
                  </a:cubicBezTo>
                  <a:cubicBezTo>
                    <a:pt x="170349" y="8039833"/>
                    <a:pt x="174361" y="8035821"/>
                    <a:pt x="179309" y="8035821"/>
                  </a:cubicBezTo>
                  <a:close/>
                  <a:moveTo>
                    <a:pt x="8989" y="8035821"/>
                  </a:moveTo>
                  <a:cubicBezTo>
                    <a:pt x="13938" y="8035821"/>
                    <a:pt x="17949" y="8039833"/>
                    <a:pt x="17949" y="8044782"/>
                  </a:cubicBezTo>
                  <a:cubicBezTo>
                    <a:pt x="17949" y="8049730"/>
                    <a:pt x="13938" y="8053742"/>
                    <a:pt x="8989" y="8053742"/>
                  </a:cubicBezTo>
                  <a:cubicBezTo>
                    <a:pt x="4040" y="8053742"/>
                    <a:pt x="29" y="8049730"/>
                    <a:pt x="29" y="8044782"/>
                  </a:cubicBezTo>
                  <a:cubicBezTo>
                    <a:pt x="29" y="8039833"/>
                    <a:pt x="4040" y="8035821"/>
                    <a:pt x="8989" y="8035821"/>
                  </a:cubicBezTo>
                  <a:close/>
                  <a:moveTo>
                    <a:pt x="6933679" y="7864840"/>
                  </a:moveTo>
                  <a:cubicBezTo>
                    <a:pt x="6938628" y="7864840"/>
                    <a:pt x="6942639" y="7868851"/>
                    <a:pt x="6942639" y="7873800"/>
                  </a:cubicBezTo>
                  <a:cubicBezTo>
                    <a:pt x="6942639" y="7878749"/>
                    <a:pt x="6938628" y="7882761"/>
                    <a:pt x="6933679" y="7882761"/>
                  </a:cubicBezTo>
                  <a:cubicBezTo>
                    <a:pt x="6928730" y="7882761"/>
                    <a:pt x="6924718" y="7878749"/>
                    <a:pt x="6924718" y="7873800"/>
                  </a:cubicBezTo>
                  <a:cubicBezTo>
                    <a:pt x="6924718" y="7868851"/>
                    <a:pt x="6928730" y="7864840"/>
                    <a:pt x="6933679" y="7864840"/>
                  </a:cubicBezTo>
                  <a:close/>
                  <a:moveTo>
                    <a:pt x="6763357" y="7864840"/>
                  </a:moveTo>
                  <a:cubicBezTo>
                    <a:pt x="6768306" y="7864840"/>
                    <a:pt x="6772318" y="7868851"/>
                    <a:pt x="6772318" y="7873800"/>
                  </a:cubicBezTo>
                  <a:cubicBezTo>
                    <a:pt x="6772318" y="7878749"/>
                    <a:pt x="6768306" y="7882761"/>
                    <a:pt x="6763357" y="7882761"/>
                  </a:cubicBezTo>
                  <a:cubicBezTo>
                    <a:pt x="6758408" y="7882761"/>
                    <a:pt x="6754397" y="7878749"/>
                    <a:pt x="6754397" y="7873800"/>
                  </a:cubicBezTo>
                  <a:cubicBezTo>
                    <a:pt x="6754397" y="7868851"/>
                    <a:pt x="6758408" y="7864840"/>
                    <a:pt x="6763357" y="7864840"/>
                  </a:cubicBezTo>
                  <a:close/>
                  <a:moveTo>
                    <a:pt x="6593035" y="7864840"/>
                  </a:moveTo>
                  <a:cubicBezTo>
                    <a:pt x="6597984" y="7864840"/>
                    <a:pt x="6601996" y="7868851"/>
                    <a:pt x="6601996" y="7873800"/>
                  </a:cubicBezTo>
                  <a:cubicBezTo>
                    <a:pt x="6601996" y="7878749"/>
                    <a:pt x="6597984" y="7882761"/>
                    <a:pt x="6593035" y="7882761"/>
                  </a:cubicBezTo>
                  <a:cubicBezTo>
                    <a:pt x="6588086" y="7882761"/>
                    <a:pt x="6584075" y="7878749"/>
                    <a:pt x="6584075" y="7873800"/>
                  </a:cubicBezTo>
                  <a:cubicBezTo>
                    <a:pt x="6584075" y="7868851"/>
                    <a:pt x="6588086" y="7864840"/>
                    <a:pt x="6593035" y="7864840"/>
                  </a:cubicBezTo>
                  <a:close/>
                  <a:moveTo>
                    <a:pt x="6424294" y="7864840"/>
                  </a:moveTo>
                  <a:cubicBezTo>
                    <a:pt x="6429243" y="7864840"/>
                    <a:pt x="6433255" y="7868851"/>
                    <a:pt x="6433255" y="7873800"/>
                  </a:cubicBezTo>
                  <a:cubicBezTo>
                    <a:pt x="6433255" y="7878749"/>
                    <a:pt x="6429243" y="7882761"/>
                    <a:pt x="6424294" y="7882761"/>
                  </a:cubicBezTo>
                  <a:cubicBezTo>
                    <a:pt x="6419345" y="7882761"/>
                    <a:pt x="6415334" y="7878749"/>
                    <a:pt x="6415334" y="7873800"/>
                  </a:cubicBezTo>
                  <a:cubicBezTo>
                    <a:pt x="6415334" y="7868851"/>
                    <a:pt x="6419345" y="7864840"/>
                    <a:pt x="6424294" y="7864840"/>
                  </a:cubicBezTo>
                  <a:close/>
                  <a:moveTo>
                    <a:pt x="6255553" y="7864840"/>
                  </a:moveTo>
                  <a:cubicBezTo>
                    <a:pt x="6260502" y="7864840"/>
                    <a:pt x="6264514" y="7868851"/>
                    <a:pt x="6264514" y="7873800"/>
                  </a:cubicBezTo>
                  <a:cubicBezTo>
                    <a:pt x="6264514" y="7878749"/>
                    <a:pt x="6260502" y="7882761"/>
                    <a:pt x="6255553" y="7882761"/>
                  </a:cubicBezTo>
                  <a:cubicBezTo>
                    <a:pt x="6250604" y="7882761"/>
                    <a:pt x="6246593" y="7878749"/>
                    <a:pt x="6246593" y="7873800"/>
                  </a:cubicBezTo>
                  <a:cubicBezTo>
                    <a:pt x="6246593" y="7868851"/>
                    <a:pt x="6250604" y="7864840"/>
                    <a:pt x="6255553" y="7864840"/>
                  </a:cubicBezTo>
                  <a:close/>
                  <a:moveTo>
                    <a:pt x="6086811" y="7864840"/>
                  </a:moveTo>
                  <a:cubicBezTo>
                    <a:pt x="6091760" y="7864840"/>
                    <a:pt x="6095772" y="7868851"/>
                    <a:pt x="6095772" y="7873800"/>
                  </a:cubicBezTo>
                  <a:cubicBezTo>
                    <a:pt x="6095772" y="7878749"/>
                    <a:pt x="6091760" y="7882761"/>
                    <a:pt x="6086811" y="7882761"/>
                  </a:cubicBezTo>
                  <a:cubicBezTo>
                    <a:pt x="6081862" y="7882761"/>
                    <a:pt x="6077851" y="7878749"/>
                    <a:pt x="6077851" y="7873800"/>
                  </a:cubicBezTo>
                  <a:cubicBezTo>
                    <a:pt x="6077851" y="7868851"/>
                    <a:pt x="6081862" y="7864840"/>
                    <a:pt x="6086811" y="7864840"/>
                  </a:cubicBezTo>
                  <a:close/>
                  <a:moveTo>
                    <a:pt x="5918069" y="7864840"/>
                  </a:moveTo>
                  <a:cubicBezTo>
                    <a:pt x="5923018" y="7864840"/>
                    <a:pt x="5927030" y="7868851"/>
                    <a:pt x="5927030" y="7873800"/>
                  </a:cubicBezTo>
                  <a:cubicBezTo>
                    <a:pt x="5927030" y="7878749"/>
                    <a:pt x="5923018" y="7882761"/>
                    <a:pt x="5918069" y="7882761"/>
                  </a:cubicBezTo>
                  <a:cubicBezTo>
                    <a:pt x="5913120" y="7882761"/>
                    <a:pt x="5909109" y="7878749"/>
                    <a:pt x="5909109" y="7873800"/>
                  </a:cubicBezTo>
                  <a:cubicBezTo>
                    <a:pt x="5909109" y="7868851"/>
                    <a:pt x="5913120" y="7864840"/>
                    <a:pt x="5918069" y="7864840"/>
                  </a:cubicBezTo>
                  <a:close/>
                  <a:moveTo>
                    <a:pt x="5749328" y="7864840"/>
                  </a:moveTo>
                  <a:cubicBezTo>
                    <a:pt x="5754277" y="7864840"/>
                    <a:pt x="5758289" y="7868851"/>
                    <a:pt x="5758289" y="7873800"/>
                  </a:cubicBezTo>
                  <a:cubicBezTo>
                    <a:pt x="5758289" y="7878749"/>
                    <a:pt x="5754277" y="7882761"/>
                    <a:pt x="5749328" y="7882761"/>
                  </a:cubicBezTo>
                  <a:cubicBezTo>
                    <a:pt x="5744379" y="7882761"/>
                    <a:pt x="5740368" y="7878749"/>
                    <a:pt x="5740368" y="7873800"/>
                  </a:cubicBezTo>
                  <a:cubicBezTo>
                    <a:pt x="5740368" y="7868851"/>
                    <a:pt x="5744379" y="7864840"/>
                    <a:pt x="5749328" y="7864840"/>
                  </a:cubicBezTo>
                  <a:close/>
                  <a:moveTo>
                    <a:pt x="5580586" y="7864840"/>
                  </a:moveTo>
                  <a:cubicBezTo>
                    <a:pt x="5585535" y="7864840"/>
                    <a:pt x="5589547" y="7868851"/>
                    <a:pt x="5589547" y="7873800"/>
                  </a:cubicBezTo>
                  <a:cubicBezTo>
                    <a:pt x="5589547" y="7878749"/>
                    <a:pt x="5585535" y="7882761"/>
                    <a:pt x="5580586" y="7882761"/>
                  </a:cubicBezTo>
                  <a:cubicBezTo>
                    <a:pt x="5575637" y="7882761"/>
                    <a:pt x="5571626" y="7878749"/>
                    <a:pt x="5571626" y="7873800"/>
                  </a:cubicBezTo>
                  <a:cubicBezTo>
                    <a:pt x="5571626" y="7868851"/>
                    <a:pt x="5575637" y="7864840"/>
                    <a:pt x="5580586" y="7864840"/>
                  </a:cubicBezTo>
                  <a:close/>
                  <a:moveTo>
                    <a:pt x="5411845" y="7864840"/>
                  </a:moveTo>
                  <a:cubicBezTo>
                    <a:pt x="5416794" y="7864840"/>
                    <a:pt x="5420806" y="7868851"/>
                    <a:pt x="5420806" y="7873800"/>
                  </a:cubicBezTo>
                  <a:cubicBezTo>
                    <a:pt x="5420806" y="7878749"/>
                    <a:pt x="5416794" y="7882761"/>
                    <a:pt x="5411845" y="7882761"/>
                  </a:cubicBezTo>
                  <a:cubicBezTo>
                    <a:pt x="5406896" y="7882761"/>
                    <a:pt x="5402885" y="7878749"/>
                    <a:pt x="5402885" y="7873800"/>
                  </a:cubicBezTo>
                  <a:cubicBezTo>
                    <a:pt x="5402885" y="7868851"/>
                    <a:pt x="5406896" y="7864840"/>
                    <a:pt x="5411845" y="7864840"/>
                  </a:cubicBezTo>
                  <a:close/>
                  <a:moveTo>
                    <a:pt x="5243103" y="7864840"/>
                  </a:moveTo>
                  <a:cubicBezTo>
                    <a:pt x="5248052" y="7864840"/>
                    <a:pt x="5252064" y="7868851"/>
                    <a:pt x="5252064" y="7873800"/>
                  </a:cubicBezTo>
                  <a:cubicBezTo>
                    <a:pt x="5252064" y="7878749"/>
                    <a:pt x="5248052" y="7882761"/>
                    <a:pt x="5243103" y="7882761"/>
                  </a:cubicBezTo>
                  <a:cubicBezTo>
                    <a:pt x="5238154" y="7882761"/>
                    <a:pt x="5234143" y="7878749"/>
                    <a:pt x="5234143" y="7873800"/>
                  </a:cubicBezTo>
                  <a:cubicBezTo>
                    <a:pt x="5234143" y="7868851"/>
                    <a:pt x="5238154" y="7864840"/>
                    <a:pt x="5243103" y="7864840"/>
                  </a:cubicBezTo>
                  <a:close/>
                  <a:moveTo>
                    <a:pt x="5074362" y="7864840"/>
                  </a:moveTo>
                  <a:cubicBezTo>
                    <a:pt x="5079311" y="7864840"/>
                    <a:pt x="5083323" y="7868851"/>
                    <a:pt x="5083323" y="7873800"/>
                  </a:cubicBezTo>
                  <a:cubicBezTo>
                    <a:pt x="5083323" y="7878749"/>
                    <a:pt x="5079311" y="7882761"/>
                    <a:pt x="5074362" y="7882761"/>
                  </a:cubicBezTo>
                  <a:cubicBezTo>
                    <a:pt x="5069413" y="7882761"/>
                    <a:pt x="5065402" y="7878749"/>
                    <a:pt x="5065402" y="7873800"/>
                  </a:cubicBezTo>
                  <a:cubicBezTo>
                    <a:pt x="5065402" y="7868851"/>
                    <a:pt x="5069413" y="7864840"/>
                    <a:pt x="5074362" y="7864840"/>
                  </a:cubicBezTo>
                  <a:close/>
                  <a:moveTo>
                    <a:pt x="4905620" y="7864840"/>
                  </a:moveTo>
                  <a:cubicBezTo>
                    <a:pt x="4910569" y="7864840"/>
                    <a:pt x="4914581" y="7868851"/>
                    <a:pt x="4914581" y="7873800"/>
                  </a:cubicBezTo>
                  <a:cubicBezTo>
                    <a:pt x="4914581" y="7878749"/>
                    <a:pt x="4910569" y="7882761"/>
                    <a:pt x="4905620" y="7882761"/>
                  </a:cubicBezTo>
                  <a:cubicBezTo>
                    <a:pt x="4900671" y="7882761"/>
                    <a:pt x="4896660" y="7878749"/>
                    <a:pt x="4896660" y="7873800"/>
                  </a:cubicBezTo>
                  <a:cubicBezTo>
                    <a:pt x="4896660" y="7868851"/>
                    <a:pt x="4900671" y="7864840"/>
                    <a:pt x="4905620" y="7864840"/>
                  </a:cubicBezTo>
                  <a:close/>
                  <a:moveTo>
                    <a:pt x="4736878" y="7864840"/>
                  </a:moveTo>
                  <a:cubicBezTo>
                    <a:pt x="4741827" y="7864840"/>
                    <a:pt x="4745839" y="7868851"/>
                    <a:pt x="4745839" y="7873800"/>
                  </a:cubicBezTo>
                  <a:cubicBezTo>
                    <a:pt x="4745839" y="7878749"/>
                    <a:pt x="4741827" y="7882761"/>
                    <a:pt x="4736878" y="7882761"/>
                  </a:cubicBezTo>
                  <a:cubicBezTo>
                    <a:pt x="4731929" y="7882761"/>
                    <a:pt x="4727918" y="7878749"/>
                    <a:pt x="4727918" y="7873800"/>
                  </a:cubicBezTo>
                  <a:cubicBezTo>
                    <a:pt x="4727918" y="7868851"/>
                    <a:pt x="4731929" y="7864840"/>
                    <a:pt x="4736878" y="7864840"/>
                  </a:cubicBezTo>
                  <a:close/>
                  <a:moveTo>
                    <a:pt x="4568137" y="7864840"/>
                  </a:moveTo>
                  <a:cubicBezTo>
                    <a:pt x="4573086" y="7864840"/>
                    <a:pt x="4577098" y="7868851"/>
                    <a:pt x="4577098" y="7873800"/>
                  </a:cubicBezTo>
                  <a:cubicBezTo>
                    <a:pt x="4577098" y="7878749"/>
                    <a:pt x="4573086" y="7882761"/>
                    <a:pt x="4568137" y="7882761"/>
                  </a:cubicBezTo>
                  <a:cubicBezTo>
                    <a:pt x="4563188" y="7882761"/>
                    <a:pt x="4559177" y="7878749"/>
                    <a:pt x="4559177" y="7873800"/>
                  </a:cubicBezTo>
                  <a:cubicBezTo>
                    <a:pt x="4559177" y="7868851"/>
                    <a:pt x="4563188" y="7864840"/>
                    <a:pt x="4568137" y="7864840"/>
                  </a:cubicBezTo>
                  <a:close/>
                  <a:moveTo>
                    <a:pt x="4399396" y="7864840"/>
                  </a:moveTo>
                  <a:cubicBezTo>
                    <a:pt x="4404345" y="7864840"/>
                    <a:pt x="4408357" y="7868851"/>
                    <a:pt x="4408357" y="7873800"/>
                  </a:cubicBezTo>
                  <a:cubicBezTo>
                    <a:pt x="4408357" y="7878749"/>
                    <a:pt x="4404345" y="7882761"/>
                    <a:pt x="4399396" y="7882761"/>
                  </a:cubicBezTo>
                  <a:cubicBezTo>
                    <a:pt x="4394447" y="7882761"/>
                    <a:pt x="4390436" y="7878749"/>
                    <a:pt x="4390436" y="7873800"/>
                  </a:cubicBezTo>
                  <a:cubicBezTo>
                    <a:pt x="4390436" y="7868851"/>
                    <a:pt x="4394447" y="7864840"/>
                    <a:pt x="4399396" y="7864840"/>
                  </a:cubicBezTo>
                  <a:close/>
                  <a:moveTo>
                    <a:pt x="4230654" y="7864840"/>
                  </a:moveTo>
                  <a:cubicBezTo>
                    <a:pt x="4235603" y="7864840"/>
                    <a:pt x="4239615" y="7868851"/>
                    <a:pt x="4239615" y="7873800"/>
                  </a:cubicBezTo>
                  <a:cubicBezTo>
                    <a:pt x="4239615" y="7878749"/>
                    <a:pt x="4235603" y="7882761"/>
                    <a:pt x="4230654" y="7882761"/>
                  </a:cubicBezTo>
                  <a:cubicBezTo>
                    <a:pt x="4225705" y="7882761"/>
                    <a:pt x="4221694" y="7878749"/>
                    <a:pt x="4221694" y="7873800"/>
                  </a:cubicBezTo>
                  <a:cubicBezTo>
                    <a:pt x="4221694" y="7868851"/>
                    <a:pt x="4225705" y="7864840"/>
                    <a:pt x="4230654" y="7864840"/>
                  </a:cubicBezTo>
                  <a:close/>
                  <a:moveTo>
                    <a:pt x="4061912" y="7864840"/>
                  </a:moveTo>
                  <a:cubicBezTo>
                    <a:pt x="4066861" y="7864840"/>
                    <a:pt x="4070873" y="7868851"/>
                    <a:pt x="4070873" y="7873800"/>
                  </a:cubicBezTo>
                  <a:cubicBezTo>
                    <a:pt x="4070873" y="7878749"/>
                    <a:pt x="4066861" y="7882761"/>
                    <a:pt x="4061912" y="7882761"/>
                  </a:cubicBezTo>
                  <a:cubicBezTo>
                    <a:pt x="4056963" y="7882761"/>
                    <a:pt x="4052952" y="7878749"/>
                    <a:pt x="4052952" y="7873800"/>
                  </a:cubicBezTo>
                  <a:cubicBezTo>
                    <a:pt x="4052952" y="7868851"/>
                    <a:pt x="4056963" y="7864840"/>
                    <a:pt x="4061912" y="7864840"/>
                  </a:cubicBezTo>
                  <a:close/>
                  <a:moveTo>
                    <a:pt x="3893170" y="7864840"/>
                  </a:moveTo>
                  <a:cubicBezTo>
                    <a:pt x="3898119" y="7864840"/>
                    <a:pt x="3902131" y="7868851"/>
                    <a:pt x="3902131" y="7873800"/>
                  </a:cubicBezTo>
                  <a:cubicBezTo>
                    <a:pt x="3902131" y="7878749"/>
                    <a:pt x="3898119" y="7882761"/>
                    <a:pt x="3893170" y="7882761"/>
                  </a:cubicBezTo>
                  <a:cubicBezTo>
                    <a:pt x="3888221" y="7882761"/>
                    <a:pt x="3884210" y="7878749"/>
                    <a:pt x="3884210" y="7873800"/>
                  </a:cubicBezTo>
                  <a:cubicBezTo>
                    <a:pt x="3884210" y="7868851"/>
                    <a:pt x="3888221" y="7864840"/>
                    <a:pt x="3893170" y="7864840"/>
                  </a:cubicBezTo>
                  <a:close/>
                  <a:moveTo>
                    <a:pt x="3724429" y="7864840"/>
                  </a:moveTo>
                  <a:cubicBezTo>
                    <a:pt x="3729378" y="7864840"/>
                    <a:pt x="3733390" y="7868851"/>
                    <a:pt x="3733390" y="7873800"/>
                  </a:cubicBezTo>
                  <a:cubicBezTo>
                    <a:pt x="3733390" y="7878749"/>
                    <a:pt x="3729378" y="7882761"/>
                    <a:pt x="3724429" y="7882761"/>
                  </a:cubicBezTo>
                  <a:cubicBezTo>
                    <a:pt x="3719481" y="7882761"/>
                    <a:pt x="3715469" y="7878749"/>
                    <a:pt x="3715469" y="7873800"/>
                  </a:cubicBezTo>
                  <a:cubicBezTo>
                    <a:pt x="3715469" y="7868851"/>
                    <a:pt x="3719481" y="7864840"/>
                    <a:pt x="3724429" y="7864840"/>
                  </a:cubicBezTo>
                  <a:close/>
                  <a:moveTo>
                    <a:pt x="3555688" y="7864840"/>
                  </a:moveTo>
                  <a:cubicBezTo>
                    <a:pt x="3560637" y="7864840"/>
                    <a:pt x="3564649" y="7868851"/>
                    <a:pt x="3564649" y="7873800"/>
                  </a:cubicBezTo>
                  <a:cubicBezTo>
                    <a:pt x="3564649" y="7878749"/>
                    <a:pt x="3560637" y="7882761"/>
                    <a:pt x="3555688" y="7882761"/>
                  </a:cubicBezTo>
                  <a:cubicBezTo>
                    <a:pt x="3550740" y="7882761"/>
                    <a:pt x="3546728" y="7878749"/>
                    <a:pt x="3546728" y="7873800"/>
                  </a:cubicBezTo>
                  <a:cubicBezTo>
                    <a:pt x="3546728" y="7868851"/>
                    <a:pt x="3550740" y="7864840"/>
                    <a:pt x="3555688" y="7864840"/>
                  </a:cubicBezTo>
                  <a:close/>
                  <a:moveTo>
                    <a:pt x="3386972" y="7864840"/>
                  </a:moveTo>
                  <a:cubicBezTo>
                    <a:pt x="3391920" y="7864840"/>
                    <a:pt x="3395933" y="7868851"/>
                    <a:pt x="3395933" y="7873800"/>
                  </a:cubicBezTo>
                  <a:cubicBezTo>
                    <a:pt x="3395933" y="7878749"/>
                    <a:pt x="3391920" y="7882761"/>
                    <a:pt x="3386972" y="7882761"/>
                  </a:cubicBezTo>
                  <a:cubicBezTo>
                    <a:pt x="3382011" y="7882761"/>
                    <a:pt x="3377999" y="7878749"/>
                    <a:pt x="3377999" y="7873800"/>
                  </a:cubicBezTo>
                  <a:cubicBezTo>
                    <a:pt x="3377999" y="7868851"/>
                    <a:pt x="3382011" y="7864840"/>
                    <a:pt x="3386972" y="7864840"/>
                  </a:cubicBezTo>
                  <a:close/>
                  <a:moveTo>
                    <a:pt x="3218223" y="7864840"/>
                  </a:moveTo>
                  <a:cubicBezTo>
                    <a:pt x="3223176" y="7864840"/>
                    <a:pt x="3227189" y="7868851"/>
                    <a:pt x="3227189" y="7873800"/>
                  </a:cubicBezTo>
                  <a:cubicBezTo>
                    <a:pt x="3227189" y="7878749"/>
                    <a:pt x="3223176" y="7882761"/>
                    <a:pt x="3218223" y="7882761"/>
                  </a:cubicBezTo>
                  <a:cubicBezTo>
                    <a:pt x="3213272" y="7882761"/>
                    <a:pt x="3209265" y="7878749"/>
                    <a:pt x="3209265" y="7873800"/>
                  </a:cubicBezTo>
                  <a:cubicBezTo>
                    <a:pt x="3209265" y="7868851"/>
                    <a:pt x="3213272" y="7864840"/>
                    <a:pt x="3218223" y="7864840"/>
                  </a:cubicBezTo>
                  <a:close/>
                  <a:moveTo>
                    <a:pt x="3049502" y="7864840"/>
                  </a:moveTo>
                  <a:cubicBezTo>
                    <a:pt x="3054438" y="7864840"/>
                    <a:pt x="3058451" y="7868851"/>
                    <a:pt x="3058451" y="7873800"/>
                  </a:cubicBezTo>
                  <a:cubicBezTo>
                    <a:pt x="3058451" y="7878749"/>
                    <a:pt x="3054438" y="7882761"/>
                    <a:pt x="3049502" y="7882761"/>
                  </a:cubicBezTo>
                  <a:cubicBezTo>
                    <a:pt x="3044541" y="7882761"/>
                    <a:pt x="3040529" y="7878749"/>
                    <a:pt x="3040529" y="7873800"/>
                  </a:cubicBezTo>
                  <a:cubicBezTo>
                    <a:pt x="3040529" y="7868851"/>
                    <a:pt x="3044541" y="7864840"/>
                    <a:pt x="3049502" y="7864840"/>
                  </a:cubicBezTo>
                  <a:close/>
                  <a:moveTo>
                    <a:pt x="2880756" y="7864840"/>
                  </a:moveTo>
                  <a:cubicBezTo>
                    <a:pt x="2885702" y="7864840"/>
                    <a:pt x="2889715" y="7868851"/>
                    <a:pt x="2889715" y="7873800"/>
                  </a:cubicBezTo>
                  <a:cubicBezTo>
                    <a:pt x="2889715" y="7878749"/>
                    <a:pt x="2885702" y="7882761"/>
                    <a:pt x="2880756" y="7882761"/>
                  </a:cubicBezTo>
                  <a:cubicBezTo>
                    <a:pt x="2875805" y="7882761"/>
                    <a:pt x="2871795" y="7878749"/>
                    <a:pt x="2871795" y="7873800"/>
                  </a:cubicBezTo>
                  <a:cubicBezTo>
                    <a:pt x="2871795" y="7868851"/>
                    <a:pt x="2875805" y="7864840"/>
                    <a:pt x="2880756" y="7864840"/>
                  </a:cubicBezTo>
                  <a:close/>
                  <a:moveTo>
                    <a:pt x="2712008" y="7864840"/>
                  </a:moveTo>
                  <a:cubicBezTo>
                    <a:pt x="2716962" y="7864840"/>
                    <a:pt x="2720979" y="7868851"/>
                    <a:pt x="2720979" y="7873800"/>
                  </a:cubicBezTo>
                  <a:cubicBezTo>
                    <a:pt x="2720979" y="7878749"/>
                    <a:pt x="2716962" y="7882761"/>
                    <a:pt x="2712008" y="7882761"/>
                  </a:cubicBezTo>
                  <a:cubicBezTo>
                    <a:pt x="2707063" y="7882761"/>
                    <a:pt x="2703053" y="7878749"/>
                    <a:pt x="2703053" y="7873800"/>
                  </a:cubicBezTo>
                  <a:cubicBezTo>
                    <a:pt x="2703053" y="7868851"/>
                    <a:pt x="2707063" y="7864840"/>
                    <a:pt x="2712008" y="7864840"/>
                  </a:cubicBezTo>
                  <a:close/>
                  <a:moveTo>
                    <a:pt x="2543276" y="7864840"/>
                  </a:moveTo>
                  <a:cubicBezTo>
                    <a:pt x="2548231" y="7864840"/>
                    <a:pt x="2552240" y="7868851"/>
                    <a:pt x="2552240" y="7873800"/>
                  </a:cubicBezTo>
                  <a:cubicBezTo>
                    <a:pt x="2552240" y="7878749"/>
                    <a:pt x="2548231" y="7882761"/>
                    <a:pt x="2543276" y="7882761"/>
                  </a:cubicBezTo>
                  <a:cubicBezTo>
                    <a:pt x="2538328" y="7882761"/>
                    <a:pt x="2534316" y="7878749"/>
                    <a:pt x="2534316" y="7873800"/>
                  </a:cubicBezTo>
                  <a:cubicBezTo>
                    <a:pt x="2534316" y="7868851"/>
                    <a:pt x="2538328" y="7864840"/>
                    <a:pt x="2543276" y="7864840"/>
                  </a:cubicBezTo>
                  <a:close/>
                  <a:moveTo>
                    <a:pt x="2374526" y="7864840"/>
                  </a:moveTo>
                  <a:cubicBezTo>
                    <a:pt x="2379475" y="7864840"/>
                    <a:pt x="2383496" y="7868851"/>
                    <a:pt x="2383496" y="7873800"/>
                  </a:cubicBezTo>
                  <a:cubicBezTo>
                    <a:pt x="2383496" y="7878749"/>
                    <a:pt x="2379475" y="7882761"/>
                    <a:pt x="2374526" y="7882761"/>
                  </a:cubicBezTo>
                  <a:cubicBezTo>
                    <a:pt x="2369576" y="7882761"/>
                    <a:pt x="2365563" y="7878749"/>
                    <a:pt x="2365563" y="7873800"/>
                  </a:cubicBezTo>
                  <a:cubicBezTo>
                    <a:pt x="2365563" y="7868851"/>
                    <a:pt x="2369576" y="7864840"/>
                    <a:pt x="2374526" y="7864840"/>
                  </a:cubicBezTo>
                  <a:close/>
                  <a:moveTo>
                    <a:pt x="2205792" y="7864840"/>
                  </a:moveTo>
                  <a:cubicBezTo>
                    <a:pt x="2210741" y="7864840"/>
                    <a:pt x="2214753" y="7868851"/>
                    <a:pt x="2214753" y="7873800"/>
                  </a:cubicBezTo>
                  <a:cubicBezTo>
                    <a:pt x="2214753" y="7878749"/>
                    <a:pt x="2210741" y="7882761"/>
                    <a:pt x="2205792" y="7882761"/>
                  </a:cubicBezTo>
                  <a:cubicBezTo>
                    <a:pt x="2200841" y="7882761"/>
                    <a:pt x="2196833" y="7878749"/>
                    <a:pt x="2196833" y="7873800"/>
                  </a:cubicBezTo>
                  <a:cubicBezTo>
                    <a:pt x="2196833" y="7868851"/>
                    <a:pt x="2200841" y="7864840"/>
                    <a:pt x="2205792" y="7864840"/>
                  </a:cubicBezTo>
                  <a:close/>
                  <a:moveTo>
                    <a:pt x="2037055" y="7864840"/>
                  </a:moveTo>
                  <a:cubicBezTo>
                    <a:pt x="2042001" y="7864840"/>
                    <a:pt x="2046007" y="7868851"/>
                    <a:pt x="2046007" y="7873800"/>
                  </a:cubicBezTo>
                  <a:cubicBezTo>
                    <a:pt x="2046007" y="7878749"/>
                    <a:pt x="2042001" y="7882761"/>
                    <a:pt x="2037055" y="7882761"/>
                  </a:cubicBezTo>
                  <a:cubicBezTo>
                    <a:pt x="2032105" y="7882761"/>
                    <a:pt x="2028094" y="7878749"/>
                    <a:pt x="2028094" y="7873800"/>
                  </a:cubicBezTo>
                  <a:cubicBezTo>
                    <a:pt x="2028094" y="7868851"/>
                    <a:pt x="2032105" y="7864840"/>
                    <a:pt x="2037055" y="7864840"/>
                  </a:cubicBezTo>
                  <a:close/>
                  <a:moveTo>
                    <a:pt x="1868317" y="7864840"/>
                  </a:moveTo>
                  <a:cubicBezTo>
                    <a:pt x="1873262" y="7864840"/>
                    <a:pt x="1877274" y="7868851"/>
                    <a:pt x="1877274" y="7873800"/>
                  </a:cubicBezTo>
                  <a:cubicBezTo>
                    <a:pt x="1877274" y="7878749"/>
                    <a:pt x="1873262" y="7882761"/>
                    <a:pt x="1868317" y="7882761"/>
                  </a:cubicBezTo>
                  <a:cubicBezTo>
                    <a:pt x="1863367" y="7882761"/>
                    <a:pt x="1859353" y="7878749"/>
                    <a:pt x="1859353" y="7873800"/>
                  </a:cubicBezTo>
                  <a:cubicBezTo>
                    <a:pt x="1859353" y="7868851"/>
                    <a:pt x="1863367" y="7864840"/>
                    <a:pt x="1868317" y="7864840"/>
                  </a:cubicBezTo>
                  <a:close/>
                  <a:moveTo>
                    <a:pt x="1699574" y="7864840"/>
                  </a:moveTo>
                  <a:cubicBezTo>
                    <a:pt x="1704523" y="7864840"/>
                    <a:pt x="1708535" y="7868851"/>
                    <a:pt x="1708535" y="7873800"/>
                  </a:cubicBezTo>
                  <a:cubicBezTo>
                    <a:pt x="1708535" y="7878749"/>
                    <a:pt x="1704523" y="7882761"/>
                    <a:pt x="1699574" y="7882761"/>
                  </a:cubicBezTo>
                  <a:cubicBezTo>
                    <a:pt x="1694622" y="7882761"/>
                    <a:pt x="1690611" y="7878749"/>
                    <a:pt x="1690611" y="7873800"/>
                  </a:cubicBezTo>
                  <a:cubicBezTo>
                    <a:pt x="1690611" y="7868851"/>
                    <a:pt x="1694622" y="7864840"/>
                    <a:pt x="1699574" y="7864840"/>
                  </a:cubicBezTo>
                  <a:close/>
                  <a:moveTo>
                    <a:pt x="1530831" y="7864840"/>
                  </a:moveTo>
                  <a:cubicBezTo>
                    <a:pt x="1535780" y="7864840"/>
                    <a:pt x="1539792" y="7868851"/>
                    <a:pt x="1539792" y="7873800"/>
                  </a:cubicBezTo>
                  <a:cubicBezTo>
                    <a:pt x="1539792" y="7878749"/>
                    <a:pt x="1535780" y="7882761"/>
                    <a:pt x="1530831" y="7882761"/>
                  </a:cubicBezTo>
                  <a:cubicBezTo>
                    <a:pt x="1525882" y="7882761"/>
                    <a:pt x="1521870" y="7878749"/>
                    <a:pt x="1521870" y="7873800"/>
                  </a:cubicBezTo>
                  <a:cubicBezTo>
                    <a:pt x="1521870" y="7868851"/>
                    <a:pt x="1525882" y="7864840"/>
                    <a:pt x="1530831" y="7864840"/>
                  </a:cubicBezTo>
                  <a:close/>
                  <a:moveTo>
                    <a:pt x="1362087" y="7864840"/>
                  </a:moveTo>
                  <a:cubicBezTo>
                    <a:pt x="1367037" y="7864840"/>
                    <a:pt x="1371047" y="7868851"/>
                    <a:pt x="1371047" y="7873800"/>
                  </a:cubicBezTo>
                  <a:cubicBezTo>
                    <a:pt x="1371047" y="7878749"/>
                    <a:pt x="1367037" y="7882761"/>
                    <a:pt x="1362087" y="7882761"/>
                  </a:cubicBezTo>
                  <a:cubicBezTo>
                    <a:pt x="1357138" y="7882761"/>
                    <a:pt x="1353126" y="7878749"/>
                    <a:pt x="1353126" y="7873800"/>
                  </a:cubicBezTo>
                  <a:cubicBezTo>
                    <a:pt x="1353126" y="7868851"/>
                    <a:pt x="1357138" y="7864840"/>
                    <a:pt x="1362087" y="7864840"/>
                  </a:cubicBezTo>
                  <a:close/>
                  <a:moveTo>
                    <a:pt x="1193346" y="7864840"/>
                  </a:moveTo>
                  <a:cubicBezTo>
                    <a:pt x="1198294" y="7864840"/>
                    <a:pt x="1202306" y="7868851"/>
                    <a:pt x="1202306" y="7873800"/>
                  </a:cubicBezTo>
                  <a:cubicBezTo>
                    <a:pt x="1202306" y="7878749"/>
                    <a:pt x="1198294" y="7882761"/>
                    <a:pt x="1193346" y="7882761"/>
                  </a:cubicBezTo>
                  <a:cubicBezTo>
                    <a:pt x="1188397" y="7882761"/>
                    <a:pt x="1184387" y="7878749"/>
                    <a:pt x="1184387" y="7873800"/>
                  </a:cubicBezTo>
                  <a:cubicBezTo>
                    <a:pt x="1184387" y="7868851"/>
                    <a:pt x="1188397" y="7864840"/>
                    <a:pt x="1193346" y="7864840"/>
                  </a:cubicBezTo>
                  <a:close/>
                  <a:moveTo>
                    <a:pt x="1024601" y="7864840"/>
                  </a:moveTo>
                  <a:cubicBezTo>
                    <a:pt x="1029551" y="7864840"/>
                    <a:pt x="1033564" y="7868851"/>
                    <a:pt x="1033564" y="7873800"/>
                  </a:cubicBezTo>
                  <a:cubicBezTo>
                    <a:pt x="1033564" y="7878749"/>
                    <a:pt x="1029551" y="7882761"/>
                    <a:pt x="1024601" y="7882761"/>
                  </a:cubicBezTo>
                  <a:cubicBezTo>
                    <a:pt x="1019654" y="7882761"/>
                    <a:pt x="1015642" y="7878749"/>
                    <a:pt x="1015642" y="7873800"/>
                  </a:cubicBezTo>
                  <a:cubicBezTo>
                    <a:pt x="1015642" y="7868851"/>
                    <a:pt x="1019654" y="7864840"/>
                    <a:pt x="1024601" y="7864840"/>
                  </a:cubicBezTo>
                  <a:close/>
                  <a:moveTo>
                    <a:pt x="855864" y="7864840"/>
                  </a:moveTo>
                  <a:cubicBezTo>
                    <a:pt x="860812" y="7864840"/>
                    <a:pt x="864824" y="7868851"/>
                    <a:pt x="864824" y="7873800"/>
                  </a:cubicBezTo>
                  <a:cubicBezTo>
                    <a:pt x="864824" y="7878749"/>
                    <a:pt x="860812" y="7882761"/>
                    <a:pt x="855864" y="7882761"/>
                  </a:cubicBezTo>
                  <a:cubicBezTo>
                    <a:pt x="850915" y="7882761"/>
                    <a:pt x="846903" y="7878749"/>
                    <a:pt x="846903" y="7873800"/>
                  </a:cubicBezTo>
                  <a:cubicBezTo>
                    <a:pt x="846903" y="7868851"/>
                    <a:pt x="850915" y="7864840"/>
                    <a:pt x="855864" y="7864840"/>
                  </a:cubicBezTo>
                  <a:close/>
                  <a:moveTo>
                    <a:pt x="687122" y="7864840"/>
                  </a:moveTo>
                  <a:cubicBezTo>
                    <a:pt x="692071" y="7864840"/>
                    <a:pt x="696083" y="7868851"/>
                    <a:pt x="696083" y="7873800"/>
                  </a:cubicBezTo>
                  <a:cubicBezTo>
                    <a:pt x="696083" y="7878749"/>
                    <a:pt x="692071" y="7882761"/>
                    <a:pt x="687122" y="7882761"/>
                  </a:cubicBezTo>
                  <a:cubicBezTo>
                    <a:pt x="682174" y="7882761"/>
                    <a:pt x="678162" y="7878749"/>
                    <a:pt x="678162" y="7873800"/>
                  </a:cubicBezTo>
                  <a:cubicBezTo>
                    <a:pt x="678162" y="7868851"/>
                    <a:pt x="682174" y="7864840"/>
                    <a:pt x="687122" y="7864840"/>
                  </a:cubicBezTo>
                  <a:close/>
                  <a:moveTo>
                    <a:pt x="518374" y="7864840"/>
                  </a:moveTo>
                  <a:cubicBezTo>
                    <a:pt x="523322" y="7864840"/>
                    <a:pt x="527334" y="7868851"/>
                    <a:pt x="527334" y="7873800"/>
                  </a:cubicBezTo>
                  <a:cubicBezTo>
                    <a:pt x="527334" y="7878749"/>
                    <a:pt x="523322" y="7882761"/>
                    <a:pt x="518374" y="7882761"/>
                  </a:cubicBezTo>
                  <a:cubicBezTo>
                    <a:pt x="513425" y="7882761"/>
                    <a:pt x="509413" y="7878749"/>
                    <a:pt x="509413" y="7873800"/>
                  </a:cubicBezTo>
                  <a:cubicBezTo>
                    <a:pt x="509413" y="7868851"/>
                    <a:pt x="513425" y="7864840"/>
                    <a:pt x="518374" y="7864840"/>
                  </a:cubicBezTo>
                  <a:close/>
                  <a:moveTo>
                    <a:pt x="349634" y="7864840"/>
                  </a:moveTo>
                  <a:cubicBezTo>
                    <a:pt x="354582" y="7864840"/>
                    <a:pt x="358594" y="7868851"/>
                    <a:pt x="358594" y="7873800"/>
                  </a:cubicBezTo>
                  <a:cubicBezTo>
                    <a:pt x="358594" y="7878749"/>
                    <a:pt x="354582" y="7882761"/>
                    <a:pt x="349634" y="7882761"/>
                  </a:cubicBezTo>
                  <a:cubicBezTo>
                    <a:pt x="344685" y="7882761"/>
                    <a:pt x="340673" y="7878749"/>
                    <a:pt x="340673" y="7873800"/>
                  </a:cubicBezTo>
                  <a:cubicBezTo>
                    <a:pt x="340673" y="7868851"/>
                    <a:pt x="344685" y="7864840"/>
                    <a:pt x="349634" y="7864840"/>
                  </a:cubicBezTo>
                  <a:close/>
                  <a:moveTo>
                    <a:pt x="179313" y="7864840"/>
                  </a:moveTo>
                  <a:cubicBezTo>
                    <a:pt x="184262" y="7864840"/>
                    <a:pt x="188274" y="7868851"/>
                    <a:pt x="188274" y="7873800"/>
                  </a:cubicBezTo>
                  <a:cubicBezTo>
                    <a:pt x="188274" y="7878749"/>
                    <a:pt x="184262" y="7882761"/>
                    <a:pt x="179313" y="7882761"/>
                  </a:cubicBezTo>
                  <a:cubicBezTo>
                    <a:pt x="174365" y="7882761"/>
                    <a:pt x="170353" y="7878749"/>
                    <a:pt x="170353" y="7873800"/>
                  </a:cubicBezTo>
                  <a:cubicBezTo>
                    <a:pt x="170353" y="7868851"/>
                    <a:pt x="174365" y="7864840"/>
                    <a:pt x="179313" y="7864840"/>
                  </a:cubicBezTo>
                  <a:close/>
                  <a:moveTo>
                    <a:pt x="8993" y="7864840"/>
                  </a:moveTo>
                  <a:cubicBezTo>
                    <a:pt x="13942" y="7864840"/>
                    <a:pt x="17954" y="7868851"/>
                    <a:pt x="17954" y="7873800"/>
                  </a:cubicBezTo>
                  <a:cubicBezTo>
                    <a:pt x="17954" y="7878749"/>
                    <a:pt x="13942" y="7882761"/>
                    <a:pt x="8993" y="7882761"/>
                  </a:cubicBezTo>
                  <a:cubicBezTo>
                    <a:pt x="4045" y="7882761"/>
                    <a:pt x="33" y="7878749"/>
                    <a:pt x="33" y="7873800"/>
                  </a:cubicBezTo>
                  <a:cubicBezTo>
                    <a:pt x="33" y="7868851"/>
                    <a:pt x="4045" y="7864840"/>
                    <a:pt x="8993" y="7864840"/>
                  </a:cubicBezTo>
                  <a:close/>
                  <a:moveTo>
                    <a:pt x="6933679" y="7693859"/>
                  </a:moveTo>
                  <a:cubicBezTo>
                    <a:pt x="6938628" y="7693859"/>
                    <a:pt x="6942639" y="7697870"/>
                    <a:pt x="6942639" y="7702819"/>
                  </a:cubicBezTo>
                  <a:cubicBezTo>
                    <a:pt x="6942639" y="7707768"/>
                    <a:pt x="6938628" y="7711780"/>
                    <a:pt x="6933679" y="7711780"/>
                  </a:cubicBezTo>
                  <a:cubicBezTo>
                    <a:pt x="6928730" y="7711780"/>
                    <a:pt x="6924718" y="7707768"/>
                    <a:pt x="6924718" y="7702819"/>
                  </a:cubicBezTo>
                  <a:cubicBezTo>
                    <a:pt x="6924718" y="7697870"/>
                    <a:pt x="6928730" y="7693859"/>
                    <a:pt x="6933679" y="7693859"/>
                  </a:cubicBezTo>
                  <a:close/>
                  <a:moveTo>
                    <a:pt x="6763357" y="7693859"/>
                  </a:moveTo>
                  <a:cubicBezTo>
                    <a:pt x="6768306" y="7693859"/>
                    <a:pt x="6772318" y="7697870"/>
                    <a:pt x="6772318" y="7702819"/>
                  </a:cubicBezTo>
                  <a:cubicBezTo>
                    <a:pt x="6772318" y="7707768"/>
                    <a:pt x="6768306" y="7711780"/>
                    <a:pt x="6763357" y="7711780"/>
                  </a:cubicBezTo>
                  <a:cubicBezTo>
                    <a:pt x="6758408" y="7711780"/>
                    <a:pt x="6754397" y="7707768"/>
                    <a:pt x="6754397" y="7702819"/>
                  </a:cubicBezTo>
                  <a:cubicBezTo>
                    <a:pt x="6754397" y="7697870"/>
                    <a:pt x="6758408" y="7693859"/>
                    <a:pt x="6763357" y="7693859"/>
                  </a:cubicBezTo>
                  <a:close/>
                  <a:moveTo>
                    <a:pt x="6593035" y="7693859"/>
                  </a:moveTo>
                  <a:cubicBezTo>
                    <a:pt x="6597984" y="7693859"/>
                    <a:pt x="6601996" y="7697870"/>
                    <a:pt x="6601996" y="7702819"/>
                  </a:cubicBezTo>
                  <a:cubicBezTo>
                    <a:pt x="6601996" y="7707768"/>
                    <a:pt x="6597984" y="7711780"/>
                    <a:pt x="6593035" y="7711780"/>
                  </a:cubicBezTo>
                  <a:cubicBezTo>
                    <a:pt x="6588086" y="7711780"/>
                    <a:pt x="6584075" y="7707768"/>
                    <a:pt x="6584075" y="7702819"/>
                  </a:cubicBezTo>
                  <a:cubicBezTo>
                    <a:pt x="6584075" y="7697870"/>
                    <a:pt x="6588086" y="7693859"/>
                    <a:pt x="6593035" y="7693859"/>
                  </a:cubicBezTo>
                  <a:close/>
                  <a:moveTo>
                    <a:pt x="6424294" y="7693859"/>
                  </a:moveTo>
                  <a:cubicBezTo>
                    <a:pt x="6429243" y="7693859"/>
                    <a:pt x="6433255" y="7697870"/>
                    <a:pt x="6433255" y="7702819"/>
                  </a:cubicBezTo>
                  <a:cubicBezTo>
                    <a:pt x="6433255" y="7707768"/>
                    <a:pt x="6429243" y="7711780"/>
                    <a:pt x="6424294" y="7711780"/>
                  </a:cubicBezTo>
                  <a:cubicBezTo>
                    <a:pt x="6419345" y="7711780"/>
                    <a:pt x="6415334" y="7707768"/>
                    <a:pt x="6415334" y="7702819"/>
                  </a:cubicBezTo>
                  <a:cubicBezTo>
                    <a:pt x="6415334" y="7697870"/>
                    <a:pt x="6419345" y="7693859"/>
                    <a:pt x="6424294" y="7693859"/>
                  </a:cubicBezTo>
                  <a:close/>
                  <a:moveTo>
                    <a:pt x="6255553" y="7693859"/>
                  </a:moveTo>
                  <a:cubicBezTo>
                    <a:pt x="6260502" y="7693859"/>
                    <a:pt x="6264514" y="7697870"/>
                    <a:pt x="6264514" y="7702819"/>
                  </a:cubicBezTo>
                  <a:cubicBezTo>
                    <a:pt x="6264514" y="7707768"/>
                    <a:pt x="6260502" y="7711780"/>
                    <a:pt x="6255553" y="7711780"/>
                  </a:cubicBezTo>
                  <a:cubicBezTo>
                    <a:pt x="6250604" y="7711780"/>
                    <a:pt x="6246593" y="7707768"/>
                    <a:pt x="6246593" y="7702819"/>
                  </a:cubicBezTo>
                  <a:cubicBezTo>
                    <a:pt x="6246593" y="7697870"/>
                    <a:pt x="6250604" y="7693859"/>
                    <a:pt x="6255553" y="7693859"/>
                  </a:cubicBezTo>
                  <a:close/>
                  <a:moveTo>
                    <a:pt x="6086811" y="7693859"/>
                  </a:moveTo>
                  <a:cubicBezTo>
                    <a:pt x="6091760" y="7693859"/>
                    <a:pt x="6095772" y="7697870"/>
                    <a:pt x="6095772" y="7702819"/>
                  </a:cubicBezTo>
                  <a:cubicBezTo>
                    <a:pt x="6095772" y="7707768"/>
                    <a:pt x="6091760" y="7711780"/>
                    <a:pt x="6086811" y="7711780"/>
                  </a:cubicBezTo>
                  <a:cubicBezTo>
                    <a:pt x="6081862" y="7711780"/>
                    <a:pt x="6077851" y="7707768"/>
                    <a:pt x="6077851" y="7702819"/>
                  </a:cubicBezTo>
                  <a:cubicBezTo>
                    <a:pt x="6077851" y="7697870"/>
                    <a:pt x="6081862" y="7693859"/>
                    <a:pt x="6086811" y="7693859"/>
                  </a:cubicBezTo>
                  <a:close/>
                  <a:moveTo>
                    <a:pt x="5918069" y="7693859"/>
                  </a:moveTo>
                  <a:cubicBezTo>
                    <a:pt x="5923018" y="7693859"/>
                    <a:pt x="5927030" y="7697870"/>
                    <a:pt x="5927030" y="7702819"/>
                  </a:cubicBezTo>
                  <a:cubicBezTo>
                    <a:pt x="5927030" y="7707768"/>
                    <a:pt x="5923018" y="7711780"/>
                    <a:pt x="5918069" y="7711780"/>
                  </a:cubicBezTo>
                  <a:cubicBezTo>
                    <a:pt x="5913120" y="7711780"/>
                    <a:pt x="5909109" y="7707768"/>
                    <a:pt x="5909109" y="7702819"/>
                  </a:cubicBezTo>
                  <a:cubicBezTo>
                    <a:pt x="5909109" y="7697870"/>
                    <a:pt x="5913120" y="7693859"/>
                    <a:pt x="5918069" y="7693859"/>
                  </a:cubicBezTo>
                  <a:close/>
                  <a:moveTo>
                    <a:pt x="5749328" y="7693859"/>
                  </a:moveTo>
                  <a:cubicBezTo>
                    <a:pt x="5754277" y="7693859"/>
                    <a:pt x="5758289" y="7697870"/>
                    <a:pt x="5758289" y="7702819"/>
                  </a:cubicBezTo>
                  <a:cubicBezTo>
                    <a:pt x="5758289" y="7707768"/>
                    <a:pt x="5754277" y="7711780"/>
                    <a:pt x="5749328" y="7711780"/>
                  </a:cubicBezTo>
                  <a:cubicBezTo>
                    <a:pt x="5744379" y="7711780"/>
                    <a:pt x="5740368" y="7707768"/>
                    <a:pt x="5740368" y="7702819"/>
                  </a:cubicBezTo>
                  <a:cubicBezTo>
                    <a:pt x="5740368" y="7697870"/>
                    <a:pt x="5744379" y="7693859"/>
                    <a:pt x="5749328" y="7693859"/>
                  </a:cubicBezTo>
                  <a:close/>
                  <a:moveTo>
                    <a:pt x="5580586" y="7693859"/>
                  </a:moveTo>
                  <a:cubicBezTo>
                    <a:pt x="5585535" y="7693859"/>
                    <a:pt x="5589547" y="7697870"/>
                    <a:pt x="5589547" y="7702819"/>
                  </a:cubicBezTo>
                  <a:cubicBezTo>
                    <a:pt x="5589547" y="7707768"/>
                    <a:pt x="5585535" y="7711780"/>
                    <a:pt x="5580586" y="7711780"/>
                  </a:cubicBezTo>
                  <a:cubicBezTo>
                    <a:pt x="5575637" y="7711780"/>
                    <a:pt x="5571626" y="7707768"/>
                    <a:pt x="5571626" y="7702819"/>
                  </a:cubicBezTo>
                  <a:cubicBezTo>
                    <a:pt x="5571626" y="7697870"/>
                    <a:pt x="5575637" y="7693859"/>
                    <a:pt x="5580586" y="7693859"/>
                  </a:cubicBezTo>
                  <a:close/>
                  <a:moveTo>
                    <a:pt x="5411845" y="7693859"/>
                  </a:moveTo>
                  <a:cubicBezTo>
                    <a:pt x="5416794" y="7693859"/>
                    <a:pt x="5420806" y="7697870"/>
                    <a:pt x="5420806" y="7702819"/>
                  </a:cubicBezTo>
                  <a:cubicBezTo>
                    <a:pt x="5420806" y="7707768"/>
                    <a:pt x="5416794" y="7711780"/>
                    <a:pt x="5411845" y="7711780"/>
                  </a:cubicBezTo>
                  <a:cubicBezTo>
                    <a:pt x="5406896" y="7711780"/>
                    <a:pt x="5402885" y="7707768"/>
                    <a:pt x="5402885" y="7702819"/>
                  </a:cubicBezTo>
                  <a:cubicBezTo>
                    <a:pt x="5402885" y="7697870"/>
                    <a:pt x="5406896" y="7693859"/>
                    <a:pt x="5411845" y="7693859"/>
                  </a:cubicBezTo>
                  <a:close/>
                  <a:moveTo>
                    <a:pt x="5243103" y="7693859"/>
                  </a:moveTo>
                  <a:cubicBezTo>
                    <a:pt x="5248052" y="7693859"/>
                    <a:pt x="5252064" y="7697870"/>
                    <a:pt x="5252064" y="7702819"/>
                  </a:cubicBezTo>
                  <a:cubicBezTo>
                    <a:pt x="5252064" y="7707768"/>
                    <a:pt x="5248052" y="7711780"/>
                    <a:pt x="5243103" y="7711780"/>
                  </a:cubicBezTo>
                  <a:cubicBezTo>
                    <a:pt x="5238154" y="7711780"/>
                    <a:pt x="5234143" y="7707768"/>
                    <a:pt x="5234143" y="7702819"/>
                  </a:cubicBezTo>
                  <a:cubicBezTo>
                    <a:pt x="5234143" y="7697870"/>
                    <a:pt x="5238154" y="7693859"/>
                    <a:pt x="5243103" y="7693859"/>
                  </a:cubicBezTo>
                  <a:close/>
                  <a:moveTo>
                    <a:pt x="5074362" y="7693859"/>
                  </a:moveTo>
                  <a:cubicBezTo>
                    <a:pt x="5079311" y="7693859"/>
                    <a:pt x="5083323" y="7697870"/>
                    <a:pt x="5083323" y="7702819"/>
                  </a:cubicBezTo>
                  <a:cubicBezTo>
                    <a:pt x="5083323" y="7707768"/>
                    <a:pt x="5079311" y="7711780"/>
                    <a:pt x="5074362" y="7711780"/>
                  </a:cubicBezTo>
                  <a:cubicBezTo>
                    <a:pt x="5069413" y="7711780"/>
                    <a:pt x="5065402" y="7707768"/>
                    <a:pt x="5065402" y="7702819"/>
                  </a:cubicBezTo>
                  <a:cubicBezTo>
                    <a:pt x="5065402" y="7697870"/>
                    <a:pt x="5069413" y="7693859"/>
                    <a:pt x="5074362" y="7693859"/>
                  </a:cubicBezTo>
                  <a:close/>
                  <a:moveTo>
                    <a:pt x="4905620" y="7693859"/>
                  </a:moveTo>
                  <a:cubicBezTo>
                    <a:pt x="4910569" y="7693859"/>
                    <a:pt x="4914581" y="7697870"/>
                    <a:pt x="4914581" y="7702819"/>
                  </a:cubicBezTo>
                  <a:cubicBezTo>
                    <a:pt x="4914581" y="7707768"/>
                    <a:pt x="4910569" y="7711780"/>
                    <a:pt x="4905620" y="7711780"/>
                  </a:cubicBezTo>
                  <a:cubicBezTo>
                    <a:pt x="4900671" y="7711780"/>
                    <a:pt x="4896660" y="7707768"/>
                    <a:pt x="4896660" y="7702819"/>
                  </a:cubicBezTo>
                  <a:cubicBezTo>
                    <a:pt x="4896660" y="7697870"/>
                    <a:pt x="4900671" y="7693859"/>
                    <a:pt x="4905620" y="7693859"/>
                  </a:cubicBezTo>
                  <a:close/>
                  <a:moveTo>
                    <a:pt x="4736878" y="7693859"/>
                  </a:moveTo>
                  <a:cubicBezTo>
                    <a:pt x="4741827" y="7693859"/>
                    <a:pt x="4745839" y="7697870"/>
                    <a:pt x="4745839" y="7702819"/>
                  </a:cubicBezTo>
                  <a:cubicBezTo>
                    <a:pt x="4745839" y="7707768"/>
                    <a:pt x="4741827" y="7711780"/>
                    <a:pt x="4736878" y="7711780"/>
                  </a:cubicBezTo>
                  <a:cubicBezTo>
                    <a:pt x="4731929" y="7711780"/>
                    <a:pt x="4727918" y="7707768"/>
                    <a:pt x="4727918" y="7702819"/>
                  </a:cubicBezTo>
                  <a:cubicBezTo>
                    <a:pt x="4727918" y="7697870"/>
                    <a:pt x="4731929" y="7693859"/>
                    <a:pt x="4736878" y="7693859"/>
                  </a:cubicBezTo>
                  <a:close/>
                  <a:moveTo>
                    <a:pt x="4568137" y="7693859"/>
                  </a:moveTo>
                  <a:cubicBezTo>
                    <a:pt x="4573086" y="7693859"/>
                    <a:pt x="4577098" y="7697870"/>
                    <a:pt x="4577098" y="7702819"/>
                  </a:cubicBezTo>
                  <a:cubicBezTo>
                    <a:pt x="4577098" y="7707768"/>
                    <a:pt x="4573086" y="7711780"/>
                    <a:pt x="4568137" y="7711780"/>
                  </a:cubicBezTo>
                  <a:cubicBezTo>
                    <a:pt x="4563188" y="7711780"/>
                    <a:pt x="4559177" y="7707768"/>
                    <a:pt x="4559177" y="7702819"/>
                  </a:cubicBezTo>
                  <a:cubicBezTo>
                    <a:pt x="4559177" y="7697870"/>
                    <a:pt x="4563188" y="7693859"/>
                    <a:pt x="4568137" y="7693859"/>
                  </a:cubicBezTo>
                  <a:close/>
                  <a:moveTo>
                    <a:pt x="4399396" y="7693859"/>
                  </a:moveTo>
                  <a:cubicBezTo>
                    <a:pt x="4404345" y="7693859"/>
                    <a:pt x="4408357" y="7697870"/>
                    <a:pt x="4408357" y="7702819"/>
                  </a:cubicBezTo>
                  <a:cubicBezTo>
                    <a:pt x="4408357" y="7707768"/>
                    <a:pt x="4404345" y="7711780"/>
                    <a:pt x="4399396" y="7711780"/>
                  </a:cubicBezTo>
                  <a:cubicBezTo>
                    <a:pt x="4394447" y="7711780"/>
                    <a:pt x="4390436" y="7707768"/>
                    <a:pt x="4390436" y="7702819"/>
                  </a:cubicBezTo>
                  <a:cubicBezTo>
                    <a:pt x="4390436" y="7697870"/>
                    <a:pt x="4394447" y="7693859"/>
                    <a:pt x="4399396" y="7693859"/>
                  </a:cubicBezTo>
                  <a:close/>
                  <a:moveTo>
                    <a:pt x="4230654" y="7693859"/>
                  </a:moveTo>
                  <a:cubicBezTo>
                    <a:pt x="4235603" y="7693859"/>
                    <a:pt x="4239615" y="7697870"/>
                    <a:pt x="4239615" y="7702819"/>
                  </a:cubicBezTo>
                  <a:cubicBezTo>
                    <a:pt x="4239615" y="7707768"/>
                    <a:pt x="4235603" y="7711780"/>
                    <a:pt x="4230654" y="7711780"/>
                  </a:cubicBezTo>
                  <a:cubicBezTo>
                    <a:pt x="4225705" y="7711780"/>
                    <a:pt x="4221694" y="7707768"/>
                    <a:pt x="4221694" y="7702819"/>
                  </a:cubicBezTo>
                  <a:cubicBezTo>
                    <a:pt x="4221694" y="7697870"/>
                    <a:pt x="4225705" y="7693859"/>
                    <a:pt x="4230654" y="7693859"/>
                  </a:cubicBezTo>
                  <a:close/>
                  <a:moveTo>
                    <a:pt x="4061912" y="7693859"/>
                  </a:moveTo>
                  <a:cubicBezTo>
                    <a:pt x="4066861" y="7693859"/>
                    <a:pt x="4070873" y="7697870"/>
                    <a:pt x="4070873" y="7702819"/>
                  </a:cubicBezTo>
                  <a:cubicBezTo>
                    <a:pt x="4070873" y="7707768"/>
                    <a:pt x="4066861" y="7711780"/>
                    <a:pt x="4061912" y="7711780"/>
                  </a:cubicBezTo>
                  <a:cubicBezTo>
                    <a:pt x="4056963" y="7711780"/>
                    <a:pt x="4052952" y="7707768"/>
                    <a:pt x="4052952" y="7702819"/>
                  </a:cubicBezTo>
                  <a:cubicBezTo>
                    <a:pt x="4052952" y="7697870"/>
                    <a:pt x="4056963" y="7693859"/>
                    <a:pt x="4061912" y="7693859"/>
                  </a:cubicBezTo>
                  <a:close/>
                  <a:moveTo>
                    <a:pt x="3893170" y="7693859"/>
                  </a:moveTo>
                  <a:cubicBezTo>
                    <a:pt x="3898119" y="7693859"/>
                    <a:pt x="3902131" y="7697870"/>
                    <a:pt x="3902131" y="7702819"/>
                  </a:cubicBezTo>
                  <a:cubicBezTo>
                    <a:pt x="3902131" y="7707768"/>
                    <a:pt x="3898119" y="7711780"/>
                    <a:pt x="3893170" y="7711780"/>
                  </a:cubicBezTo>
                  <a:cubicBezTo>
                    <a:pt x="3888221" y="7711780"/>
                    <a:pt x="3884210" y="7707768"/>
                    <a:pt x="3884210" y="7702819"/>
                  </a:cubicBezTo>
                  <a:cubicBezTo>
                    <a:pt x="3884210" y="7697870"/>
                    <a:pt x="3888221" y="7693859"/>
                    <a:pt x="3893170" y="7693859"/>
                  </a:cubicBezTo>
                  <a:close/>
                  <a:moveTo>
                    <a:pt x="3724429" y="7693859"/>
                  </a:moveTo>
                  <a:cubicBezTo>
                    <a:pt x="3729378" y="7693859"/>
                    <a:pt x="3733390" y="7697870"/>
                    <a:pt x="3733390" y="7702819"/>
                  </a:cubicBezTo>
                  <a:cubicBezTo>
                    <a:pt x="3733390" y="7707768"/>
                    <a:pt x="3729378" y="7711780"/>
                    <a:pt x="3724429" y="7711780"/>
                  </a:cubicBezTo>
                  <a:cubicBezTo>
                    <a:pt x="3719481" y="7711780"/>
                    <a:pt x="3715469" y="7707768"/>
                    <a:pt x="3715469" y="7702819"/>
                  </a:cubicBezTo>
                  <a:cubicBezTo>
                    <a:pt x="3715469" y="7697870"/>
                    <a:pt x="3719481" y="7693859"/>
                    <a:pt x="3724429" y="7693859"/>
                  </a:cubicBezTo>
                  <a:close/>
                  <a:moveTo>
                    <a:pt x="3555688" y="7693859"/>
                  </a:moveTo>
                  <a:cubicBezTo>
                    <a:pt x="3560637" y="7693859"/>
                    <a:pt x="3564649" y="7697870"/>
                    <a:pt x="3564649" y="7702819"/>
                  </a:cubicBezTo>
                  <a:cubicBezTo>
                    <a:pt x="3564649" y="7707768"/>
                    <a:pt x="3560637" y="7711780"/>
                    <a:pt x="3555688" y="7711780"/>
                  </a:cubicBezTo>
                  <a:cubicBezTo>
                    <a:pt x="3550740" y="7711780"/>
                    <a:pt x="3546728" y="7707768"/>
                    <a:pt x="3546728" y="7702819"/>
                  </a:cubicBezTo>
                  <a:cubicBezTo>
                    <a:pt x="3546728" y="7697870"/>
                    <a:pt x="3550740" y="7693859"/>
                    <a:pt x="3555688" y="7693859"/>
                  </a:cubicBezTo>
                  <a:close/>
                  <a:moveTo>
                    <a:pt x="3386975" y="7693859"/>
                  </a:moveTo>
                  <a:cubicBezTo>
                    <a:pt x="3391923" y="7693859"/>
                    <a:pt x="3395936" y="7697870"/>
                    <a:pt x="3395936" y="7702819"/>
                  </a:cubicBezTo>
                  <a:cubicBezTo>
                    <a:pt x="3395936" y="7707768"/>
                    <a:pt x="3391923" y="7711780"/>
                    <a:pt x="3386975" y="7711780"/>
                  </a:cubicBezTo>
                  <a:cubicBezTo>
                    <a:pt x="3382013" y="7711780"/>
                    <a:pt x="3378000" y="7707768"/>
                    <a:pt x="3378000" y="7702819"/>
                  </a:cubicBezTo>
                  <a:cubicBezTo>
                    <a:pt x="3378000" y="7697870"/>
                    <a:pt x="3382013" y="7693859"/>
                    <a:pt x="3386975" y="7693859"/>
                  </a:cubicBezTo>
                  <a:close/>
                  <a:moveTo>
                    <a:pt x="3218224" y="7693859"/>
                  </a:moveTo>
                  <a:cubicBezTo>
                    <a:pt x="3223179" y="7693859"/>
                    <a:pt x="3227192" y="7697870"/>
                    <a:pt x="3227192" y="7702819"/>
                  </a:cubicBezTo>
                  <a:cubicBezTo>
                    <a:pt x="3227192" y="7707768"/>
                    <a:pt x="3223179" y="7711780"/>
                    <a:pt x="3218224" y="7711780"/>
                  </a:cubicBezTo>
                  <a:cubicBezTo>
                    <a:pt x="3213275" y="7711780"/>
                    <a:pt x="3209267" y="7707768"/>
                    <a:pt x="3209267" y="7702819"/>
                  </a:cubicBezTo>
                  <a:cubicBezTo>
                    <a:pt x="3209267" y="7697870"/>
                    <a:pt x="3213275" y="7693859"/>
                    <a:pt x="3218224" y="7693859"/>
                  </a:cubicBezTo>
                  <a:close/>
                  <a:moveTo>
                    <a:pt x="3049506" y="7693859"/>
                  </a:moveTo>
                  <a:cubicBezTo>
                    <a:pt x="3054441" y="7693859"/>
                    <a:pt x="3058454" y="7697870"/>
                    <a:pt x="3058454" y="7702819"/>
                  </a:cubicBezTo>
                  <a:cubicBezTo>
                    <a:pt x="3058454" y="7707768"/>
                    <a:pt x="3054441" y="7711780"/>
                    <a:pt x="3049506" y="7711780"/>
                  </a:cubicBezTo>
                  <a:cubicBezTo>
                    <a:pt x="3044544" y="7711780"/>
                    <a:pt x="3040532" y="7707768"/>
                    <a:pt x="3040532" y="7702819"/>
                  </a:cubicBezTo>
                  <a:cubicBezTo>
                    <a:pt x="3040532" y="7697870"/>
                    <a:pt x="3044544" y="7693859"/>
                    <a:pt x="3049506" y="7693859"/>
                  </a:cubicBezTo>
                  <a:close/>
                  <a:moveTo>
                    <a:pt x="2880760" y="7693859"/>
                  </a:moveTo>
                  <a:cubicBezTo>
                    <a:pt x="2885706" y="7693859"/>
                    <a:pt x="2889719" y="7697870"/>
                    <a:pt x="2889719" y="7702819"/>
                  </a:cubicBezTo>
                  <a:cubicBezTo>
                    <a:pt x="2889719" y="7707768"/>
                    <a:pt x="2885706" y="7711780"/>
                    <a:pt x="2880760" y="7711780"/>
                  </a:cubicBezTo>
                  <a:cubicBezTo>
                    <a:pt x="2875808" y="7711780"/>
                    <a:pt x="2871799" y="7707768"/>
                    <a:pt x="2871799" y="7702819"/>
                  </a:cubicBezTo>
                  <a:cubicBezTo>
                    <a:pt x="2871799" y="7697870"/>
                    <a:pt x="2875808" y="7693859"/>
                    <a:pt x="2880760" y="7693859"/>
                  </a:cubicBezTo>
                  <a:close/>
                  <a:moveTo>
                    <a:pt x="2712011" y="7693859"/>
                  </a:moveTo>
                  <a:cubicBezTo>
                    <a:pt x="2716966" y="7693859"/>
                    <a:pt x="2720984" y="7697870"/>
                    <a:pt x="2720984" y="7702819"/>
                  </a:cubicBezTo>
                  <a:cubicBezTo>
                    <a:pt x="2720984" y="7707768"/>
                    <a:pt x="2716966" y="7711780"/>
                    <a:pt x="2712011" y="7711780"/>
                  </a:cubicBezTo>
                  <a:cubicBezTo>
                    <a:pt x="2707066" y="7711780"/>
                    <a:pt x="2703056" y="7707768"/>
                    <a:pt x="2703056" y="7702819"/>
                  </a:cubicBezTo>
                  <a:cubicBezTo>
                    <a:pt x="2703056" y="7697870"/>
                    <a:pt x="2707066" y="7693859"/>
                    <a:pt x="2712011" y="7693859"/>
                  </a:cubicBezTo>
                  <a:close/>
                  <a:moveTo>
                    <a:pt x="2543281" y="7693859"/>
                  </a:moveTo>
                  <a:cubicBezTo>
                    <a:pt x="2548235" y="7693859"/>
                    <a:pt x="2552245" y="7697870"/>
                    <a:pt x="2552245" y="7702819"/>
                  </a:cubicBezTo>
                  <a:cubicBezTo>
                    <a:pt x="2552245" y="7707768"/>
                    <a:pt x="2548235" y="7711780"/>
                    <a:pt x="2543281" y="7711780"/>
                  </a:cubicBezTo>
                  <a:cubicBezTo>
                    <a:pt x="2538331" y="7711780"/>
                    <a:pt x="2534320" y="7707768"/>
                    <a:pt x="2534320" y="7702819"/>
                  </a:cubicBezTo>
                  <a:cubicBezTo>
                    <a:pt x="2534320" y="7697870"/>
                    <a:pt x="2538331" y="7693859"/>
                    <a:pt x="2543281" y="7693859"/>
                  </a:cubicBezTo>
                  <a:close/>
                  <a:moveTo>
                    <a:pt x="2374529" y="7693859"/>
                  </a:moveTo>
                  <a:cubicBezTo>
                    <a:pt x="2379479" y="7693859"/>
                    <a:pt x="2383501" y="7697870"/>
                    <a:pt x="2383501" y="7702819"/>
                  </a:cubicBezTo>
                  <a:cubicBezTo>
                    <a:pt x="2383501" y="7707768"/>
                    <a:pt x="2379479" y="7711780"/>
                    <a:pt x="2374529" y="7711780"/>
                  </a:cubicBezTo>
                  <a:cubicBezTo>
                    <a:pt x="2369579" y="7711780"/>
                    <a:pt x="2365566" y="7707768"/>
                    <a:pt x="2365566" y="7702819"/>
                  </a:cubicBezTo>
                  <a:cubicBezTo>
                    <a:pt x="2365566" y="7697870"/>
                    <a:pt x="2369579" y="7693859"/>
                    <a:pt x="2374529" y="7693859"/>
                  </a:cubicBezTo>
                  <a:close/>
                  <a:moveTo>
                    <a:pt x="2205796" y="7693859"/>
                  </a:moveTo>
                  <a:cubicBezTo>
                    <a:pt x="2210745" y="7693859"/>
                    <a:pt x="2214756" y="7697870"/>
                    <a:pt x="2214756" y="7702819"/>
                  </a:cubicBezTo>
                  <a:cubicBezTo>
                    <a:pt x="2214756" y="7707768"/>
                    <a:pt x="2210745" y="7711780"/>
                    <a:pt x="2205796" y="7711780"/>
                  </a:cubicBezTo>
                  <a:cubicBezTo>
                    <a:pt x="2200844" y="7711780"/>
                    <a:pt x="2196836" y="7707768"/>
                    <a:pt x="2196836" y="7702819"/>
                  </a:cubicBezTo>
                  <a:cubicBezTo>
                    <a:pt x="2196836" y="7697870"/>
                    <a:pt x="2200844" y="7693859"/>
                    <a:pt x="2205796" y="7693859"/>
                  </a:cubicBezTo>
                  <a:close/>
                  <a:moveTo>
                    <a:pt x="2037059" y="7693859"/>
                  </a:moveTo>
                  <a:cubicBezTo>
                    <a:pt x="2042005" y="7693859"/>
                    <a:pt x="2046011" y="7697870"/>
                    <a:pt x="2046011" y="7702819"/>
                  </a:cubicBezTo>
                  <a:cubicBezTo>
                    <a:pt x="2046011" y="7707768"/>
                    <a:pt x="2042005" y="7711780"/>
                    <a:pt x="2037059" y="7711780"/>
                  </a:cubicBezTo>
                  <a:cubicBezTo>
                    <a:pt x="2032108" y="7711780"/>
                    <a:pt x="2028099" y="7707768"/>
                    <a:pt x="2028099" y="7702819"/>
                  </a:cubicBezTo>
                  <a:cubicBezTo>
                    <a:pt x="2028099" y="7697870"/>
                    <a:pt x="2032108" y="7693859"/>
                    <a:pt x="2037059" y="7693859"/>
                  </a:cubicBezTo>
                  <a:close/>
                  <a:moveTo>
                    <a:pt x="1868322" y="7693859"/>
                  </a:moveTo>
                  <a:cubicBezTo>
                    <a:pt x="1873268" y="7693859"/>
                    <a:pt x="1877278" y="7697870"/>
                    <a:pt x="1877278" y="7702819"/>
                  </a:cubicBezTo>
                  <a:cubicBezTo>
                    <a:pt x="1877278" y="7707768"/>
                    <a:pt x="1873268" y="7711780"/>
                    <a:pt x="1868322" y="7711780"/>
                  </a:cubicBezTo>
                  <a:cubicBezTo>
                    <a:pt x="1863371" y="7711780"/>
                    <a:pt x="1859357" y="7707768"/>
                    <a:pt x="1859357" y="7702819"/>
                  </a:cubicBezTo>
                  <a:cubicBezTo>
                    <a:pt x="1859357" y="7697870"/>
                    <a:pt x="1863371" y="7693859"/>
                    <a:pt x="1868322" y="7693859"/>
                  </a:cubicBezTo>
                  <a:close/>
                  <a:moveTo>
                    <a:pt x="1699579" y="7693859"/>
                  </a:moveTo>
                  <a:cubicBezTo>
                    <a:pt x="1704529" y="7693859"/>
                    <a:pt x="1708540" y="7697870"/>
                    <a:pt x="1708540" y="7702819"/>
                  </a:cubicBezTo>
                  <a:cubicBezTo>
                    <a:pt x="1708540" y="7707768"/>
                    <a:pt x="1704529" y="7711780"/>
                    <a:pt x="1699579" y="7711780"/>
                  </a:cubicBezTo>
                  <a:cubicBezTo>
                    <a:pt x="1694627" y="7711780"/>
                    <a:pt x="1690616" y="7707768"/>
                    <a:pt x="1690616" y="7702819"/>
                  </a:cubicBezTo>
                  <a:cubicBezTo>
                    <a:pt x="1690616" y="7697870"/>
                    <a:pt x="1694627" y="7693859"/>
                    <a:pt x="1699579" y="7693859"/>
                  </a:cubicBezTo>
                  <a:close/>
                  <a:moveTo>
                    <a:pt x="1530836" y="7693859"/>
                  </a:moveTo>
                  <a:cubicBezTo>
                    <a:pt x="1535785" y="7693859"/>
                    <a:pt x="1539797" y="7697870"/>
                    <a:pt x="1539797" y="7702819"/>
                  </a:cubicBezTo>
                  <a:cubicBezTo>
                    <a:pt x="1539797" y="7707768"/>
                    <a:pt x="1535785" y="7711780"/>
                    <a:pt x="1530836" y="7711780"/>
                  </a:cubicBezTo>
                  <a:cubicBezTo>
                    <a:pt x="1525887" y="7711780"/>
                    <a:pt x="1521875" y="7707768"/>
                    <a:pt x="1521875" y="7702819"/>
                  </a:cubicBezTo>
                  <a:cubicBezTo>
                    <a:pt x="1521875" y="7697870"/>
                    <a:pt x="1525887" y="7693859"/>
                    <a:pt x="1530836" y="7693859"/>
                  </a:cubicBezTo>
                  <a:close/>
                  <a:moveTo>
                    <a:pt x="1362091" y="7693859"/>
                  </a:moveTo>
                  <a:cubicBezTo>
                    <a:pt x="1367042" y="7693859"/>
                    <a:pt x="1371051" y="7697870"/>
                    <a:pt x="1371051" y="7702819"/>
                  </a:cubicBezTo>
                  <a:cubicBezTo>
                    <a:pt x="1371051" y="7707768"/>
                    <a:pt x="1367042" y="7711780"/>
                    <a:pt x="1362091" y="7711780"/>
                  </a:cubicBezTo>
                  <a:cubicBezTo>
                    <a:pt x="1357142" y="7711780"/>
                    <a:pt x="1353131" y="7707768"/>
                    <a:pt x="1353131" y="7702819"/>
                  </a:cubicBezTo>
                  <a:cubicBezTo>
                    <a:pt x="1353131" y="7697870"/>
                    <a:pt x="1357142" y="7693859"/>
                    <a:pt x="1362091" y="7693859"/>
                  </a:cubicBezTo>
                  <a:close/>
                  <a:moveTo>
                    <a:pt x="1193350" y="7693859"/>
                  </a:moveTo>
                  <a:cubicBezTo>
                    <a:pt x="1198299" y="7693859"/>
                    <a:pt x="1202311" y="7697870"/>
                    <a:pt x="1202311" y="7702819"/>
                  </a:cubicBezTo>
                  <a:cubicBezTo>
                    <a:pt x="1202311" y="7707768"/>
                    <a:pt x="1198299" y="7711780"/>
                    <a:pt x="1193350" y="7711780"/>
                  </a:cubicBezTo>
                  <a:cubicBezTo>
                    <a:pt x="1188402" y="7711780"/>
                    <a:pt x="1184391" y="7707768"/>
                    <a:pt x="1184391" y="7702819"/>
                  </a:cubicBezTo>
                  <a:cubicBezTo>
                    <a:pt x="1184391" y="7697870"/>
                    <a:pt x="1188402" y="7693859"/>
                    <a:pt x="1193350" y="7693859"/>
                  </a:cubicBezTo>
                  <a:close/>
                  <a:moveTo>
                    <a:pt x="1024605" y="7693859"/>
                  </a:moveTo>
                  <a:cubicBezTo>
                    <a:pt x="1029555" y="7693859"/>
                    <a:pt x="1033569" y="7697870"/>
                    <a:pt x="1033569" y="7702819"/>
                  </a:cubicBezTo>
                  <a:cubicBezTo>
                    <a:pt x="1033569" y="7707768"/>
                    <a:pt x="1029555" y="7711780"/>
                    <a:pt x="1024605" y="7711780"/>
                  </a:cubicBezTo>
                  <a:cubicBezTo>
                    <a:pt x="1019658" y="7711780"/>
                    <a:pt x="1015646" y="7707768"/>
                    <a:pt x="1015646" y="7702819"/>
                  </a:cubicBezTo>
                  <a:cubicBezTo>
                    <a:pt x="1015646" y="7697870"/>
                    <a:pt x="1019658" y="7693859"/>
                    <a:pt x="1024605" y="7693859"/>
                  </a:cubicBezTo>
                  <a:close/>
                  <a:moveTo>
                    <a:pt x="855868" y="7693859"/>
                  </a:moveTo>
                  <a:cubicBezTo>
                    <a:pt x="860817" y="7693859"/>
                    <a:pt x="864828" y="7697870"/>
                    <a:pt x="864828" y="7702819"/>
                  </a:cubicBezTo>
                  <a:cubicBezTo>
                    <a:pt x="864828" y="7707768"/>
                    <a:pt x="860817" y="7711780"/>
                    <a:pt x="855868" y="7711780"/>
                  </a:cubicBezTo>
                  <a:cubicBezTo>
                    <a:pt x="850920" y="7711780"/>
                    <a:pt x="846908" y="7707768"/>
                    <a:pt x="846908" y="7702819"/>
                  </a:cubicBezTo>
                  <a:cubicBezTo>
                    <a:pt x="846908" y="7697870"/>
                    <a:pt x="850920" y="7693859"/>
                    <a:pt x="855868" y="7693859"/>
                  </a:cubicBezTo>
                  <a:close/>
                  <a:moveTo>
                    <a:pt x="687127" y="7693859"/>
                  </a:moveTo>
                  <a:cubicBezTo>
                    <a:pt x="692076" y="7693859"/>
                    <a:pt x="696088" y="7697870"/>
                    <a:pt x="696088" y="7702819"/>
                  </a:cubicBezTo>
                  <a:cubicBezTo>
                    <a:pt x="696088" y="7707768"/>
                    <a:pt x="692076" y="7711780"/>
                    <a:pt x="687127" y="7711780"/>
                  </a:cubicBezTo>
                  <a:cubicBezTo>
                    <a:pt x="682178" y="7711780"/>
                    <a:pt x="678167" y="7707768"/>
                    <a:pt x="678167" y="7702819"/>
                  </a:cubicBezTo>
                  <a:cubicBezTo>
                    <a:pt x="678167" y="7697870"/>
                    <a:pt x="682178" y="7693859"/>
                    <a:pt x="687127" y="7693859"/>
                  </a:cubicBezTo>
                  <a:close/>
                  <a:moveTo>
                    <a:pt x="518377" y="7693859"/>
                  </a:moveTo>
                  <a:cubicBezTo>
                    <a:pt x="523326" y="7693859"/>
                    <a:pt x="527338" y="7697870"/>
                    <a:pt x="527338" y="7702819"/>
                  </a:cubicBezTo>
                  <a:cubicBezTo>
                    <a:pt x="527338" y="7707768"/>
                    <a:pt x="523326" y="7711780"/>
                    <a:pt x="518377" y="7711780"/>
                  </a:cubicBezTo>
                  <a:cubicBezTo>
                    <a:pt x="513429" y="7711780"/>
                    <a:pt x="509417" y="7707768"/>
                    <a:pt x="509417" y="7702819"/>
                  </a:cubicBezTo>
                  <a:cubicBezTo>
                    <a:pt x="509417" y="7697870"/>
                    <a:pt x="513429" y="7693859"/>
                    <a:pt x="518377" y="7693859"/>
                  </a:cubicBezTo>
                  <a:close/>
                  <a:moveTo>
                    <a:pt x="349637" y="7693859"/>
                  </a:moveTo>
                  <a:cubicBezTo>
                    <a:pt x="354586" y="7693859"/>
                    <a:pt x="358598" y="7697870"/>
                    <a:pt x="358598" y="7702819"/>
                  </a:cubicBezTo>
                  <a:cubicBezTo>
                    <a:pt x="358598" y="7707768"/>
                    <a:pt x="354586" y="7711780"/>
                    <a:pt x="349637" y="7711780"/>
                  </a:cubicBezTo>
                  <a:cubicBezTo>
                    <a:pt x="344689" y="7711780"/>
                    <a:pt x="340677" y="7707768"/>
                    <a:pt x="340677" y="7702819"/>
                  </a:cubicBezTo>
                  <a:cubicBezTo>
                    <a:pt x="340677" y="7697870"/>
                    <a:pt x="344689" y="7693859"/>
                    <a:pt x="349637" y="7693859"/>
                  </a:cubicBezTo>
                  <a:close/>
                  <a:moveTo>
                    <a:pt x="179317" y="7693859"/>
                  </a:moveTo>
                  <a:cubicBezTo>
                    <a:pt x="184266" y="7693859"/>
                    <a:pt x="188278" y="7697870"/>
                    <a:pt x="188278" y="7702819"/>
                  </a:cubicBezTo>
                  <a:cubicBezTo>
                    <a:pt x="188278" y="7707768"/>
                    <a:pt x="184266" y="7711780"/>
                    <a:pt x="179317" y="7711780"/>
                  </a:cubicBezTo>
                  <a:cubicBezTo>
                    <a:pt x="174369" y="7711780"/>
                    <a:pt x="170357" y="7707768"/>
                    <a:pt x="170357" y="7702819"/>
                  </a:cubicBezTo>
                  <a:cubicBezTo>
                    <a:pt x="170357" y="7697870"/>
                    <a:pt x="174369" y="7693859"/>
                    <a:pt x="179317" y="7693859"/>
                  </a:cubicBezTo>
                  <a:close/>
                  <a:moveTo>
                    <a:pt x="8998" y="7693859"/>
                  </a:moveTo>
                  <a:cubicBezTo>
                    <a:pt x="13946" y="7693859"/>
                    <a:pt x="17958" y="7697870"/>
                    <a:pt x="17958" y="7702819"/>
                  </a:cubicBezTo>
                  <a:cubicBezTo>
                    <a:pt x="17958" y="7707768"/>
                    <a:pt x="13946" y="7711780"/>
                    <a:pt x="8998" y="7711780"/>
                  </a:cubicBezTo>
                  <a:cubicBezTo>
                    <a:pt x="4049" y="7711780"/>
                    <a:pt x="37" y="7707768"/>
                    <a:pt x="37" y="7702819"/>
                  </a:cubicBezTo>
                  <a:cubicBezTo>
                    <a:pt x="37" y="7697870"/>
                    <a:pt x="4049" y="7693859"/>
                    <a:pt x="8998" y="7693859"/>
                  </a:cubicBezTo>
                  <a:close/>
                  <a:moveTo>
                    <a:pt x="6933679" y="7522877"/>
                  </a:moveTo>
                  <a:cubicBezTo>
                    <a:pt x="6938628" y="7522877"/>
                    <a:pt x="6942639" y="7526888"/>
                    <a:pt x="6942639" y="7531837"/>
                  </a:cubicBezTo>
                  <a:cubicBezTo>
                    <a:pt x="6942639" y="7536786"/>
                    <a:pt x="6938628" y="7540798"/>
                    <a:pt x="6933679" y="7540798"/>
                  </a:cubicBezTo>
                  <a:cubicBezTo>
                    <a:pt x="6928730" y="7540798"/>
                    <a:pt x="6924718" y="7536786"/>
                    <a:pt x="6924718" y="7531837"/>
                  </a:cubicBezTo>
                  <a:cubicBezTo>
                    <a:pt x="6924718" y="7526888"/>
                    <a:pt x="6928730" y="7522877"/>
                    <a:pt x="6933679" y="7522877"/>
                  </a:cubicBezTo>
                  <a:close/>
                  <a:moveTo>
                    <a:pt x="6763357" y="7522877"/>
                  </a:moveTo>
                  <a:cubicBezTo>
                    <a:pt x="6768306" y="7522877"/>
                    <a:pt x="6772318" y="7526888"/>
                    <a:pt x="6772318" y="7531837"/>
                  </a:cubicBezTo>
                  <a:cubicBezTo>
                    <a:pt x="6772318" y="7536786"/>
                    <a:pt x="6768306" y="7540798"/>
                    <a:pt x="6763357" y="7540798"/>
                  </a:cubicBezTo>
                  <a:cubicBezTo>
                    <a:pt x="6758408" y="7540798"/>
                    <a:pt x="6754397" y="7536786"/>
                    <a:pt x="6754397" y="7531837"/>
                  </a:cubicBezTo>
                  <a:cubicBezTo>
                    <a:pt x="6754397" y="7526888"/>
                    <a:pt x="6758408" y="7522877"/>
                    <a:pt x="6763357" y="7522877"/>
                  </a:cubicBezTo>
                  <a:close/>
                  <a:moveTo>
                    <a:pt x="6593035" y="7522877"/>
                  </a:moveTo>
                  <a:cubicBezTo>
                    <a:pt x="6597984" y="7522877"/>
                    <a:pt x="6601996" y="7526888"/>
                    <a:pt x="6601996" y="7531837"/>
                  </a:cubicBezTo>
                  <a:cubicBezTo>
                    <a:pt x="6601996" y="7536786"/>
                    <a:pt x="6597984" y="7540798"/>
                    <a:pt x="6593035" y="7540798"/>
                  </a:cubicBezTo>
                  <a:cubicBezTo>
                    <a:pt x="6588086" y="7540798"/>
                    <a:pt x="6584075" y="7536786"/>
                    <a:pt x="6584075" y="7531837"/>
                  </a:cubicBezTo>
                  <a:cubicBezTo>
                    <a:pt x="6584075" y="7526888"/>
                    <a:pt x="6588086" y="7522877"/>
                    <a:pt x="6593035" y="7522877"/>
                  </a:cubicBezTo>
                  <a:close/>
                  <a:moveTo>
                    <a:pt x="6424294" y="7522877"/>
                  </a:moveTo>
                  <a:cubicBezTo>
                    <a:pt x="6429243" y="7522877"/>
                    <a:pt x="6433255" y="7526888"/>
                    <a:pt x="6433255" y="7531837"/>
                  </a:cubicBezTo>
                  <a:cubicBezTo>
                    <a:pt x="6433255" y="7536786"/>
                    <a:pt x="6429243" y="7540798"/>
                    <a:pt x="6424294" y="7540798"/>
                  </a:cubicBezTo>
                  <a:cubicBezTo>
                    <a:pt x="6419345" y="7540798"/>
                    <a:pt x="6415334" y="7536786"/>
                    <a:pt x="6415334" y="7531837"/>
                  </a:cubicBezTo>
                  <a:cubicBezTo>
                    <a:pt x="6415334" y="7526888"/>
                    <a:pt x="6419345" y="7522877"/>
                    <a:pt x="6424294" y="7522877"/>
                  </a:cubicBezTo>
                  <a:close/>
                  <a:moveTo>
                    <a:pt x="6255553" y="7522877"/>
                  </a:moveTo>
                  <a:cubicBezTo>
                    <a:pt x="6260502" y="7522877"/>
                    <a:pt x="6264514" y="7526888"/>
                    <a:pt x="6264514" y="7531837"/>
                  </a:cubicBezTo>
                  <a:cubicBezTo>
                    <a:pt x="6264514" y="7536786"/>
                    <a:pt x="6260502" y="7540798"/>
                    <a:pt x="6255553" y="7540798"/>
                  </a:cubicBezTo>
                  <a:cubicBezTo>
                    <a:pt x="6250604" y="7540798"/>
                    <a:pt x="6246593" y="7536786"/>
                    <a:pt x="6246593" y="7531837"/>
                  </a:cubicBezTo>
                  <a:cubicBezTo>
                    <a:pt x="6246593" y="7526888"/>
                    <a:pt x="6250604" y="7522877"/>
                    <a:pt x="6255553" y="7522877"/>
                  </a:cubicBezTo>
                  <a:close/>
                  <a:moveTo>
                    <a:pt x="6086811" y="7522877"/>
                  </a:moveTo>
                  <a:cubicBezTo>
                    <a:pt x="6091760" y="7522877"/>
                    <a:pt x="6095772" y="7526888"/>
                    <a:pt x="6095772" y="7531837"/>
                  </a:cubicBezTo>
                  <a:cubicBezTo>
                    <a:pt x="6095772" y="7536786"/>
                    <a:pt x="6091760" y="7540798"/>
                    <a:pt x="6086811" y="7540798"/>
                  </a:cubicBezTo>
                  <a:cubicBezTo>
                    <a:pt x="6081862" y="7540798"/>
                    <a:pt x="6077851" y="7536786"/>
                    <a:pt x="6077851" y="7531837"/>
                  </a:cubicBezTo>
                  <a:cubicBezTo>
                    <a:pt x="6077851" y="7526888"/>
                    <a:pt x="6081862" y="7522877"/>
                    <a:pt x="6086811" y="7522877"/>
                  </a:cubicBezTo>
                  <a:close/>
                  <a:moveTo>
                    <a:pt x="5918069" y="7522877"/>
                  </a:moveTo>
                  <a:cubicBezTo>
                    <a:pt x="5923018" y="7522877"/>
                    <a:pt x="5927030" y="7526888"/>
                    <a:pt x="5927030" y="7531837"/>
                  </a:cubicBezTo>
                  <a:cubicBezTo>
                    <a:pt x="5927030" y="7536786"/>
                    <a:pt x="5923018" y="7540798"/>
                    <a:pt x="5918069" y="7540798"/>
                  </a:cubicBezTo>
                  <a:cubicBezTo>
                    <a:pt x="5913120" y="7540798"/>
                    <a:pt x="5909109" y="7536786"/>
                    <a:pt x="5909109" y="7531837"/>
                  </a:cubicBezTo>
                  <a:cubicBezTo>
                    <a:pt x="5909109" y="7526888"/>
                    <a:pt x="5913120" y="7522877"/>
                    <a:pt x="5918069" y="7522877"/>
                  </a:cubicBezTo>
                  <a:close/>
                  <a:moveTo>
                    <a:pt x="5749328" y="7522877"/>
                  </a:moveTo>
                  <a:cubicBezTo>
                    <a:pt x="5754277" y="7522877"/>
                    <a:pt x="5758289" y="7526888"/>
                    <a:pt x="5758289" y="7531837"/>
                  </a:cubicBezTo>
                  <a:cubicBezTo>
                    <a:pt x="5758289" y="7536786"/>
                    <a:pt x="5754277" y="7540798"/>
                    <a:pt x="5749328" y="7540798"/>
                  </a:cubicBezTo>
                  <a:cubicBezTo>
                    <a:pt x="5744379" y="7540798"/>
                    <a:pt x="5740368" y="7536786"/>
                    <a:pt x="5740368" y="7531837"/>
                  </a:cubicBezTo>
                  <a:cubicBezTo>
                    <a:pt x="5740368" y="7526888"/>
                    <a:pt x="5744379" y="7522877"/>
                    <a:pt x="5749328" y="7522877"/>
                  </a:cubicBezTo>
                  <a:close/>
                  <a:moveTo>
                    <a:pt x="5580586" y="7522877"/>
                  </a:moveTo>
                  <a:cubicBezTo>
                    <a:pt x="5585535" y="7522877"/>
                    <a:pt x="5589547" y="7526888"/>
                    <a:pt x="5589547" y="7531837"/>
                  </a:cubicBezTo>
                  <a:cubicBezTo>
                    <a:pt x="5589547" y="7536786"/>
                    <a:pt x="5585535" y="7540798"/>
                    <a:pt x="5580586" y="7540798"/>
                  </a:cubicBezTo>
                  <a:cubicBezTo>
                    <a:pt x="5575637" y="7540798"/>
                    <a:pt x="5571626" y="7536786"/>
                    <a:pt x="5571626" y="7531837"/>
                  </a:cubicBezTo>
                  <a:cubicBezTo>
                    <a:pt x="5571626" y="7526888"/>
                    <a:pt x="5575637" y="7522877"/>
                    <a:pt x="5580586" y="7522877"/>
                  </a:cubicBezTo>
                  <a:close/>
                  <a:moveTo>
                    <a:pt x="5411845" y="7522877"/>
                  </a:moveTo>
                  <a:cubicBezTo>
                    <a:pt x="5416794" y="7522877"/>
                    <a:pt x="5420806" y="7526888"/>
                    <a:pt x="5420806" y="7531837"/>
                  </a:cubicBezTo>
                  <a:cubicBezTo>
                    <a:pt x="5420806" y="7536786"/>
                    <a:pt x="5416794" y="7540798"/>
                    <a:pt x="5411845" y="7540798"/>
                  </a:cubicBezTo>
                  <a:cubicBezTo>
                    <a:pt x="5406896" y="7540798"/>
                    <a:pt x="5402885" y="7536786"/>
                    <a:pt x="5402885" y="7531837"/>
                  </a:cubicBezTo>
                  <a:cubicBezTo>
                    <a:pt x="5402885" y="7526888"/>
                    <a:pt x="5406896" y="7522877"/>
                    <a:pt x="5411845" y="7522877"/>
                  </a:cubicBezTo>
                  <a:close/>
                  <a:moveTo>
                    <a:pt x="5243103" y="7522877"/>
                  </a:moveTo>
                  <a:cubicBezTo>
                    <a:pt x="5248052" y="7522877"/>
                    <a:pt x="5252064" y="7526888"/>
                    <a:pt x="5252064" y="7531837"/>
                  </a:cubicBezTo>
                  <a:cubicBezTo>
                    <a:pt x="5252064" y="7536786"/>
                    <a:pt x="5248052" y="7540798"/>
                    <a:pt x="5243103" y="7540798"/>
                  </a:cubicBezTo>
                  <a:cubicBezTo>
                    <a:pt x="5238154" y="7540798"/>
                    <a:pt x="5234143" y="7536786"/>
                    <a:pt x="5234143" y="7531837"/>
                  </a:cubicBezTo>
                  <a:cubicBezTo>
                    <a:pt x="5234143" y="7526888"/>
                    <a:pt x="5238154" y="7522877"/>
                    <a:pt x="5243103" y="7522877"/>
                  </a:cubicBezTo>
                  <a:close/>
                  <a:moveTo>
                    <a:pt x="5074362" y="7522877"/>
                  </a:moveTo>
                  <a:cubicBezTo>
                    <a:pt x="5079311" y="7522877"/>
                    <a:pt x="5083323" y="7526888"/>
                    <a:pt x="5083323" y="7531837"/>
                  </a:cubicBezTo>
                  <a:cubicBezTo>
                    <a:pt x="5083323" y="7536786"/>
                    <a:pt x="5079311" y="7540798"/>
                    <a:pt x="5074362" y="7540798"/>
                  </a:cubicBezTo>
                  <a:cubicBezTo>
                    <a:pt x="5069413" y="7540798"/>
                    <a:pt x="5065402" y="7536786"/>
                    <a:pt x="5065402" y="7531837"/>
                  </a:cubicBezTo>
                  <a:cubicBezTo>
                    <a:pt x="5065402" y="7526888"/>
                    <a:pt x="5069413" y="7522877"/>
                    <a:pt x="5074362" y="7522877"/>
                  </a:cubicBezTo>
                  <a:close/>
                  <a:moveTo>
                    <a:pt x="4905620" y="7522877"/>
                  </a:moveTo>
                  <a:cubicBezTo>
                    <a:pt x="4910569" y="7522877"/>
                    <a:pt x="4914581" y="7526888"/>
                    <a:pt x="4914581" y="7531837"/>
                  </a:cubicBezTo>
                  <a:cubicBezTo>
                    <a:pt x="4914581" y="7536786"/>
                    <a:pt x="4910569" y="7540798"/>
                    <a:pt x="4905620" y="7540798"/>
                  </a:cubicBezTo>
                  <a:cubicBezTo>
                    <a:pt x="4900671" y="7540798"/>
                    <a:pt x="4896660" y="7536786"/>
                    <a:pt x="4896660" y="7531837"/>
                  </a:cubicBezTo>
                  <a:cubicBezTo>
                    <a:pt x="4896660" y="7526888"/>
                    <a:pt x="4900671" y="7522877"/>
                    <a:pt x="4905620" y="7522877"/>
                  </a:cubicBezTo>
                  <a:close/>
                  <a:moveTo>
                    <a:pt x="4736878" y="7522877"/>
                  </a:moveTo>
                  <a:cubicBezTo>
                    <a:pt x="4741827" y="7522877"/>
                    <a:pt x="4745839" y="7526888"/>
                    <a:pt x="4745839" y="7531837"/>
                  </a:cubicBezTo>
                  <a:cubicBezTo>
                    <a:pt x="4745839" y="7536786"/>
                    <a:pt x="4741827" y="7540798"/>
                    <a:pt x="4736878" y="7540798"/>
                  </a:cubicBezTo>
                  <a:cubicBezTo>
                    <a:pt x="4731929" y="7540798"/>
                    <a:pt x="4727918" y="7536786"/>
                    <a:pt x="4727918" y="7531837"/>
                  </a:cubicBezTo>
                  <a:cubicBezTo>
                    <a:pt x="4727918" y="7526888"/>
                    <a:pt x="4731929" y="7522877"/>
                    <a:pt x="4736878" y="7522877"/>
                  </a:cubicBezTo>
                  <a:close/>
                  <a:moveTo>
                    <a:pt x="4568137" y="7522877"/>
                  </a:moveTo>
                  <a:cubicBezTo>
                    <a:pt x="4573086" y="7522877"/>
                    <a:pt x="4577098" y="7526888"/>
                    <a:pt x="4577098" y="7531837"/>
                  </a:cubicBezTo>
                  <a:cubicBezTo>
                    <a:pt x="4577098" y="7536786"/>
                    <a:pt x="4573086" y="7540798"/>
                    <a:pt x="4568137" y="7540798"/>
                  </a:cubicBezTo>
                  <a:cubicBezTo>
                    <a:pt x="4563188" y="7540798"/>
                    <a:pt x="4559177" y="7536786"/>
                    <a:pt x="4559177" y="7531837"/>
                  </a:cubicBezTo>
                  <a:cubicBezTo>
                    <a:pt x="4559177" y="7526888"/>
                    <a:pt x="4563188" y="7522877"/>
                    <a:pt x="4568137" y="7522877"/>
                  </a:cubicBezTo>
                  <a:close/>
                  <a:moveTo>
                    <a:pt x="4399396" y="7522877"/>
                  </a:moveTo>
                  <a:cubicBezTo>
                    <a:pt x="4404345" y="7522877"/>
                    <a:pt x="4408357" y="7526888"/>
                    <a:pt x="4408357" y="7531837"/>
                  </a:cubicBezTo>
                  <a:cubicBezTo>
                    <a:pt x="4408357" y="7536786"/>
                    <a:pt x="4404345" y="7540798"/>
                    <a:pt x="4399396" y="7540798"/>
                  </a:cubicBezTo>
                  <a:cubicBezTo>
                    <a:pt x="4394447" y="7540798"/>
                    <a:pt x="4390436" y="7536786"/>
                    <a:pt x="4390436" y="7531837"/>
                  </a:cubicBezTo>
                  <a:cubicBezTo>
                    <a:pt x="4390436" y="7526888"/>
                    <a:pt x="4394447" y="7522877"/>
                    <a:pt x="4399396" y="7522877"/>
                  </a:cubicBezTo>
                  <a:close/>
                  <a:moveTo>
                    <a:pt x="4230654" y="7522877"/>
                  </a:moveTo>
                  <a:cubicBezTo>
                    <a:pt x="4235603" y="7522877"/>
                    <a:pt x="4239615" y="7526888"/>
                    <a:pt x="4239615" y="7531837"/>
                  </a:cubicBezTo>
                  <a:cubicBezTo>
                    <a:pt x="4239615" y="7536786"/>
                    <a:pt x="4235603" y="7540798"/>
                    <a:pt x="4230654" y="7540798"/>
                  </a:cubicBezTo>
                  <a:cubicBezTo>
                    <a:pt x="4225705" y="7540798"/>
                    <a:pt x="4221694" y="7536786"/>
                    <a:pt x="4221694" y="7531837"/>
                  </a:cubicBezTo>
                  <a:cubicBezTo>
                    <a:pt x="4221694" y="7526888"/>
                    <a:pt x="4225705" y="7522877"/>
                    <a:pt x="4230654" y="7522877"/>
                  </a:cubicBezTo>
                  <a:close/>
                  <a:moveTo>
                    <a:pt x="4061912" y="7522877"/>
                  </a:moveTo>
                  <a:cubicBezTo>
                    <a:pt x="4066861" y="7522877"/>
                    <a:pt x="4070873" y="7526888"/>
                    <a:pt x="4070873" y="7531837"/>
                  </a:cubicBezTo>
                  <a:cubicBezTo>
                    <a:pt x="4070873" y="7536786"/>
                    <a:pt x="4066861" y="7540798"/>
                    <a:pt x="4061912" y="7540798"/>
                  </a:cubicBezTo>
                  <a:cubicBezTo>
                    <a:pt x="4056963" y="7540798"/>
                    <a:pt x="4052952" y="7536786"/>
                    <a:pt x="4052952" y="7531837"/>
                  </a:cubicBezTo>
                  <a:cubicBezTo>
                    <a:pt x="4052952" y="7526888"/>
                    <a:pt x="4056963" y="7522877"/>
                    <a:pt x="4061912" y="7522877"/>
                  </a:cubicBezTo>
                  <a:close/>
                  <a:moveTo>
                    <a:pt x="3893170" y="7522877"/>
                  </a:moveTo>
                  <a:cubicBezTo>
                    <a:pt x="3898119" y="7522877"/>
                    <a:pt x="3902131" y="7526888"/>
                    <a:pt x="3902131" y="7531837"/>
                  </a:cubicBezTo>
                  <a:cubicBezTo>
                    <a:pt x="3902131" y="7536786"/>
                    <a:pt x="3898119" y="7540798"/>
                    <a:pt x="3893170" y="7540798"/>
                  </a:cubicBezTo>
                  <a:cubicBezTo>
                    <a:pt x="3888221" y="7540798"/>
                    <a:pt x="3884210" y="7536786"/>
                    <a:pt x="3884210" y="7531837"/>
                  </a:cubicBezTo>
                  <a:cubicBezTo>
                    <a:pt x="3884210" y="7526888"/>
                    <a:pt x="3888221" y="7522877"/>
                    <a:pt x="3893170" y="7522877"/>
                  </a:cubicBezTo>
                  <a:close/>
                  <a:moveTo>
                    <a:pt x="3724429" y="7522877"/>
                  </a:moveTo>
                  <a:cubicBezTo>
                    <a:pt x="3729378" y="7522877"/>
                    <a:pt x="3733390" y="7526888"/>
                    <a:pt x="3733390" y="7531837"/>
                  </a:cubicBezTo>
                  <a:cubicBezTo>
                    <a:pt x="3733390" y="7536786"/>
                    <a:pt x="3729378" y="7540798"/>
                    <a:pt x="3724429" y="7540798"/>
                  </a:cubicBezTo>
                  <a:cubicBezTo>
                    <a:pt x="3719481" y="7540798"/>
                    <a:pt x="3715469" y="7536786"/>
                    <a:pt x="3715469" y="7531837"/>
                  </a:cubicBezTo>
                  <a:cubicBezTo>
                    <a:pt x="3715469" y="7526888"/>
                    <a:pt x="3719481" y="7522877"/>
                    <a:pt x="3724429" y="7522877"/>
                  </a:cubicBezTo>
                  <a:close/>
                  <a:moveTo>
                    <a:pt x="3555688" y="7522877"/>
                  </a:moveTo>
                  <a:cubicBezTo>
                    <a:pt x="3560637" y="7522877"/>
                    <a:pt x="3564649" y="7526888"/>
                    <a:pt x="3564649" y="7531837"/>
                  </a:cubicBezTo>
                  <a:cubicBezTo>
                    <a:pt x="3564649" y="7536786"/>
                    <a:pt x="3560637" y="7540798"/>
                    <a:pt x="3555688" y="7540798"/>
                  </a:cubicBezTo>
                  <a:cubicBezTo>
                    <a:pt x="3550740" y="7540798"/>
                    <a:pt x="3546728" y="7536786"/>
                    <a:pt x="3546728" y="7531837"/>
                  </a:cubicBezTo>
                  <a:cubicBezTo>
                    <a:pt x="3546728" y="7526888"/>
                    <a:pt x="3550740" y="7522877"/>
                    <a:pt x="3555688" y="7522877"/>
                  </a:cubicBezTo>
                  <a:close/>
                  <a:moveTo>
                    <a:pt x="3386978" y="7522877"/>
                  </a:moveTo>
                  <a:cubicBezTo>
                    <a:pt x="3391926" y="7522877"/>
                    <a:pt x="3395938" y="7526888"/>
                    <a:pt x="3395938" y="7531837"/>
                  </a:cubicBezTo>
                  <a:cubicBezTo>
                    <a:pt x="3395938" y="7536786"/>
                    <a:pt x="3391926" y="7540798"/>
                    <a:pt x="3386978" y="7540798"/>
                  </a:cubicBezTo>
                  <a:cubicBezTo>
                    <a:pt x="3382014" y="7540798"/>
                    <a:pt x="3378002" y="7536786"/>
                    <a:pt x="3378002" y="7531837"/>
                  </a:cubicBezTo>
                  <a:cubicBezTo>
                    <a:pt x="3378002" y="7526888"/>
                    <a:pt x="3382014" y="7522877"/>
                    <a:pt x="3386978" y="7522877"/>
                  </a:cubicBezTo>
                  <a:close/>
                  <a:moveTo>
                    <a:pt x="3218226" y="7522877"/>
                  </a:moveTo>
                  <a:cubicBezTo>
                    <a:pt x="3223182" y="7522877"/>
                    <a:pt x="3227195" y="7526888"/>
                    <a:pt x="3227195" y="7531837"/>
                  </a:cubicBezTo>
                  <a:cubicBezTo>
                    <a:pt x="3227195" y="7536786"/>
                    <a:pt x="3223182" y="7540798"/>
                    <a:pt x="3218226" y="7540798"/>
                  </a:cubicBezTo>
                  <a:cubicBezTo>
                    <a:pt x="3213277" y="7540798"/>
                    <a:pt x="3209269" y="7536786"/>
                    <a:pt x="3209269" y="7531837"/>
                  </a:cubicBezTo>
                  <a:cubicBezTo>
                    <a:pt x="3209269" y="7526888"/>
                    <a:pt x="3213277" y="7522877"/>
                    <a:pt x="3218226" y="7522877"/>
                  </a:cubicBezTo>
                  <a:close/>
                  <a:moveTo>
                    <a:pt x="3049510" y="7522877"/>
                  </a:moveTo>
                  <a:cubicBezTo>
                    <a:pt x="3054444" y="7522877"/>
                    <a:pt x="3058457" y="7526888"/>
                    <a:pt x="3058457" y="7531837"/>
                  </a:cubicBezTo>
                  <a:cubicBezTo>
                    <a:pt x="3058457" y="7536786"/>
                    <a:pt x="3054444" y="7540798"/>
                    <a:pt x="3049510" y="7540798"/>
                  </a:cubicBezTo>
                  <a:cubicBezTo>
                    <a:pt x="3044547" y="7540798"/>
                    <a:pt x="3040535" y="7536786"/>
                    <a:pt x="3040535" y="7531837"/>
                  </a:cubicBezTo>
                  <a:cubicBezTo>
                    <a:pt x="3040535" y="7526888"/>
                    <a:pt x="3044547" y="7522877"/>
                    <a:pt x="3049510" y="7522877"/>
                  </a:cubicBezTo>
                  <a:close/>
                  <a:moveTo>
                    <a:pt x="2880764" y="7522877"/>
                  </a:moveTo>
                  <a:cubicBezTo>
                    <a:pt x="2885710" y="7522877"/>
                    <a:pt x="2889722" y="7526888"/>
                    <a:pt x="2889722" y="7531837"/>
                  </a:cubicBezTo>
                  <a:cubicBezTo>
                    <a:pt x="2889722" y="7536786"/>
                    <a:pt x="2885710" y="7540798"/>
                    <a:pt x="2880764" y="7540798"/>
                  </a:cubicBezTo>
                  <a:cubicBezTo>
                    <a:pt x="2875812" y="7540798"/>
                    <a:pt x="2871803" y="7536786"/>
                    <a:pt x="2871803" y="7531837"/>
                  </a:cubicBezTo>
                  <a:cubicBezTo>
                    <a:pt x="2871803" y="7526888"/>
                    <a:pt x="2875812" y="7522877"/>
                    <a:pt x="2880764" y="7522877"/>
                  </a:cubicBezTo>
                  <a:close/>
                  <a:moveTo>
                    <a:pt x="2712014" y="7522877"/>
                  </a:moveTo>
                  <a:cubicBezTo>
                    <a:pt x="2716971" y="7522877"/>
                    <a:pt x="2720989" y="7526888"/>
                    <a:pt x="2720989" y="7531837"/>
                  </a:cubicBezTo>
                  <a:cubicBezTo>
                    <a:pt x="2720989" y="7536786"/>
                    <a:pt x="2716971" y="7540798"/>
                    <a:pt x="2712014" y="7540798"/>
                  </a:cubicBezTo>
                  <a:cubicBezTo>
                    <a:pt x="2707069" y="7540798"/>
                    <a:pt x="2703059" y="7536786"/>
                    <a:pt x="2703059" y="7531837"/>
                  </a:cubicBezTo>
                  <a:cubicBezTo>
                    <a:pt x="2703059" y="7526888"/>
                    <a:pt x="2707069" y="7522877"/>
                    <a:pt x="2712014" y="7522877"/>
                  </a:cubicBezTo>
                  <a:close/>
                  <a:moveTo>
                    <a:pt x="2543285" y="7522877"/>
                  </a:moveTo>
                  <a:cubicBezTo>
                    <a:pt x="2548240" y="7522877"/>
                    <a:pt x="2552249" y="7526888"/>
                    <a:pt x="2552249" y="7531837"/>
                  </a:cubicBezTo>
                  <a:cubicBezTo>
                    <a:pt x="2552249" y="7536786"/>
                    <a:pt x="2548240" y="7540798"/>
                    <a:pt x="2543285" y="7540798"/>
                  </a:cubicBezTo>
                  <a:cubicBezTo>
                    <a:pt x="2538336" y="7540798"/>
                    <a:pt x="2534325" y="7536786"/>
                    <a:pt x="2534325" y="7531837"/>
                  </a:cubicBezTo>
                  <a:cubicBezTo>
                    <a:pt x="2534325" y="7526888"/>
                    <a:pt x="2538336" y="7522877"/>
                    <a:pt x="2543285" y="7522877"/>
                  </a:cubicBezTo>
                  <a:close/>
                  <a:moveTo>
                    <a:pt x="2374532" y="7522877"/>
                  </a:moveTo>
                  <a:cubicBezTo>
                    <a:pt x="2379484" y="7522877"/>
                    <a:pt x="2383505" y="7526888"/>
                    <a:pt x="2383505" y="7531837"/>
                  </a:cubicBezTo>
                  <a:cubicBezTo>
                    <a:pt x="2383505" y="7536786"/>
                    <a:pt x="2379484" y="7540798"/>
                    <a:pt x="2374532" y="7540798"/>
                  </a:cubicBezTo>
                  <a:cubicBezTo>
                    <a:pt x="2369582" y="7540798"/>
                    <a:pt x="2365569" y="7536786"/>
                    <a:pt x="2365569" y="7531837"/>
                  </a:cubicBezTo>
                  <a:cubicBezTo>
                    <a:pt x="2365569" y="7526888"/>
                    <a:pt x="2369582" y="7522877"/>
                    <a:pt x="2374532" y="7522877"/>
                  </a:cubicBezTo>
                  <a:close/>
                  <a:moveTo>
                    <a:pt x="2205801" y="7522877"/>
                  </a:moveTo>
                  <a:cubicBezTo>
                    <a:pt x="2210749" y="7522877"/>
                    <a:pt x="2214761" y="7526888"/>
                    <a:pt x="2214761" y="7531837"/>
                  </a:cubicBezTo>
                  <a:cubicBezTo>
                    <a:pt x="2214761" y="7536786"/>
                    <a:pt x="2210749" y="7540798"/>
                    <a:pt x="2205801" y="7540798"/>
                  </a:cubicBezTo>
                  <a:cubicBezTo>
                    <a:pt x="2200847" y="7540798"/>
                    <a:pt x="2196839" y="7536786"/>
                    <a:pt x="2196839" y="7531837"/>
                  </a:cubicBezTo>
                  <a:cubicBezTo>
                    <a:pt x="2196839" y="7526888"/>
                    <a:pt x="2200847" y="7522877"/>
                    <a:pt x="2205801" y="7522877"/>
                  </a:cubicBezTo>
                  <a:close/>
                  <a:moveTo>
                    <a:pt x="2037063" y="7522877"/>
                  </a:moveTo>
                  <a:cubicBezTo>
                    <a:pt x="2042010" y="7522877"/>
                    <a:pt x="2046016" y="7526888"/>
                    <a:pt x="2046016" y="7531837"/>
                  </a:cubicBezTo>
                  <a:cubicBezTo>
                    <a:pt x="2046016" y="7536786"/>
                    <a:pt x="2042010" y="7540798"/>
                    <a:pt x="2037063" y="7540798"/>
                  </a:cubicBezTo>
                  <a:cubicBezTo>
                    <a:pt x="2032112" y="7540798"/>
                    <a:pt x="2028105" y="7536786"/>
                    <a:pt x="2028105" y="7531837"/>
                  </a:cubicBezTo>
                  <a:cubicBezTo>
                    <a:pt x="2028105" y="7526888"/>
                    <a:pt x="2032112" y="7522877"/>
                    <a:pt x="2037063" y="7522877"/>
                  </a:cubicBezTo>
                  <a:close/>
                  <a:moveTo>
                    <a:pt x="1868328" y="7522877"/>
                  </a:moveTo>
                  <a:cubicBezTo>
                    <a:pt x="1873272" y="7522877"/>
                    <a:pt x="1877284" y="7526888"/>
                    <a:pt x="1877284" y="7531837"/>
                  </a:cubicBezTo>
                  <a:cubicBezTo>
                    <a:pt x="1877284" y="7536786"/>
                    <a:pt x="1873272" y="7540798"/>
                    <a:pt x="1868328" y="7540798"/>
                  </a:cubicBezTo>
                  <a:cubicBezTo>
                    <a:pt x="1863376" y="7540798"/>
                    <a:pt x="1859362" y="7536786"/>
                    <a:pt x="1859362" y="7531837"/>
                  </a:cubicBezTo>
                  <a:cubicBezTo>
                    <a:pt x="1859362" y="7526888"/>
                    <a:pt x="1863376" y="7522877"/>
                    <a:pt x="1868328" y="7522877"/>
                  </a:cubicBezTo>
                  <a:close/>
                  <a:moveTo>
                    <a:pt x="1699583" y="7522877"/>
                  </a:moveTo>
                  <a:cubicBezTo>
                    <a:pt x="1704534" y="7522877"/>
                    <a:pt x="1708545" y="7526888"/>
                    <a:pt x="1708545" y="7531837"/>
                  </a:cubicBezTo>
                  <a:cubicBezTo>
                    <a:pt x="1708545" y="7536786"/>
                    <a:pt x="1704534" y="7540798"/>
                    <a:pt x="1699583" y="7540798"/>
                  </a:cubicBezTo>
                  <a:cubicBezTo>
                    <a:pt x="1694631" y="7540798"/>
                    <a:pt x="1690620" y="7536786"/>
                    <a:pt x="1690620" y="7531837"/>
                  </a:cubicBezTo>
                  <a:cubicBezTo>
                    <a:pt x="1690620" y="7526888"/>
                    <a:pt x="1694631" y="7522877"/>
                    <a:pt x="1699583" y="7522877"/>
                  </a:cubicBezTo>
                  <a:close/>
                  <a:moveTo>
                    <a:pt x="1530841" y="7522877"/>
                  </a:moveTo>
                  <a:cubicBezTo>
                    <a:pt x="1535790" y="7522877"/>
                    <a:pt x="1539802" y="7526888"/>
                    <a:pt x="1539802" y="7531837"/>
                  </a:cubicBezTo>
                  <a:cubicBezTo>
                    <a:pt x="1539802" y="7536786"/>
                    <a:pt x="1535790" y="7540798"/>
                    <a:pt x="1530841" y="7540798"/>
                  </a:cubicBezTo>
                  <a:cubicBezTo>
                    <a:pt x="1525892" y="7540798"/>
                    <a:pt x="1521880" y="7536786"/>
                    <a:pt x="1521880" y="7531837"/>
                  </a:cubicBezTo>
                  <a:cubicBezTo>
                    <a:pt x="1521880" y="7526888"/>
                    <a:pt x="1525892" y="7522877"/>
                    <a:pt x="1530841" y="7522877"/>
                  </a:cubicBezTo>
                  <a:close/>
                  <a:moveTo>
                    <a:pt x="1362096" y="7522877"/>
                  </a:moveTo>
                  <a:cubicBezTo>
                    <a:pt x="1367046" y="7522877"/>
                    <a:pt x="1371056" y="7526888"/>
                    <a:pt x="1371056" y="7531837"/>
                  </a:cubicBezTo>
                  <a:cubicBezTo>
                    <a:pt x="1371056" y="7536786"/>
                    <a:pt x="1367046" y="7540798"/>
                    <a:pt x="1362096" y="7540798"/>
                  </a:cubicBezTo>
                  <a:cubicBezTo>
                    <a:pt x="1357147" y="7540798"/>
                    <a:pt x="1353135" y="7536786"/>
                    <a:pt x="1353135" y="7531837"/>
                  </a:cubicBezTo>
                  <a:cubicBezTo>
                    <a:pt x="1353135" y="7526888"/>
                    <a:pt x="1357147" y="7522877"/>
                    <a:pt x="1362096" y="7522877"/>
                  </a:cubicBezTo>
                  <a:close/>
                  <a:moveTo>
                    <a:pt x="1193355" y="7522877"/>
                  </a:moveTo>
                  <a:cubicBezTo>
                    <a:pt x="1198303" y="7522877"/>
                    <a:pt x="1202315" y="7526888"/>
                    <a:pt x="1202315" y="7531837"/>
                  </a:cubicBezTo>
                  <a:cubicBezTo>
                    <a:pt x="1202315" y="7536786"/>
                    <a:pt x="1198303" y="7540798"/>
                    <a:pt x="1193355" y="7540798"/>
                  </a:cubicBezTo>
                  <a:cubicBezTo>
                    <a:pt x="1188406" y="7540798"/>
                    <a:pt x="1184396" y="7536786"/>
                    <a:pt x="1184396" y="7531837"/>
                  </a:cubicBezTo>
                  <a:cubicBezTo>
                    <a:pt x="1184396" y="7526888"/>
                    <a:pt x="1188406" y="7522877"/>
                    <a:pt x="1193355" y="7522877"/>
                  </a:cubicBezTo>
                  <a:close/>
                  <a:moveTo>
                    <a:pt x="1024610" y="7522877"/>
                  </a:moveTo>
                  <a:cubicBezTo>
                    <a:pt x="1029559" y="7522877"/>
                    <a:pt x="1033573" y="7526888"/>
                    <a:pt x="1033573" y="7531837"/>
                  </a:cubicBezTo>
                  <a:cubicBezTo>
                    <a:pt x="1033573" y="7536786"/>
                    <a:pt x="1029559" y="7540798"/>
                    <a:pt x="1024610" y="7540798"/>
                  </a:cubicBezTo>
                  <a:cubicBezTo>
                    <a:pt x="1019661" y="7540798"/>
                    <a:pt x="1015651" y="7536786"/>
                    <a:pt x="1015651" y="7531837"/>
                  </a:cubicBezTo>
                  <a:cubicBezTo>
                    <a:pt x="1015651" y="7526888"/>
                    <a:pt x="1019661" y="7522877"/>
                    <a:pt x="1024610" y="7522877"/>
                  </a:cubicBezTo>
                  <a:close/>
                  <a:moveTo>
                    <a:pt x="855873" y="7522877"/>
                  </a:moveTo>
                  <a:cubicBezTo>
                    <a:pt x="860821" y="7522877"/>
                    <a:pt x="864833" y="7526888"/>
                    <a:pt x="864833" y="7531837"/>
                  </a:cubicBezTo>
                  <a:cubicBezTo>
                    <a:pt x="864833" y="7536786"/>
                    <a:pt x="860821" y="7540798"/>
                    <a:pt x="855873" y="7540798"/>
                  </a:cubicBezTo>
                  <a:cubicBezTo>
                    <a:pt x="850925" y="7540798"/>
                    <a:pt x="846913" y="7536786"/>
                    <a:pt x="846913" y="7531837"/>
                  </a:cubicBezTo>
                  <a:cubicBezTo>
                    <a:pt x="846913" y="7526888"/>
                    <a:pt x="850925" y="7522877"/>
                    <a:pt x="855873" y="7522877"/>
                  </a:cubicBezTo>
                  <a:close/>
                  <a:moveTo>
                    <a:pt x="687132" y="7522877"/>
                  </a:moveTo>
                  <a:cubicBezTo>
                    <a:pt x="692080" y="7522877"/>
                    <a:pt x="696092" y="7526888"/>
                    <a:pt x="696092" y="7531837"/>
                  </a:cubicBezTo>
                  <a:cubicBezTo>
                    <a:pt x="696092" y="7536786"/>
                    <a:pt x="692080" y="7540798"/>
                    <a:pt x="687132" y="7540798"/>
                  </a:cubicBezTo>
                  <a:cubicBezTo>
                    <a:pt x="682183" y="7540798"/>
                    <a:pt x="678172" y="7536786"/>
                    <a:pt x="678172" y="7531837"/>
                  </a:cubicBezTo>
                  <a:cubicBezTo>
                    <a:pt x="678172" y="7526888"/>
                    <a:pt x="682183" y="7522877"/>
                    <a:pt x="687132" y="7522877"/>
                  </a:cubicBezTo>
                  <a:close/>
                  <a:moveTo>
                    <a:pt x="518381" y="7522877"/>
                  </a:moveTo>
                  <a:cubicBezTo>
                    <a:pt x="523330" y="7522877"/>
                    <a:pt x="527342" y="7526888"/>
                    <a:pt x="527342" y="7531837"/>
                  </a:cubicBezTo>
                  <a:cubicBezTo>
                    <a:pt x="527342" y="7536786"/>
                    <a:pt x="523330" y="7540798"/>
                    <a:pt x="518381" y="7540798"/>
                  </a:cubicBezTo>
                  <a:cubicBezTo>
                    <a:pt x="513432" y="7540798"/>
                    <a:pt x="509421" y="7536786"/>
                    <a:pt x="509421" y="7531837"/>
                  </a:cubicBezTo>
                  <a:cubicBezTo>
                    <a:pt x="509421" y="7526888"/>
                    <a:pt x="513432" y="7522877"/>
                    <a:pt x="518381" y="7522877"/>
                  </a:cubicBezTo>
                  <a:close/>
                  <a:moveTo>
                    <a:pt x="349641" y="7522877"/>
                  </a:moveTo>
                  <a:cubicBezTo>
                    <a:pt x="354590" y="7522877"/>
                    <a:pt x="358602" y="7526888"/>
                    <a:pt x="358602" y="7531837"/>
                  </a:cubicBezTo>
                  <a:cubicBezTo>
                    <a:pt x="358602" y="7536786"/>
                    <a:pt x="354590" y="7540798"/>
                    <a:pt x="349641" y="7540798"/>
                  </a:cubicBezTo>
                  <a:cubicBezTo>
                    <a:pt x="344693" y="7540798"/>
                    <a:pt x="340681" y="7536786"/>
                    <a:pt x="340681" y="7531837"/>
                  </a:cubicBezTo>
                  <a:cubicBezTo>
                    <a:pt x="340681" y="7526888"/>
                    <a:pt x="344693" y="7522877"/>
                    <a:pt x="349641" y="7522877"/>
                  </a:cubicBezTo>
                  <a:close/>
                  <a:moveTo>
                    <a:pt x="179321" y="7522877"/>
                  </a:moveTo>
                  <a:cubicBezTo>
                    <a:pt x="184270" y="7522877"/>
                    <a:pt x="188282" y="7526888"/>
                    <a:pt x="188282" y="7531837"/>
                  </a:cubicBezTo>
                  <a:cubicBezTo>
                    <a:pt x="188282" y="7536786"/>
                    <a:pt x="184270" y="7540798"/>
                    <a:pt x="179321" y="7540798"/>
                  </a:cubicBezTo>
                  <a:cubicBezTo>
                    <a:pt x="174373" y="7540798"/>
                    <a:pt x="170361" y="7536786"/>
                    <a:pt x="170361" y="7531837"/>
                  </a:cubicBezTo>
                  <a:cubicBezTo>
                    <a:pt x="170361" y="7526888"/>
                    <a:pt x="174373" y="7522877"/>
                    <a:pt x="179321" y="7522877"/>
                  </a:cubicBezTo>
                  <a:close/>
                  <a:moveTo>
                    <a:pt x="9002" y="7522877"/>
                  </a:moveTo>
                  <a:cubicBezTo>
                    <a:pt x="13950" y="7522877"/>
                    <a:pt x="17962" y="7526888"/>
                    <a:pt x="17962" y="7531837"/>
                  </a:cubicBezTo>
                  <a:cubicBezTo>
                    <a:pt x="17962" y="7536786"/>
                    <a:pt x="13950" y="7540798"/>
                    <a:pt x="9002" y="7540798"/>
                  </a:cubicBezTo>
                  <a:cubicBezTo>
                    <a:pt x="4053" y="7540798"/>
                    <a:pt x="41" y="7536786"/>
                    <a:pt x="41" y="7531837"/>
                  </a:cubicBezTo>
                  <a:cubicBezTo>
                    <a:pt x="41" y="7526888"/>
                    <a:pt x="4053" y="7522877"/>
                    <a:pt x="9002" y="7522877"/>
                  </a:cubicBezTo>
                  <a:close/>
                  <a:moveTo>
                    <a:pt x="6933679" y="7351896"/>
                  </a:moveTo>
                  <a:cubicBezTo>
                    <a:pt x="6938628" y="7351896"/>
                    <a:pt x="6942639" y="7355907"/>
                    <a:pt x="6942639" y="7360856"/>
                  </a:cubicBezTo>
                  <a:cubicBezTo>
                    <a:pt x="6942639" y="7365805"/>
                    <a:pt x="6938628" y="7369817"/>
                    <a:pt x="6933679" y="7369817"/>
                  </a:cubicBezTo>
                  <a:cubicBezTo>
                    <a:pt x="6928730" y="7369817"/>
                    <a:pt x="6924718" y="7365805"/>
                    <a:pt x="6924718" y="7360856"/>
                  </a:cubicBezTo>
                  <a:cubicBezTo>
                    <a:pt x="6924718" y="7355907"/>
                    <a:pt x="6928730" y="7351896"/>
                    <a:pt x="6933679" y="7351896"/>
                  </a:cubicBezTo>
                  <a:close/>
                  <a:moveTo>
                    <a:pt x="6763357" y="7351896"/>
                  </a:moveTo>
                  <a:cubicBezTo>
                    <a:pt x="6768306" y="7351896"/>
                    <a:pt x="6772318" y="7355907"/>
                    <a:pt x="6772318" y="7360856"/>
                  </a:cubicBezTo>
                  <a:cubicBezTo>
                    <a:pt x="6772318" y="7365805"/>
                    <a:pt x="6768306" y="7369817"/>
                    <a:pt x="6763357" y="7369817"/>
                  </a:cubicBezTo>
                  <a:cubicBezTo>
                    <a:pt x="6758408" y="7369817"/>
                    <a:pt x="6754397" y="7365805"/>
                    <a:pt x="6754397" y="7360856"/>
                  </a:cubicBezTo>
                  <a:cubicBezTo>
                    <a:pt x="6754397" y="7355907"/>
                    <a:pt x="6758408" y="7351896"/>
                    <a:pt x="6763357" y="7351896"/>
                  </a:cubicBezTo>
                  <a:close/>
                  <a:moveTo>
                    <a:pt x="6593035" y="7351896"/>
                  </a:moveTo>
                  <a:cubicBezTo>
                    <a:pt x="6597984" y="7351896"/>
                    <a:pt x="6601996" y="7355907"/>
                    <a:pt x="6601996" y="7360856"/>
                  </a:cubicBezTo>
                  <a:cubicBezTo>
                    <a:pt x="6601996" y="7365805"/>
                    <a:pt x="6597984" y="7369817"/>
                    <a:pt x="6593035" y="7369817"/>
                  </a:cubicBezTo>
                  <a:cubicBezTo>
                    <a:pt x="6588086" y="7369817"/>
                    <a:pt x="6584075" y="7365805"/>
                    <a:pt x="6584075" y="7360856"/>
                  </a:cubicBezTo>
                  <a:cubicBezTo>
                    <a:pt x="6584075" y="7355907"/>
                    <a:pt x="6588086" y="7351896"/>
                    <a:pt x="6593035" y="7351896"/>
                  </a:cubicBezTo>
                  <a:close/>
                  <a:moveTo>
                    <a:pt x="6424294" y="7351896"/>
                  </a:moveTo>
                  <a:cubicBezTo>
                    <a:pt x="6429243" y="7351896"/>
                    <a:pt x="6433255" y="7355907"/>
                    <a:pt x="6433255" y="7360856"/>
                  </a:cubicBezTo>
                  <a:cubicBezTo>
                    <a:pt x="6433255" y="7365805"/>
                    <a:pt x="6429243" y="7369817"/>
                    <a:pt x="6424294" y="7369817"/>
                  </a:cubicBezTo>
                  <a:cubicBezTo>
                    <a:pt x="6419345" y="7369817"/>
                    <a:pt x="6415334" y="7365805"/>
                    <a:pt x="6415334" y="7360856"/>
                  </a:cubicBezTo>
                  <a:cubicBezTo>
                    <a:pt x="6415334" y="7355907"/>
                    <a:pt x="6419345" y="7351896"/>
                    <a:pt x="6424294" y="7351896"/>
                  </a:cubicBezTo>
                  <a:close/>
                  <a:moveTo>
                    <a:pt x="6255553" y="7351896"/>
                  </a:moveTo>
                  <a:cubicBezTo>
                    <a:pt x="6260502" y="7351896"/>
                    <a:pt x="6264514" y="7355907"/>
                    <a:pt x="6264514" y="7360856"/>
                  </a:cubicBezTo>
                  <a:cubicBezTo>
                    <a:pt x="6264514" y="7365805"/>
                    <a:pt x="6260502" y="7369817"/>
                    <a:pt x="6255553" y="7369817"/>
                  </a:cubicBezTo>
                  <a:cubicBezTo>
                    <a:pt x="6250604" y="7369817"/>
                    <a:pt x="6246593" y="7365805"/>
                    <a:pt x="6246593" y="7360856"/>
                  </a:cubicBezTo>
                  <a:cubicBezTo>
                    <a:pt x="6246593" y="7355907"/>
                    <a:pt x="6250604" y="7351896"/>
                    <a:pt x="6255553" y="7351896"/>
                  </a:cubicBezTo>
                  <a:close/>
                  <a:moveTo>
                    <a:pt x="6086811" y="7351896"/>
                  </a:moveTo>
                  <a:cubicBezTo>
                    <a:pt x="6091760" y="7351896"/>
                    <a:pt x="6095772" y="7355907"/>
                    <a:pt x="6095772" y="7360856"/>
                  </a:cubicBezTo>
                  <a:cubicBezTo>
                    <a:pt x="6095772" y="7365805"/>
                    <a:pt x="6091760" y="7369817"/>
                    <a:pt x="6086811" y="7369817"/>
                  </a:cubicBezTo>
                  <a:cubicBezTo>
                    <a:pt x="6081862" y="7369817"/>
                    <a:pt x="6077851" y="7365805"/>
                    <a:pt x="6077851" y="7360856"/>
                  </a:cubicBezTo>
                  <a:cubicBezTo>
                    <a:pt x="6077851" y="7355907"/>
                    <a:pt x="6081862" y="7351896"/>
                    <a:pt x="6086811" y="7351896"/>
                  </a:cubicBezTo>
                  <a:close/>
                  <a:moveTo>
                    <a:pt x="5918069" y="7351896"/>
                  </a:moveTo>
                  <a:cubicBezTo>
                    <a:pt x="5923018" y="7351896"/>
                    <a:pt x="5927030" y="7355907"/>
                    <a:pt x="5927030" y="7360856"/>
                  </a:cubicBezTo>
                  <a:cubicBezTo>
                    <a:pt x="5927030" y="7365805"/>
                    <a:pt x="5923018" y="7369817"/>
                    <a:pt x="5918069" y="7369817"/>
                  </a:cubicBezTo>
                  <a:cubicBezTo>
                    <a:pt x="5913120" y="7369817"/>
                    <a:pt x="5909109" y="7365805"/>
                    <a:pt x="5909109" y="7360856"/>
                  </a:cubicBezTo>
                  <a:cubicBezTo>
                    <a:pt x="5909109" y="7355907"/>
                    <a:pt x="5913120" y="7351896"/>
                    <a:pt x="5918069" y="7351896"/>
                  </a:cubicBezTo>
                  <a:close/>
                  <a:moveTo>
                    <a:pt x="5749328" y="7351896"/>
                  </a:moveTo>
                  <a:cubicBezTo>
                    <a:pt x="5754277" y="7351896"/>
                    <a:pt x="5758289" y="7355907"/>
                    <a:pt x="5758289" y="7360856"/>
                  </a:cubicBezTo>
                  <a:cubicBezTo>
                    <a:pt x="5758289" y="7365805"/>
                    <a:pt x="5754277" y="7369817"/>
                    <a:pt x="5749328" y="7369817"/>
                  </a:cubicBezTo>
                  <a:cubicBezTo>
                    <a:pt x="5744379" y="7369817"/>
                    <a:pt x="5740368" y="7365805"/>
                    <a:pt x="5740368" y="7360856"/>
                  </a:cubicBezTo>
                  <a:cubicBezTo>
                    <a:pt x="5740368" y="7355907"/>
                    <a:pt x="5744379" y="7351896"/>
                    <a:pt x="5749328" y="7351896"/>
                  </a:cubicBezTo>
                  <a:close/>
                  <a:moveTo>
                    <a:pt x="5580586" y="7351896"/>
                  </a:moveTo>
                  <a:cubicBezTo>
                    <a:pt x="5585535" y="7351896"/>
                    <a:pt x="5589547" y="7355907"/>
                    <a:pt x="5589547" y="7360856"/>
                  </a:cubicBezTo>
                  <a:cubicBezTo>
                    <a:pt x="5589547" y="7365805"/>
                    <a:pt x="5585535" y="7369817"/>
                    <a:pt x="5580586" y="7369817"/>
                  </a:cubicBezTo>
                  <a:cubicBezTo>
                    <a:pt x="5575637" y="7369817"/>
                    <a:pt x="5571626" y="7365805"/>
                    <a:pt x="5571626" y="7360856"/>
                  </a:cubicBezTo>
                  <a:cubicBezTo>
                    <a:pt x="5571626" y="7355907"/>
                    <a:pt x="5575637" y="7351896"/>
                    <a:pt x="5580586" y="7351896"/>
                  </a:cubicBezTo>
                  <a:close/>
                  <a:moveTo>
                    <a:pt x="5411845" y="7351896"/>
                  </a:moveTo>
                  <a:cubicBezTo>
                    <a:pt x="5416794" y="7351896"/>
                    <a:pt x="5420806" y="7355907"/>
                    <a:pt x="5420806" y="7360856"/>
                  </a:cubicBezTo>
                  <a:cubicBezTo>
                    <a:pt x="5420806" y="7365805"/>
                    <a:pt x="5416794" y="7369817"/>
                    <a:pt x="5411845" y="7369817"/>
                  </a:cubicBezTo>
                  <a:cubicBezTo>
                    <a:pt x="5406896" y="7369817"/>
                    <a:pt x="5402885" y="7365805"/>
                    <a:pt x="5402885" y="7360856"/>
                  </a:cubicBezTo>
                  <a:cubicBezTo>
                    <a:pt x="5402885" y="7355907"/>
                    <a:pt x="5406896" y="7351896"/>
                    <a:pt x="5411845" y="7351896"/>
                  </a:cubicBezTo>
                  <a:close/>
                  <a:moveTo>
                    <a:pt x="5243103" y="7351896"/>
                  </a:moveTo>
                  <a:cubicBezTo>
                    <a:pt x="5248052" y="7351896"/>
                    <a:pt x="5252064" y="7355907"/>
                    <a:pt x="5252064" y="7360856"/>
                  </a:cubicBezTo>
                  <a:cubicBezTo>
                    <a:pt x="5252064" y="7365805"/>
                    <a:pt x="5248052" y="7369817"/>
                    <a:pt x="5243103" y="7369817"/>
                  </a:cubicBezTo>
                  <a:cubicBezTo>
                    <a:pt x="5238154" y="7369817"/>
                    <a:pt x="5234143" y="7365805"/>
                    <a:pt x="5234143" y="7360856"/>
                  </a:cubicBezTo>
                  <a:cubicBezTo>
                    <a:pt x="5234143" y="7355907"/>
                    <a:pt x="5238154" y="7351896"/>
                    <a:pt x="5243103" y="7351896"/>
                  </a:cubicBezTo>
                  <a:close/>
                  <a:moveTo>
                    <a:pt x="5074362" y="7351896"/>
                  </a:moveTo>
                  <a:cubicBezTo>
                    <a:pt x="5079311" y="7351896"/>
                    <a:pt x="5083323" y="7355907"/>
                    <a:pt x="5083323" y="7360856"/>
                  </a:cubicBezTo>
                  <a:cubicBezTo>
                    <a:pt x="5083323" y="7365805"/>
                    <a:pt x="5079311" y="7369817"/>
                    <a:pt x="5074362" y="7369817"/>
                  </a:cubicBezTo>
                  <a:cubicBezTo>
                    <a:pt x="5069413" y="7369817"/>
                    <a:pt x="5065402" y="7365805"/>
                    <a:pt x="5065402" y="7360856"/>
                  </a:cubicBezTo>
                  <a:cubicBezTo>
                    <a:pt x="5065402" y="7355907"/>
                    <a:pt x="5069413" y="7351896"/>
                    <a:pt x="5074362" y="7351896"/>
                  </a:cubicBezTo>
                  <a:close/>
                  <a:moveTo>
                    <a:pt x="4905620" y="7351896"/>
                  </a:moveTo>
                  <a:cubicBezTo>
                    <a:pt x="4910569" y="7351896"/>
                    <a:pt x="4914581" y="7355907"/>
                    <a:pt x="4914581" y="7360856"/>
                  </a:cubicBezTo>
                  <a:cubicBezTo>
                    <a:pt x="4914581" y="7365805"/>
                    <a:pt x="4910569" y="7369817"/>
                    <a:pt x="4905620" y="7369817"/>
                  </a:cubicBezTo>
                  <a:cubicBezTo>
                    <a:pt x="4900671" y="7369817"/>
                    <a:pt x="4896660" y="7365805"/>
                    <a:pt x="4896660" y="7360856"/>
                  </a:cubicBezTo>
                  <a:cubicBezTo>
                    <a:pt x="4896660" y="7355907"/>
                    <a:pt x="4900671" y="7351896"/>
                    <a:pt x="4905620" y="7351896"/>
                  </a:cubicBezTo>
                  <a:close/>
                  <a:moveTo>
                    <a:pt x="4736878" y="7351896"/>
                  </a:moveTo>
                  <a:cubicBezTo>
                    <a:pt x="4741827" y="7351896"/>
                    <a:pt x="4745839" y="7355907"/>
                    <a:pt x="4745839" y="7360856"/>
                  </a:cubicBezTo>
                  <a:cubicBezTo>
                    <a:pt x="4745839" y="7365805"/>
                    <a:pt x="4741827" y="7369817"/>
                    <a:pt x="4736878" y="7369817"/>
                  </a:cubicBezTo>
                  <a:cubicBezTo>
                    <a:pt x="4731929" y="7369817"/>
                    <a:pt x="4727918" y="7365805"/>
                    <a:pt x="4727918" y="7360856"/>
                  </a:cubicBezTo>
                  <a:cubicBezTo>
                    <a:pt x="4727918" y="7355907"/>
                    <a:pt x="4731929" y="7351896"/>
                    <a:pt x="4736878" y="7351896"/>
                  </a:cubicBezTo>
                  <a:close/>
                  <a:moveTo>
                    <a:pt x="4568137" y="7351896"/>
                  </a:moveTo>
                  <a:cubicBezTo>
                    <a:pt x="4573086" y="7351896"/>
                    <a:pt x="4577098" y="7355907"/>
                    <a:pt x="4577098" y="7360856"/>
                  </a:cubicBezTo>
                  <a:cubicBezTo>
                    <a:pt x="4577098" y="7365805"/>
                    <a:pt x="4573086" y="7369817"/>
                    <a:pt x="4568137" y="7369817"/>
                  </a:cubicBezTo>
                  <a:cubicBezTo>
                    <a:pt x="4563188" y="7369817"/>
                    <a:pt x="4559177" y="7365805"/>
                    <a:pt x="4559177" y="7360856"/>
                  </a:cubicBezTo>
                  <a:cubicBezTo>
                    <a:pt x="4559177" y="7355907"/>
                    <a:pt x="4563188" y="7351896"/>
                    <a:pt x="4568137" y="7351896"/>
                  </a:cubicBezTo>
                  <a:close/>
                  <a:moveTo>
                    <a:pt x="4399396" y="7351896"/>
                  </a:moveTo>
                  <a:cubicBezTo>
                    <a:pt x="4404345" y="7351896"/>
                    <a:pt x="4408357" y="7355907"/>
                    <a:pt x="4408357" y="7360856"/>
                  </a:cubicBezTo>
                  <a:cubicBezTo>
                    <a:pt x="4408357" y="7365805"/>
                    <a:pt x="4404345" y="7369817"/>
                    <a:pt x="4399396" y="7369817"/>
                  </a:cubicBezTo>
                  <a:cubicBezTo>
                    <a:pt x="4394447" y="7369817"/>
                    <a:pt x="4390436" y="7365805"/>
                    <a:pt x="4390436" y="7360856"/>
                  </a:cubicBezTo>
                  <a:cubicBezTo>
                    <a:pt x="4390436" y="7355907"/>
                    <a:pt x="4394447" y="7351896"/>
                    <a:pt x="4399396" y="7351896"/>
                  </a:cubicBezTo>
                  <a:close/>
                  <a:moveTo>
                    <a:pt x="4230654" y="7351896"/>
                  </a:moveTo>
                  <a:cubicBezTo>
                    <a:pt x="4235603" y="7351896"/>
                    <a:pt x="4239615" y="7355907"/>
                    <a:pt x="4239615" y="7360856"/>
                  </a:cubicBezTo>
                  <a:cubicBezTo>
                    <a:pt x="4239615" y="7365805"/>
                    <a:pt x="4235603" y="7369817"/>
                    <a:pt x="4230654" y="7369817"/>
                  </a:cubicBezTo>
                  <a:cubicBezTo>
                    <a:pt x="4225705" y="7369817"/>
                    <a:pt x="4221694" y="7365805"/>
                    <a:pt x="4221694" y="7360856"/>
                  </a:cubicBezTo>
                  <a:cubicBezTo>
                    <a:pt x="4221694" y="7355907"/>
                    <a:pt x="4225705" y="7351896"/>
                    <a:pt x="4230654" y="7351896"/>
                  </a:cubicBezTo>
                  <a:close/>
                  <a:moveTo>
                    <a:pt x="4061912" y="7351896"/>
                  </a:moveTo>
                  <a:cubicBezTo>
                    <a:pt x="4066861" y="7351896"/>
                    <a:pt x="4070873" y="7355907"/>
                    <a:pt x="4070873" y="7360856"/>
                  </a:cubicBezTo>
                  <a:cubicBezTo>
                    <a:pt x="4070873" y="7365805"/>
                    <a:pt x="4066861" y="7369817"/>
                    <a:pt x="4061912" y="7369817"/>
                  </a:cubicBezTo>
                  <a:cubicBezTo>
                    <a:pt x="4056963" y="7369817"/>
                    <a:pt x="4052952" y="7365805"/>
                    <a:pt x="4052952" y="7360856"/>
                  </a:cubicBezTo>
                  <a:cubicBezTo>
                    <a:pt x="4052952" y="7355907"/>
                    <a:pt x="4056963" y="7351896"/>
                    <a:pt x="4061912" y="7351896"/>
                  </a:cubicBezTo>
                  <a:close/>
                  <a:moveTo>
                    <a:pt x="3893170" y="7351896"/>
                  </a:moveTo>
                  <a:cubicBezTo>
                    <a:pt x="3898119" y="7351896"/>
                    <a:pt x="3902131" y="7355907"/>
                    <a:pt x="3902131" y="7360856"/>
                  </a:cubicBezTo>
                  <a:cubicBezTo>
                    <a:pt x="3902131" y="7365805"/>
                    <a:pt x="3898119" y="7369817"/>
                    <a:pt x="3893170" y="7369817"/>
                  </a:cubicBezTo>
                  <a:cubicBezTo>
                    <a:pt x="3888221" y="7369817"/>
                    <a:pt x="3884210" y="7365805"/>
                    <a:pt x="3884210" y="7360856"/>
                  </a:cubicBezTo>
                  <a:cubicBezTo>
                    <a:pt x="3884210" y="7355907"/>
                    <a:pt x="3888221" y="7351896"/>
                    <a:pt x="3893170" y="7351896"/>
                  </a:cubicBezTo>
                  <a:close/>
                  <a:moveTo>
                    <a:pt x="3724429" y="7351896"/>
                  </a:moveTo>
                  <a:cubicBezTo>
                    <a:pt x="3729378" y="7351896"/>
                    <a:pt x="3733390" y="7355907"/>
                    <a:pt x="3733390" y="7360856"/>
                  </a:cubicBezTo>
                  <a:cubicBezTo>
                    <a:pt x="3733390" y="7365805"/>
                    <a:pt x="3729378" y="7369817"/>
                    <a:pt x="3724429" y="7369817"/>
                  </a:cubicBezTo>
                  <a:cubicBezTo>
                    <a:pt x="3719481" y="7369817"/>
                    <a:pt x="3715469" y="7365805"/>
                    <a:pt x="3715469" y="7360856"/>
                  </a:cubicBezTo>
                  <a:cubicBezTo>
                    <a:pt x="3715469" y="7355907"/>
                    <a:pt x="3719481" y="7351896"/>
                    <a:pt x="3724429" y="7351896"/>
                  </a:cubicBezTo>
                  <a:close/>
                  <a:moveTo>
                    <a:pt x="3555688" y="7351896"/>
                  </a:moveTo>
                  <a:cubicBezTo>
                    <a:pt x="3560637" y="7351896"/>
                    <a:pt x="3564649" y="7355907"/>
                    <a:pt x="3564649" y="7360856"/>
                  </a:cubicBezTo>
                  <a:cubicBezTo>
                    <a:pt x="3564649" y="7365805"/>
                    <a:pt x="3560637" y="7369817"/>
                    <a:pt x="3555688" y="7369817"/>
                  </a:cubicBezTo>
                  <a:cubicBezTo>
                    <a:pt x="3550740" y="7369817"/>
                    <a:pt x="3546728" y="7365805"/>
                    <a:pt x="3546728" y="7360856"/>
                  </a:cubicBezTo>
                  <a:cubicBezTo>
                    <a:pt x="3546728" y="7355907"/>
                    <a:pt x="3550740" y="7351896"/>
                    <a:pt x="3555688" y="7351896"/>
                  </a:cubicBezTo>
                  <a:close/>
                  <a:moveTo>
                    <a:pt x="3386981" y="7351896"/>
                  </a:moveTo>
                  <a:cubicBezTo>
                    <a:pt x="3391929" y="7351896"/>
                    <a:pt x="3395941" y="7355907"/>
                    <a:pt x="3395941" y="7360856"/>
                  </a:cubicBezTo>
                  <a:cubicBezTo>
                    <a:pt x="3395941" y="7365805"/>
                    <a:pt x="3391929" y="7369817"/>
                    <a:pt x="3386981" y="7369817"/>
                  </a:cubicBezTo>
                  <a:cubicBezTo>
                    <a:pt x="3382016" y="7369817"/>
                    <a:pt x="3378003" y="7365805"/>
                    <a:pt x="3378003" y="7360856"/>
                  </a:cubicBezTo>
                  <a:cubicBezTo>
                    <a:pt x="3378003" y="7355907"/>
                    <a:pt x="3382016" y="7351896"/>
                    <a:pt x="3386981" y="7351896"/>
                  </a:cubicBezTo>
                  <a:close/>
                  <a:moveTo>
                    <a:pt x="3218228" y="7351896"/>
                  </a:moveTo>
                  <a:cubicBezTo>
                    <a:pt x="3223185" y="7351896"/>
                    <a:pt x="3227198" y="7355907"/>
                    <a:pt x="3227198" y="7360856"/>
                  </a:cubicBezTo>
                  <a:cubicBezTo>
                    <a:pt x="3227198" y="7365805"/>
                    <a:pt x="3223185" y="7369817"/>
                    <a:pt x="3218228" y="7369817"/>
                  </a:cubicBezTo>
                  <a:cubicBezTo>
                    <a:pt x="3213280" y="7369817"/>
                    <a:pt x="3209271" y="7365805"/>
                    <a:pt x="3209271" y="7360856"/>
                  </a:cubicBezTo>
                  <a:cubicBezTo>
                    <a:pt x="3209271" y="7355907"/>
                    <a:pt x="3213280" y="7351896"/>
                    <a:pt x="3218228" y="7351896"/>
                  </a:cubicBezTo>
                  <a:close/>
                  <a:moveTo>
                    <a:pt x="3049513" y="7351896"/>
                  </a:moveTo>
                  <a:cubicBezTo>
                    <a:pt x="3054447" y="7351896"/>
                    <a:pt x="3058460" y="7355907"/>
                    <a:pt x="3058460" y="7360856"/>
                  </a:cubicBezTo>
                  <a:cubicBezTo>
                    <a:pt x="3058460" y="7365805"/>
                    <a:pt x="3054447" y="7369817"/>
                    <a:pt x="3049513" y="7369817"/>
                  </a:cubicBezTo>
                  <a:cubicBezTo>
                    <a:pt x="3044550" y="7369817"/>
                    <a:pt x="3040538" y="7365805"/>
                    <a:pt x="3040538" y="7360856"/>
                  </a:cubicBezTo>
                  <a:cubicBezTo>
                    <a:pt x="3040538" y="7355907"/>
                    <a:pt x="3044550" y="7351896"/>
                    <a:pt x="3049513" y="7351896"/>
                  </a:cubicBezTo>
                  <a:close/>
                  <a:moveTo>
                    <a:pt x="2880768" y="7351896"/>
                  </a:moveTo>
                  <a:cubicBezTo>
                    <a:pt x="2885714" y="7351896"/>
                    <a:pt x="2889726" y="7355907"/>
                    <a:pt x="2889726" y="7360856"/>
                  </a:cubicBezTo>
                  <a:cubicBezTo>
                    <a:pt x="2889726" y="7365805"/>
                    <a:pt x="2885714" y="7369817"/>
                    <a:pt x="2880768" y="7369817"/>
                  </a:cubicBezTo>
                  <a:cubicBezTo>
                    <a:pt x="2875815" y="7369817"/>
                    <a:pt x="2871806" y="7365805"/>
                    <a:pt x="2871806" y="7360856"/>
                  </a:cubicBezTo>
                  <a:cubicBezTo>
                    <a:pt x="2871806" y="7355907"/>
                    <a:pt x="2875815" y="7351896"/>
                    <a:pt x="2880768" y="7351896"/>
                  </a:cubicBezTo>
                  <a:close/>
                  <a:moveTo>
                    <a:pt x="2712017" y="7351896"/>
                  </a:moveTo>
                  <a:cubicBezTo>
                    <a:pt x="2716975" y="7351896"/>
                    <a:pt x="2720993" y="7355907"/>
                    <a:pt x="2720993" y="7360856"/>
                  </a:cubicBezTo>
                  <a:cubicBezTo>
                    <a:pt x="2720993" y="7365805"/>
                    <a:pt x="2716975" y="7369817"/>
                    <a:pt x="2712017" y="7369817"/>
                  </a:cubicBezTo>
                  <a:cubicBezTo>
                    <a:pt x="2707072" y="7369817"/>
                    <a:pt x="2703062" y="7365805"/>
                    <a:pt x="2703062" y="7360856"/>
                  </a:cubicBezTo>
                  <a:cubicBezTo>
                    <a:pt x="2703062" y="7355907"/>
                    <a:pt x="2707072" y="7351896"/>
                    <a:pt x="2712017" y="7351896"/>
                  </a:cubicBezTo>
                  <a:close/>
                  <a:moveTo>
                    <a:pt x="2543289" y="7351896"/>
                  </a:moveTo>
                  <a:cubicBezTo>
                    <a:pt x="2548244" y="7351896"/>
                    <a:pt x="2552254" y="7355907"/>
                    <a:pt x="2552254" y="7360856"/>
                  </a:cubicBezTo>
                  <a:cubicBezTo>
                    <a:pt x="2552254" y="7365805"/>
                    <a:pt x="2548244" y="7369817"/>
                    <a:pt x="2543289" y="7369817"/>
                  </a:cubicBezTo>
                  <a:cubicBezTo>
                    <a:pt x="2538340" y="7369817"/>
                    <a:pt x="2534329" y="7365805"/>
                    <a:pt x="2534329" y="7360856"/>
                  </a:cubicBezTo>
                  <a:cubicBezTo>
                    <a:pt x="2534329" y="7355907"/>
                    <a:pt x="2538340" y="7351896"/>
                    <a:pt x="2543289" y="7351896"/>
                  </a:cubicBezTo>
                  <a:close/>
                  <a:moveTo>
                    <a:pt x="2374535" y="7351896"/>
                  </a:moveTo>
                  <a:cubicBezTo>
                    <a:pt x="2379488" y="7351896"/>
                    <a:pt x="2383510" y="7355907"/>
                    <a:pt x="2383510" y="7360856"/>
                  </a:cubicBezTo>
                  <a:cubicBezTo>
                    <a:pt x="2383510" y="7365805"/>
                    <a:pt x="2379488" y="7369817"/>
                    <a:pt x="2374535" y="7369817"/>
                  </a:cubicBezTo>
                  <a:cubicBezTo>
                    <a:pt x="2369585" y="7369817"/>
                    <a:pt x="2365572" y="7365805"/>
                    <a:pt x="2365572" y="7360856"/>
                  </a:cubicBezTo>
                  <a:cubicBezTo>
                    <a:pt x="2365572" y="7355907"/>
                    <a:pt x="2369585" y="7351896"/>
                    <a:pt x="2374535" y="7351896"/>
                  </a:cubicBezTo>
                  <a:close/>
                  <a:moveTo>
                    <a:pt x="2205805" y="7351896"/>
                  </a:moveTo>
                  <a:cubicBezTo>
                    <a:pt x="2210753" y="7351896"/>
                    <a:pt x="2214765" y="7355907"/>
                    <a:pt x="2214765" y="7360856"/>
                  </a:cubicBezTo>
                  <a:cubicBezTo>
                    <a:pt x="2214765" y="7365805"/>
                    <a:pt x="2210753" y="7369817"/>
                    <a:pt x="2205805" y="7369817"/>
                  </a:cubicBezTo>
                  <a:cubicBezTo>
                    <a:pt x="2200850" y="7369817"/>
                    <a:pt x="2196841" y="7365805"/>
                    <a:pt x="2196841" y="7360856"/>
                  </a:cubicBezTo>
                  <a:cubicBezTo>
                    <a:pt x="2196841" y="7355907"/>
                    <a:pt x="2200850" y="7351896"/>
                    <a:pt x="2205805" y="7351896"/>
                  </a:cubicBezTo>
                  <a:close/>
                  <a:moveTo>
                    <a:pt x="2037066" y="7351896"/>
                  </a:moveTo>
                  <a:cubicBezTo>
                    <a:pt x="2042013" y="7351896"/>
                    <a:pt x="2046022" y="7355907"/>
                    <a:pt x="2046022" y="7360856"/>
                  </a:cubicBezTo>
                  <a:cubicBezTo>
                    <a:pt x="2046022" y="7365805"/>
                    <a:pt x="2042013" y="7369817"/>
                    <a:pt x="2037066" y="7369817"/>
                  </a:cubicBezTo>
                  <a:cubicBezTo>
                    <a:pt x="2032116" y="7369817"/>
                    <a:pt x="2028109" y="7365805"/>
                    <a:pt x="2028109" y="7360856"/>
                  </a:cubicBezTo>
                  <a:cubicBezTo>
                    <a:pt x="2028109" y="7355907"/>
                    <a:pt x="2032116" y="7351896"/>
                    <a:pt x="2037066" y="7351896"/>
                  </a:cubicBezTo>
                  <a:close/>
                  <a:moveTo>
                    <a:pt x="1868333" y="7351896"/>
                  </a:moveTo>
                  <a:cubicBezTo>
                    <a:pt x="1873277" y="7351896"/>
                    <a:pt x="1877288" y="7355907"/>
                    <a:pt x="1877288" y="7360856"/>
                  </a:cubicBezTo>
                  <a:cubicBezTo>
                    <a:pt x="1877288" y="7365805"/>
                    <a:pt x="1873277" y="7369817"/>
                    <a:pt x="1868333" y="7369817"/>
                  </a:cubicBezTo>
                  <a:cubicBezTo>
                    <a:pt x="1863381" y="7369817"/>
                    <a:pt x="1859367" y="7365805"/>
                    <a:pt x="1859367" y="7360856"/>
                  </a:cubicBezTo>
                  <a:cubicBezTo>
                    <a:pt x="1859367" y="7355907"/>
                    <a:pt x="1863381" y="7351896"/>
                    <a:pt x="1868333" y="7351896"/>
                  </a:cubicBezTo>
                  <a:close/>
                  <a:moveTo>
                    <a:pt x="1699588" y="7351896"/>
                  </a:moveTo>
                  <a:cubicBezTo>
                    <a:pt x="1704538" y="7351896"/>
                    <a:pt x="1708550" y="7355907"/>
                    <a:pt x="1708550" y="7360856"/>
                  </a:cubicBezTo>
                  <a:cubicBezTo>
                    <a:pt x="1708550" y="7365805"/>
                    <a:pt x="1704538" y="7369817"/>
                    <a:pt x="1699588" y="7369817"/>
                  </a:cubicBezTo>
                  <a:cubicBezTo>
                    <a:pt x="1694636" y="7369817"/>
                    <a:pt x="1690625" y="7365805"/>
                    <a:pt x="1690625" y="7360856"/>
                  </a:cubicBezTo>
                  <a:cubicBezTo>
                    <a:pt x="1690625" y="7355907"/>
                    <a:pt x="1694636" y="7351896"/>
                    <a:pt x="1699588" y="7351896"/>
                  </a:cubicBezTo>
                  <a:close/>
                  <a:moveTo>
                    <a:pt x="1530845" y="7351896"/>
                  </a:moveTo>
                  <a:cubicBezTo>
                    <a:pt x="1535795" y="7351896"/>
                    <a:pt x="1539806" y="7355907"/>
                    <a:pt x="1539806" y="7360856"/>
                  </a:cubicBezTo>
                  <a:cubicBezTo>
                    <a:pt x="1539806" y="7365805"/>
                    <a:pt x="1535795" y="7369817"/>
                    <a:pt x="1530845" y="7369817"/>
                  </a:cubicBezTo>
                  <a:cubicBezTo>
                    <a:pt x="1525896" y="7369817"/>
                    <a:pt x="1521884" y="7365805"/>
                    <a:pt x="1521884" y="7360856"/>
                  </a:cubicBezTo>
                  <a:cubicBezTo>
                    <a:pt x="1521884" y="7355907"/>
                    <a:pt x="1525896" y="7351896"/>
                    <a:pt x="1530845" y="7351896"/>
                  </a:cubicBezTo>
                  <a:close/>
                  <a:moveTo>
                    <a:pt x="1362100" y="7351896"/>
                  </a:moveTo>
                  <a:cubicBezTo>
                    <a:pt x="1367051" y="7351896"/>
                    <a:pt x="1371060" y="7355907"/>
                    <a:pt x="1371060" y="7360856"/>
                  </a:cubicBezTo>
                  <a:cubicBezTo>
                    <a:pt x="1371060" y="7365805"/>
                    <a:pt x="1367051" y="7369817"/>
                    <a:pt x="1362100" y="7369817"/>
                  </a:cubicBezTo>
                  <a:cubicBezTo>
                    <a:pt x="1357151" y="7369817"/>
                    <a:pt x="1353140" y="7365805"/>
                    <a:pt x="1353140" y="7360856"/>
                  </a:cubicBezTo>
                  <a:cubicBezTo>
                    <a:pt x="1353140" y="7355907"/>
                    <a:pt x="1357151" y="7351896"/>
                    <a:pt x="1362100" y="7351896"/>
                  </a:cubicBezTo>
                  <a:close/>
                  <a:moveTo>
                    <a:pt x="1193359" y="7351896"/>
                  </a:moveTo>
                  <a:cubicBezTo>
                    <a:pt x="1198308" y="7351896"/>
                    <a:pt x="1202320" y="7355907"/>
                    <a:pt x="1202320" y="7360856"/>
                  </a:cubicBezTo>
                  <a:cubicBezTo>
                    <a:pt x="1202320" y="7365805"/>
                    <a:pt x="1198308" y="7369817"/>
                    <a:pt x="1193359" y="7369817"/>
                  </a:cubicBezTo>
                  <a:cubicBezTo>
                    <a:pt x="1188411" y="7369817"/>
                    <a:pt x="1184400" y="7365805"/>
                    <a:pt x="1184400" y="7360856"/>
                  </a:cubicBezTo>
                  <a:cubicBezTo>
                    <a:pt x="1184400" y="7355907"/>
                    <a:pt x="1188411" y="7351896"/>
                    <a:pt x="1193359" y="7351896"/>
                  </a:cubicBezTo>
                  <a:close/>
                  <a:moveTo>
                    <a:pt x="1024613" y="7351896"/>
                  </a:moveTo>
                  <a:cubicBezTo>
                    <a:pt x="1029563" y="7351896"/>
                    <a:pt x="1033577" y="7355907"/>
                    <a:pt x="1033577" y="7360856"/>
                  </a:cubicBezTo>
                  <a:cubicBezTo>
                    <a:pt x="1033577" y="7365805"/>
                    <a:pt x="1029563" y="7369817"/>
                    <a:pt x="1024613" y="7369817"/>
                  </a:cubicBezTo>
                  <a:cubicBezTo>
                    <a:pt x="1019666" y="7369817"/>
                    <a:pt x="1015654" y="7365805"/>
                    <a:pt x="1015654" y="7360856"/>
                  </a:cubicBezTo>
                  <a:cubicBezTo>
                    <a:pt x="1015654" y="7355907"/>
                    <a:pt x="1019666" y="7351896"/>
                    <a:pt x="1024613" y="7351896"/>
                  </a:cubicBezTo>
                  <a:close/>
                  <a:moveTo>
                    <a:pt x="855878" y="7351896"/>
                  </a:moveTo>
                  <a:cubicBezTo>
                    <a:pt x="860826" y="7351896"/>
                    <a:pt x="864837" y="7355907"/>
                    <a:pt x="864837" y="7360856"/>
                  </a:cubicBezTo>
                  <a:cubicBezTo>
                    <a:pt x="864837" y="7365805"/>
                    <a:pt x="860826" y="7369817"/>
                    <a:pt x="855878" y="7369817"/>
                  </a:cubicBezTo>
                  <a:cubicBezTo>
                    <a:pt x="850929" y="7369817"/>
                    <a:pt x="846917" y="7365805"/>
                    <a:pt x="846917" y="7360856"/>
                  </a:cubicBezTo>
                  <a:cubicBezTo>
                    <a:pt x="846917" y="7355907"/>
                    <a:pt x="850929" y="7351896"/>
                    <a:pt x="855878" y="7351896"/>
                  </a:cubicBezTo>
                  <a:close/>
                  <a:moveTo>
                    <a:pt x="687136" y="7351896"/>
                  </a:moveTo>
                  <a:cubicBezTo>
                    <a:pt x="692085" y="7351896"/>
                    <a:pt x="696097" y="7355907"/>
                    <a:pt x="696097" y="7360856"/>
                  </a:cubicBezTo>
                  <a:cubicBezTo>
                    <a:pt x="696097" y="7365805"/>
                    <a:pt x="692085" y="7369817"/>
                    <a:pt x="687136" y="7369817"/>
                  </a:cubicBezTo>
                  <a:cubicBezTo>
                    <a:pt x="682188" y="7369817"/>
                    <a:pt x="678176" y="7365805"/>
                    <a:pt x="678176" y="7360856"/>
                  </a:cubicBezTo>
                  <a:cubicBezTo>
                    <a:pt x="678176" y="7355907"/>
                    <a:pt x="682188" y="7351896"/>
                    <a:pt x="687136" y="7351896"/>
                  </a:cubicBezTo>
                  <a:close/>
                  <a:moveTo>
                    <a:pt x="518385" y="7351896"/>
                  </a:moveTo>
                  <a:cubicBezTo>
                    <a:pt x="523334" y="7351896"/>
                    <a:pt x="527345" y="7355907"/>
                    <a:pt x="527345" y="7360856"/>
                  </a:cubicBezTo>
                  <a:cubicBezTo>
                    <a:pt x="527345" y="7365805"/>
                    <a:pt x="523334" y="7369817"/>
                    <a:pt x="518385" y="7369817"/>
                  </a:cubicBezTo>
                  <a:cubicBezTo>
                    <a:pt x="513436" y="7369817"/>
                    <a:pt x="509425" y="7365805"/>
                    <a:pt x="509425" y="7360856"/>
                  </a:cubicBezTo>
                  <a:cubicBezTo>
                    <a:pt x="509425" y="7355907"/>
                    <a:pt x="513436" y="7351896"/>
                    <a:pt x="518385" y="7351896"/>
                  </a:cubicBezTo>
                  <a:close/>
                  <a:moveTo>
                    <a:pt x="349645" y="7351896"/>
                  </a:moveTo>
                  <a:cubicBezTo>
                    <a:pt x="354594" y="7351896"/>
                    <a:pt x="358606" y="7355907"/>
                    <a:pt x="358606" y="7360856"/>
                  </a:cubicBezTo>
                  <a:cubicBezTo>
                    <a:pt x="358606" y="7365805"/>
                    <a:pt x="354594" y="7369817"/>
                    <a:pt x="349645" y="7369817"/>
                  </a:cubicBezTo>
                  <a:cubicBezTo>
                    <a:pt x="344697" y="7369817"/>
                    <a:pt x="340685" y="7365805"/>
                    <a:pt x="340685" y="7360856"/>
                  </a:cubicBezTo>
                  <a:cubicBezTo>
                    <a:pt x="340685" y="7355907"/>
                    <a:pt x="344697" y="7351896"/>
                    <a:pt x="349645" y="7351896"/>
                  </a:cubicBezTo>
                  <a:close/>
                  <a:moveTo>
                    <a:pt x="179325" y="7351896"/>
                  </a:moveTo>
                  <a:cubicBezTo>
                    <a:pt x="184274" y="7351896"/>
                    <a:pt x="188286" y="7355907"/>
                    <a:pt x="188286" y="7360856"/>
                  </a:cubicBezTo>
                  <a:cubicBezTo>
                    <a:pt x="188286" y="7365805"/>
                    <a:pt x="184274" y="7369817"/>
                    <a:pt x="179325" y="7369817"/>
                  </a:cubicBezTo>
                  <a:cubicBezTo>
                    <a:pt x="174377" y="7369817"/>
                    <a:pt x="170365" y="7365805"/>
                    <a:pt x="170365" y="7360856"/>
                  </a:cubicBezTo>
                  <a:cubicBezTo>
                    <a:pt x="170365" y="7355907"/>
                    <a:pt x="174377" y="7351896"/>
                    <a:pt x="179325" y="7351896"/>
                  </a:cubicBezTo>
                  <a:close/>
                  <a:moveTo>
                    <a:pt x="9006" y="7351896"/>
                  </a:moveTo>
                  <a:cubicBezTo>
                    <a:pt x="13954" y="7351896"/>
                    <a:pt x="17966" y="7355907"/>
                    <a:pt x="17966" y="7360856"/>
                  </a:cubicBezTo>
                  <a:cubicBezTo>
                    <a:pt x="17966" y="7365805"/>
                    <a:pt x="13954" y="7369817"/>
                    <a:pt x="9006" y="7369817"/>
                  </a:cubicBezTo>
                  <a:cubicBezTo>
                    <a:pt x="4057" y="7369817"/>
                    <a:pt x="45" y="7365805"/>
                    <a:pt x="45" y="7360856"/>
                  </a:cubicBezTo>
                  <a:cubicBezTo>
                    <a:pt x="45" y="7355907"/>
                    <a:pt x="4057" y="7351896"/>
                    <a:pt x="9006" y="7351896"/>
                  </a:cubicBezTo>
                  <a:close/>
                  <a:moveTo>
                    <a:pt x="6933679" y="7180915"/>
                  </a:moveTo>
                  <a:cubicBezTo>
                    <a:pt x="6938628" y="7180915"/>
                    <a:pt x="6942639" y="7184926"/>
                    <a:pt x="6942639" y="7189875"/>
                  </a:cubicBezTo>
                  <a:cubicBezTo>
                    <a:pt x="6942639" y="7194824"/>
                    <a:pt x="6938628" y="7198836"/>
                    <a:pt x="6933679" y="7198836"/>
                  </a:cubicBezTo>
                  <a:cubicBezTo>
                    <a:pt x="6928730" y="7198836"/>
                    <a:pt x="6924718" y="7194824"/>
                    <a:pt x="6924718" y="7189875"/>
                  </a:cubicBezTo>
                  <a:cubicBezTo>
                    <a:pt x="6924718" y="7184926"/>
                    <a:pt x="6928730" y="7180915"/>
                    <a:pt x="6933679" y="7180915"/>
                  </a:cubicBezTo>
                  <a:close/>
                  <a:moveTo>
                    <a:pt x="6763357" y="7180915"/>
                  </a:moveTo>
                  <a:cubicBezTo>
                    <a:pt x="6768306" y="7180915"/>
                    <a:pt x="6772318" y="7184926"/>
                    <a:pt x="6772318" y="7189875"/>
                  </a:cubicBezTo>
                  <a:cubicBezTo>
                    <a:pt x="6772318" y="7194824"/>
                    <a:pt x="6768306" y="7198836"/>
                    <a:pt x="6763357" y="7198836"/>
                  </a:cubicBezTo>
                  <a:cubicBezTo>
                    <a:pt x="6758408" y="7198836"/>
                    <a:pt x="6754397" y="7194824"/>
                    <a:pt x="6754397" y="7189875"/>
                  </a:cubicBezTo>
                  <a:cubicBezTo>
                    <a:pt x="6754397" y="7184926"/>
                    <a:pt x="6758408" y="7180915"/>
                    <a:pt x="6763357" y="7180915"/>
                  </a:cubicBezTo>
                  <a:close/>
                  <a:moveTo>
                    <a:pt x="6593035" y="7180915"/>
                  </a:moveTo>
                  <a:cubicBezTo>
                    <a:pt x="6597984" y="7180915"/>
                    <a:pt x="6601996" y="7184926"/>
                    <a:pt x="6601996" y="7189875"/>
                  </a:cubicBezTo>
                  <a:cubicBezTo>
                    <a:pt x="6601996" y="7194824"/>
                    <a:pt x="6597984" y="7198836"/>
                    <a:pt x="6593035" y="7198836"/>
                  </a:cubicBezTo>
                  <a:cubicBezTo>
                    <a:pt x="6588086" y="7198836"/>
                    <a:pt x="6584075" y="7194824"/>
                    <a:pt x="6584075" y="7189875"/>
                  </a:cubicBezTo>
                  <a:cubicBezTo>
                    <a:pt x="6584075" y="7184926"/>
                    <a:pt x="6588086" y="7180915"/>
                    <a:pt x="6593035" y="7180915"/>
                  </a:cubicBezTo>
                  <a:close/>
                  <a:moveTo>
                    <a:pt x="6424294" y="7180915"/>
                  </a:moveTo>
                  <a:cubicBezTo>
                    <a:pt x="6429243" y="7180915"/>
                    <a:pt x="6433255" y="7184926"/>
                    <a:pt x="6433255" y="7189875"/>
                  </a:cubicBezTo>
                  <a:cubicBezTo>
                    <a:pt x="6433255" y="7194824"/>
                    <a:pt x="6429243" y="7198836"/>
                    <a:pt x="6424294" y="7198836"/>
                  </a:cubicBezTo>
                  <a:cubicBezTo>
                    <a:pt x="6419345" y="7198836"/>
                    <a:pt x="6415334" y="7194824"/>
                    <a:pt x="6415334" y="7189875"/>
                  </a:cubicBezTo>
                  <a:cubicBezTo>
                    <a:pt x="6415334" y="7184926"/>
                    <a:pt x="6419345" y="7180915"/>
                    <a:pt x="6424294" y="7180915"/>
                  </a:cubicBezTo>
                  <a:close/>
                  <a:moveTo>
                    <a:pt x="6255553" y="7180915"/>
                  </a:moveTo>
                  <a:cubicBezTo>
                    <a:pt x="6260502" y="7180915"/>
                    <a:pt x="6264514" y="7184926"/>
                    <a:pt x="6264514" y="7189875"/>
                  </a:cubicBezTo>
                  <a:cubicBezTo>
                    <a:pt x="6264514" y="7194824"/>
                    <a:pt x="6260502" y="7198836"/>
                    <a:pt x="6255553" y="7198836"/>
                  </a:cubicBezTo>
                  <a:cubicBezTo>
                    <a:pt x="6250604" y="7198836"/>
                    <a:pt x="6246593" y="7194824"/>
                    <a:pt x="6246593" y="7189875"/>
                  </a:cubicBezTo>
                  <a:cubicBezTo>
                    <a:pt x="6246593" y="7184926"/>
                    <a:pt x="6250604" y="7180915"/>
                    <a:pt x="6255553" y="7180915"/>
                  </a:cubicBezTo>
                  <a:close/>
                  <a:moveTo>
                    <a:pt x="6086811" y="7180915"/>
                  </a:moveTo>
                  <a:cubicBezTo>
                    <a:pt x="6091760" y="7180915"/>
                    <a:pt x="6095772" y="7184926"/>
                    <a:pt x="6095772" y="7189875"/>
                  </a:cubicBezTo>
                  <a:cubicBezTo>
                    <a:pt x="6095772" y="7194824"/>
                    <a:pt x="6091760" y="7198836"/>
                    <a:pt x="6086811" y="7198836"/>
                  </a:cubicBezTo>
                  <a:cubicBezTo>
                    <a:pt x="6081862" y="7198836"/>
                    <a:pt x="6077851" y="7194824"/>
                    <a:pt x="6077851" y="7189875"/>
                  </a:cubicBezTo>
                  <a:cubicBezTo>
                    <a:pt x="6077851" y="7184926"/>
                    <a:pt x="6081862" y="7180915"/>
                    <a:pt x="6086811" y="7180915"/>
                  </a:cubicBezTo>
                  <a:close/>
                  <a:moveTo>
                    <a:pt x="5918069" y="7180915"/>
                  </a:moveTo>
                  <a:cubicBezTo>
                    <a:pt x="5923018" y="7180915"/>
                    <a:pt x="5927030" y="7184926"/>
                    <a:pt x="5927030" y="7189875"/>
                  </a:cubicBezTo>
                  <a:cubicBezTo>
                    <a:pt x="5927030" y="7194824"/>
                    <a:pt x="5923018" y="7198836"/>
                    <a:pt x="5918069" y="7198836"/>
                  </a:cubicBezTo>
                  <a:cubicBezTo>
                    <a:pt x="5913120" y="7198836"/>
                    <a:pt x="5909109" y="7194824"/>
                    <a:pt x="5909109" y="7189875"/>
                  </a:cubicBezTo>
                  <a:cubicBezTo>
                    <a:pt x="5909109" y="7184926"/>
                    <a:pt x="5913120" y="7180915"/>
                    <a:pt x="5918069" y="7180915"/>
                  </a:cubicBezTo>
                  <a:close/>
                  <a:moveTo>
                    <a:pt x="5749328" y="7180915"/>
                  </a:moveTo>
                  <a:cubicBezTo>
                    <a:pt x="5754277" y="7180915"/>
                    <a:pt x="5758289" y="7184926"/>
                    <a:pt x="5758289" y="7189875"/>
                  </a:cubicBezTo>
                  <a:cubicBezTo>
                    <a:pt x="5758289" y="7194824"/>
                    <a:pt x="5754277" y="7198836"/>
                    <a:pt x="5749328" y="7198836"/>
                  </a:cubicBezTo>
                  <a:cubicBezTo>
                    <a:pt x="5744379" y="7198836"/>
                    <a:pt x="5740368" y="7194824"/>
                    <a:pt x="5740368" y="7189875"/>
                  </a:cubicBezTo>
                  <a:cubicBezTo>
                    <a:pt x="5740368" y="7184926"/>
                    <a:pt x="5744379" y="7180915"/>
                    <a:pt x="5749328" y="7180915"/>
                  </a:cubicBezTo>
                  <a:close/>
                  <a:moveTo>
                    <a:pt x="5580586" y="7180915"/>
                  </a:moveTo>
                  <a:cubicBezTo>
                    <a:pt x="5585535" y="7180915"/>
                    <a:pt x="5589547" y="7184926"/>
                    <a:pt x="5589547" y="7189875"/>
                  </a:cubicBezTo>
                  <a:cubicBezTo>
                    <a:pt x="5589547" y="7194824"/>
                    <a:pt x="5585535" y="7198836"/>
                    <a:pt x="5580586" y="7198836"/>
                  </a:cubicBezTo>
                  <a:cubicBezTo>
                    <a:pt x="5575637" y="7198836"/>
                    <a:pt x="5571626" y="7194824"/>
                    <a:pt x="5571626" y="7189875"/>
                  </a:cubicBezTo>
                  <a:cubicBezTo>
                    <a:pt x="5571626" y="7184926"/>
                    <a:pt x="5575637" y="7180915"/>
                    <a:pt x="5580586" y="7180915"/>
                  </a:cubicBezTo>
                  <a:close/>
                  <a:moveTo>
                    <a:pt x="5411845" y="7180915"/>
                  </a:moveTo>
                  <a:cubicBezTo>
                    <a:pt x="5416794" y="7180915"/>
                    <a:pt x="5420806" y="7184926"/>
                    <a:pt x="5420806" y="7189875"/>
                  </a:cubicBezTo>
                  <a:cubicBezTo>
                    <a:pt x="5420806" y="7194824"/>
                    <a:pt x="5416794" y="7198836"/>
                    <a:pt x="5411845" y="7198836"/>
                  </a:cubicBezTo>
                  <a:cubicBezTo>
                    <a:pt x="5406896" y="7198836"/>
                    <a:pt x="5402885" y="7194824"/>
                    <a:pt x="5402885" y="7189875"/>
                  </a:cubicBezTo>
                  <a:cubicBezTo>
                    <a:pt x="5402885" y="7184926"/>
                    <a:pt x="5406896" y="7180915"/>
                    <a:pt x="5411845" y="7180915"/>
                  </a:cubicBezTo>
                  <a:close/>
                  <a:moveTo>
                    <a:pt x="5243103" y="7180915"/>
                  </a:moveTo>
                  <a:cubicBezTo>
                    <a:pt x="5248052" y="7180915"/>
                    <a:pt x="5252064" y="7184926"/>
                    <a:pt x="5252064" y="7189875"/>
                  </a:cubicBezTo>
                  <a:cubicBezTo>
                    <a:pt x="5252064" y="7194824"/>
                    <a:pt x="5248052" y="7198836"/>
                    <a:pt x="5243103" y="7198836"/>
                  </a:cubicBezTo>
                  <a:cubicBezTo>
                    <a:pt x="5238154" y="7198836"/>
                    <a:pt x="5234143" y="7194824"/>
                    <a:pt x="5234143" y="7189875"/>
                  </a:cubicBezTo>
                  <a:cubicBezTo>
                    <a:pt x="5234143" y="7184926"/>
                    <a:pt x="5238154" y="7180915"/>
                    <a:pt x="5243103" y="7180915"/>
                  </a:cubicBezTo>
                  <a:close/>
                  <a:moveTo>
                    <a:pt x="5074362" y="7180915"/>
                  </a:moveTo>
                  <a:cubicBezTo>
                    <a:pt x="5079311" y="7180915"/>
                    <a:pt x="5083323" y="7184926"/>
                    <a:pt x="5083323" y="7189875"/>
                  </a:cubicBezTo>
                  <a:cubicBezTo>
                    <a:pt x="5083323" y="7194824"/>
                    <a:pt x="5079311" y="7198836"/>
                    <a:pt x="5074362" y="7198836"/>
                  </a:cubicBezTo>
                  <a:cubicBezTo>
                    <a:pt x="5069413" y="7198836"/>
                    <a:pt x="5065402" y="7194824"/>
                    <a:pt x="5065402" y="7189875"/>
                  </a:cubicBezTo>
                  <a:cubicBezTo>
                    <a:pt x="5065402" y="7184926"/>
                    <a:pt x="5069413" y="7180915"/>
                    <a:pt x="5074362" y="7180915"/>
                  </a:cubicBezTo>
                  <a:close/>
                  <a:moveTo>
                    <a:pt x="4905620" y="7180915"/>
                  </a:moveTo>
                  <a:cubicBezTo>
                    <a:pt x="4910569" y="7180915"/>
                    <a:pt x="4914581" y="7184926"/>
                    <a:pt x="4914581" y="7189875"/>
                  </a:cubicBezTo>
                  <a:cubicBezTo>
                    <a:pt x="4914581" y="7194824"/>
                    <a:pt x="4910569" y="7198836"/>
                    <a:pt x="4905620" y="7198836"/>
                  </a:cubicBezTo>
                  <a:cubicBezTo>
                    <a:pt x="4900671" y="7198836"/>
                    <a:pt x="4896660" y="7194824"/>
                    <a:pt x="4896660" y="7189875"/>
                  </a:cubicBezTo>
                  <a:cubicBezTo>
                    <a:pt x="4896660" y="7184926"/>
                    <a:pt x="4900671" y="7180915"/>
                    <a:pt x="4905620" y="7180915"/>
                  </a:cubicBezTo>
                  <a:close/>
                  <a:moveTo>
                    <a:pt x="4736878" y="7180915"/>
                  </a:moveTo>
                  <a:cubicBezTo>
                    <a:pt x="4741827" y="7180915"/>
                    <a:pt x="4745839" y="7184926"/>
                    <a:pt x="4745839" y="7189875"/>
                  </a:cubicBezTo>
                  <a:cubicBezTo>
                    <a:pt x="4745839" y="7194824"/>
                    <a:pt x="4741827" y="7198836"/>
                    <a:pt x="4736878" y="7198836"/>
                  </a:cubicBezTo>
                  <a:cubicBezTo>
                    <a:pt x="4731929" y="7198836"/>
                    <a:pt x="4727918" y="7194824"/>
                    <a:pt x="4727918" y="7189875"/>
                  </a:cubicBezTo>
                  <a:cubicBezTo>
                    <a:pt x="4727918" y="7184926"/>
                    <a:pt x="4731929" y="7180915"/>
                    <a:pt x="4736878" y="7180915"/>
                  </a:cubicBezTo>
                  <a:close/>
                  <a:moveTo>
                    <a:pt x="4568137" y="7180915"/>
                  </a:moveTo>
                  <a:cubicBezTo>
                    <a:pt x="4573086" y="7180915"/>
                    <a:pt x="4577098" y="7184926"/>
                    <a:pt x="4577098" y="7189875"/>
                  </a:cubicBezTo>
                  <a:cubicBezTo>
                    <a:pt x="4577098" y="7194824"/>
                    <a:pt x="4573086" y="7198836"/>
                    <a:pt x="4568137" y="7198836"/>
                  </a:cubicBezTo>
                  <a:cubicBezTo>
                    <a:pt x="4563188" y="7198836"/>
                    <a:pt x="4559177" y="7194824"/>
                    <a:pt x="4559177" y="7189875"/>
                  </a:cubicBezTo>
                  <a:cubicBezTo>
                    <a:pt x="4559177" y="7184926"/>
                    <a:pt x="4563188" y="7180915"/>
                    <a:pt x="4568137" y="7180915"/>
                  </a:cubicBezTo>
                  <a:close/>
                  <a:moveTo>
                    <a:pt x="4399396" y="7180915"/>
                  </a:moveTo>
                  <a:cubicBezTo>
                    <a:pt x="4404345" y="7180915"/>
                    <a:pt x="4408357" y="7184926"/>
                    <a:pt x="4408357" y="7189875"/>
                  </a:cubicBezTo>
                  <a:cubicBezTo>
                    <a:pt x="4408357" y="7194824"/>
                    <a:pt x="4404345" y="7198836"/>
                    <a:pt x="4399396" y="7198836"/>
                  </a:cubicBezTo>
                  <a:cubicBezTo>
                    <a:pt x="4394447" y="7198836"/>
                    <a:pt x="4390436" y="7194824"/>
                    <a:pt x="4390436" y="7189875"/>
                  </a:cubicBezTo>
                  <a:cubicBezTo>
                    <a:pt x="4390436" y="7184926"/>
                    <a:pt x="4394447" y="7180915"/>
                    <a:pt x="4399396" y="7180915"/>
                  </a:cubicBezTo>
                  <a:close/>
                  <a:moveTo>
                    <a:pt x="4230654" y="7180915"/>
                  </a:moveTo>
                  <a:cubicBezTo>
                    <a:pt x="4235603" y="7180915"/>
                    <a:pt x="4239615" y="7184926"/>
                    <a:pt x="4239615" y="7189875"/>
                  </a:cubicBezTo>
                  <a:cubicBezTo>
                    <a:pt x="4239615" y="7194824"/>
                    <a:pt x="4235603" y="7198836"/>
                    <a:pt x="4230654" y="7198836"/>
                  </a:cubicBezTo>
                  <a:cubicBezTo>
                    <a:pt x="4225705" y="7198836"/>
                    <a:pt x="4221694" y="7194824"/>
                    <a:pt x="4221694" y="7189875"/>
                  </a:cubicBezTo>
                  <a:cubicBezTo>
                    <a:pt x="4221694" y="7184926"/>
                    <a:pt x="4225705" y="7180915"/>
                    <a:pt x="4230654" y="7180915"/>
                  </a:cubicBezTo>
                  <a:close/>
                  <a:moveTo>
                    <a:pt x="4061912" y="7180915"/>
                  </a:moveTo>
                  <a:cubicBezTo>
                    <a:pt x="4066861" y="7180915"/>
                    <a:pt x="4070873" y="7184926"/>
                    <a:pt x="4070873" y="7189875"/>
                  </a:cubicBezTo>
                  <a:cubicBezTo>
                    <a:pt x="4070873" y="7194824"/>
                    <a:pt x="4066861" y="7198836"/>
                    <a:pt x="4061912" y="7198836"/>
                  </a:cubicBezTo>
                  <a:cubicBezTo>
                    <a:pt x="4056963" y="7198836"/>
                    <a:pt x="4052952" y="7194824"/>
                    <a:pt x="4052952" y="7189875"/>
                  </a:cubicBezTo>
                  <a:cubicBezTo>
                    <a:pt x="4052952" y="7184926"/>
                    <a:pt x="4056963" y="7180915"/>
                    <a:pt x="4061912" y="7180915"/>
                  </a:cubicBezTo>
                  <a:close/>
                  <a:moveTo>
                    <a:pt x="3893170" y="7180915"/>
                  </a:moveTo>
                  <a:cubicBezTo>
                    <a:pt x="3898119" y="7180915"/>
                    <a:pt x="3902131" y="7184926"/>
                    <a:pt x="3902131" y="7189875"/>
                  </a:cubicBezTo>
                  <a:cubicBezTo>
                    <a:pt x="3902131" y="7194824"/>
                    <a:pt x="3898119" y="7198836"/>
                    <a:pt x="3893170" y="7198836"/>
                  </a:cubicBezTo>
                  <a:cubicBezTo>
                    <a:pt x="3888221" y="7198836"/>
                    <a:pt x="3884210" y="7194824"/>
                    <a:pt x="3884210" y="7189875"/>
                  </a:cubicBezTo>
                  <a:cubicBezTo>
                    <a:pt x="3884210" y="7184926"/>
                    <a:pt x="3888221" y="7180915"/>
                    <a:pt x="3893170" y="7180915"/>
                  </a:cubicBezTo>
                  <a:close/>
                  <a:moveTo>
                    <a:pt x="3724429" y="7180915"/>
                  </a:moveTo>
                  <a:cubicBezTo>
                    <a:pt x="3729378" y="7180915"/>
                    <a:pt x="3733390" y="7184926"/>
                    <a:pt x="3733390" y="7189875"/>
                  </a:cubicBezTo>
                  <a:cubicBezTo>
                    <a:pt x="3733390" y="7194824"/>
                    <a:pt x="3729378" y="7198836"/>
                    <a:pt x="3724429" y="7198836"/>
                  </a:cubicBezTo>
                  <a:cubicBezTo>
                    <a:pt x="3719481" y="7198836"/>
                    <a:pt x="3715469" y="7194824"/>
                    <a:pt x="3715469" y="7189875"/>
                  </a:cubicBezTo>
                  <a:cubicBezTo>
                    <a:pt x="3715469" y="7184926"/>
                    <a:pt x="3719481" y="7180915"/>
                    <a:pt x="3724429" y="7180915"/>
                  </a:cubicBezTo>
                  <a:close/>
                  <a:moveTo>
                    <a:pt x="3555688" y="7180915"/>
                  </a:moveTo>
                  <a:cubicBezTo>
                    <a:pt x="3560637" y="7180915"/>
                    <a:pt x="3564649" y="7184926"/>
                    <a:pt x="3564649" y="7189875"/>
                  </a:cubicBezTo>
                  <a:cubicBezTo>
                    <a:pt x="3564649" y="7194824"/>
                    <a:pt x="3560637" y="7198836"/>
                    <a:pt x="3555688" y="7198836"/>
                  </a:cubicBezTo>
                  <a:cubicBezTo>
                    <a:pt x="3550740" y="7198836"/>
                    <a:pt x="3546728" y="7194824"/>
                    <a:pt x="3546728" y="7189875"/>
                  </a:cubicBezTo>
                  <a:cubicBezTo>
                    <a:pt x="3546728" y="7184926"/>
                    <a:pt x="3550740" y="7180915"/>
                    <a:pt x="3555688" y="7180915"/>
                  </a:cubicBezTo>
                  <a:close/>
                  <a:moveTo>
                    <a:pt x="3386984" y="7180915"/>
                  </a:moveTo>
                  <a:cubicBezTo>
                    <a:pt x="3391932" y="7180915"/>
                    <a:pt x="3395944" y="7184926"/>
                    <a:pt x="3395944" y="7189875"/>
                  </a:cubicBezTo>
                  <a:cubicBezTo>
                    <a:pt x="3395944" y="7194824"/>
                    <a:pt x="3391932" y="7198836"/>
                    <a:pt x="3386984" y="7198836"/>
                  </a:cubicBezTo>
                  <a:cubicBezTo>
                    <a:pt x="3382017" y="7198836"/>
                    <a:pt x="3378005" y="7194824"/>
                    <a:pt x="3378005" y="7189875"/>
                  </a:cubicBezTo>
                  <a:cubicBezTo>
                    <a:pt x="3378005" y="7184926"/>
                    <a:pt x="3382017" y="7180915"/>
                    <a:pt x="3386984" y="7180915"/>
                  </a:cubicBezTo>
                  <a:close/>
                  <a:moveTo>
                    <a:pt x="3218230" y="7180915"/>
                  </a:moveTo>
                  <a:cubicBezTo>
                    <a:pt x="3223188" y="7180915"/>
                    <a:pt x="3227201" y="7184926"/>
                    <a:pt x="3227201" y="7189875"/>
                  </a:cubicBezTo>
                  <a:cubicBezTo>
                    <a:pt x="3227201" y="7194824"/>
                    <a:pt x="3223188" y="7198836"/>
                    <a:pt x="3218230" y="7198836"/>
                  </a:cubicBezTo>
                  <a:cubicBezTo>
                    <a:pt x="3213283" y="7198836"/>
                    <a:pt x="3209273" y="7194824"/>
                    <a:pt x="3209273" y="7189875"/>
                  </a:cubicBezTo>
                  <a:cubicBezTo>
                    <a:pt x="3209273" y="7184926"/>
                    <a:pt x="3213283" y="7180915"/>
                    <a:pt x="3218230" y="7180915"/>
                  </a:cubicBezTo>
                  <a:close/>
                  <a:moveTo>
                    <a:pt x="3049516" y="7180915"/>
                  </a:moveTo>
                  <a:cubicBezTo>
                    <a:pt x="3054450" y="7180915"/>
                    <a:pt x="3058463" y="7184926"/>
                    <a:pt x="3058463" y="7189875"/>
                  </a:cubicBezTo>
                  <a:cubicBezTo>
                    <a:pt x="3058463" y="7194824"/>
                    <a:pt x="3054450" y="7198836"/>
                    <a:pt x="3049516" y="7198836"/>
                  </a:cubicBezTo>
                  <a:cubicBezTo>
                    <a:pt x="3044553" y="7198836"/>
                    <a:pt x="3040541" y="7194824"/>
                    <a:pt x="3040541" y="7189875"/>
                  </a:cubicBezTo>
                  <a:cubicBezTo>
                    <a:pt x="3040541" y="7184926"/>
                    <a:pt x="3044553" y="7180915"/>
                    <a:pt x="3049516" y="7180915"/>
                  </a:cubicBezTo>
                  <a:close/>
                  <a:moveTo>
                    <a:pt x="2880772" y="7180915"/>
                  </a:moveTo>
                  <a:cubicBezTo>
                    <a:pt x="2885718" y="7180915"/>
                    <a:pt x="2889730" y="7184926"/>
                    <a:pt x="2889730" y="7189875"/>
                  </a:cubicBezTo>
                  <a:cubicBezTo>
                    <a:pt x="2889730" y="7194824"/>
                    <a:pt x="2885718" y="7198836"/>
                    <a:pt x="2880772" y="7198836"/>
                  </a:cubicBezTo>
                  <a:cubicBezTo>
                    <a:pt x="2875819" y="7198836"/>
                    <a:pt x="2871810" y="7194824"/>
                    <a:pt x="2871810" y="7189875"/>
                  </a:cubicBezTo>
                  <a:cubicBezTo>
                    <a:pt x="2871810" y="7184926"/>
                    <a:pt x="2875819" y="7180915"/>
                    <a:pt x="2880772" y="7180915"/>
                  </a:cubicBezTo>
                  <a:close/>
                  <a:moveTo>
                    <a:pt x="2712020" y="7180915"/>
                  </a:moveTo>
                  <a:cubicBezTo>
                    <a:pt x="2716980" y="7180915"/>
                    <a:pt x="2720997" y="7184926"/>
                    <a:pt x="2720997" y="7189875"/>
                  </a:cubicBezTo>
                  <a:cubicBezTo>
                    <a:pt x="2720997" y="7194824"/>
                    <a:pt x="2716980" y="7198836"/>
                    <a:pt x="2712020" y="7198836"/>
                  </a:cubicBezTo>
                  <a:cubicBezTo>
                    <a:pt x="2707075" y="7198836"/>
                    <a:pt x="2703065" y="7194824"/>
                    <a:pt x="2703065" y="7189875"/>
                  </a:cubicBezTo>
                  <a:cubicBezTo>
                    <a:pt x="2703065" y="7184926"/>
                    <a:pt x="2707075" y="7180915"/>
                    <a:pt x="2712020" y="7180915"/>
                  </a:cubicBezTo>
                  <a:close/>
                  <a:moveTo>
                    <a:pt x="2543294" y="7180915"/>
                  </a:moveTo>
                  <a:cubicBezTo>
                    <a:pt x="2548249" y="7180915"/>
                    <a:pt x="2552258" y="7184926"/>
                    <a:pt x="2552258" y="7189875"/>
                  </a:cubicBezTo>
                  <a:cubicBezTo>
                    <a:pt x="2552258" y="7194824"/>
                    <a:pt x="2548249" y="7198836"/>
                    <a:pt x="2543294" y="7198836"/>
                  </a:cubicBezTo>
                  <a:cubicBezTo>
                    <a:pt x="2538345" y="7198836"/>
                    <a:pt x="2534334" y="7194824"/>
                    <a:pt x="2534334" y="7189875"/>
                  </a:cubicBezTo>
                  <a:cubicBezTo>
                    <a:pt x="2534334" y="7184926"/>
                    <a:pt x="2538345" y="7180915"/>
                    <a:pt x="2543294" y="7180915"/>
                  </a:cubicBezTo>
                  <a:close/>
                  <a:moveTo>
                    <a:pt x="2374538" y="7180915"/>
                  </a:moveTo>
                  <a:cubicBezTo>
                    <a:pt x="2379492" y="7180915"/>
                    <a:pt x="2383514" y="7184926"/>
                    <a:pt x="2383514" y="7189875"/>
                  </a:cubicBezTo>
                  <a:cubicBezTo>
                    <a:pt x="2383514" y="7194824"/>
                    <a:pt x="2379492" y="7198836"/>
                    <a:pt x="2374538" y="7198836"/>
                  </a:cubicBezTo>
                  <a:cubicBezTo>
                    <a:pt x="2369588" y="7198836"/>
                    <a:pt x="2365575" y="7194824"/>
                    <a:pt x="2365575" y="7189875"/>
                  </a:cubicBezTo>
                  <a:cubicBezTo>
                    <a:pt x="2365575" y="7184926"/>
                    <a:pt x="2369588" y="7180915"/>
                    <a:pt x="2374538" y="7180915"/>
                  </a:cubicBezTo>
                  <a:close/>
                  <a:moveTo>
                    <a:pt x="2205809" y="7180915"/>
                  </a:moveTo>
                  <a:cubicBezTo>
                    <a:pt x="2210757" y="7180915"/>
                    <a:pt x="2214768" y="7184926"/>
                    <a:pt x="2214768" y="7189875"/>
                  </a:cubicBezTo>
                  <a:cubicBezTo>
                    <a:pt x="2214768" y="7194824"/>
                    <a:pt x="2210757" y="7198836"/>
                    <a:pt x="2205809" y="7198836"/>
                  </a:cubicBezTo>
                  <a:cubicBezTo>
                    <a:pt x="2200853" y="7198836"/>
                    <a:pt x="2196844" y="7194824"/>
                    <a:pt x="2196844" y="7189875"/>
                  </a:cubicBezTo>
                  <a:cubicBezTo>
                    <a:pt x="2196844" y="7184926"/>
                    <a:pt x="2200853" y="7180915"/>
                    <a:pt x="2205809" y="7180915"/>
                  </a:cubicBezTo>
                  <a:close/>
                  <a:moveTo>
                    <a:pt x="2037069" y="7180915"/>
                  </a:moveTo>
                  <a:cubicBezTo>
                    <a:pt x="2042019" y="7180915"/>
                    <a:pt x="2046025" y="7184926"/>
                    <a:pt x="2046025" y="7189875"/>
                  </a:cubicBezTo>
                  <a:cubicBezTo>
                    <a:pt x="2046025" y="7194824"/>
                    <a:pt x="2042019" y="7198836"/>
                    <a:pt x="2037069" y="7198836"/>
                  </a:cubicBezTo>
                  <a:cubicBezTo>
                    <a:pt x="2032119" y="7198836"/>
                    <a:pt x="2028114" y="7194824"/>
                    <a:pt x="2028114" y="7189875"/>
                  </a:cubicBezTo>
                  <a:cubicBezTo>
                    <a:pt x="2028114" y="7184926"/>
                    <a:pt x="2032119" y="7180915"/>
                    <a:pt x="2037069" y="7180915"/>
                  </a:cubicBezTo>
                  <a:close/>
                  <a:moveTo>
                    <a:pt x="1868337" y="7180915"/>
                  </a:moveTo>
                  <a:cubicBezTo>
                    <a:pt x="1873282" y="7180915"/>
                    <a:pt x="1877293" y="7184926"/>
                    <a:pt x="1877293" y="7189875"/>
                  </a:cubicBezTo>
                  <a:cubicBezTo>
                    <a:pt x="1877293" y="7194824"/>
                    <a:pt x="1873282" y="7198836"/>
                    <a:pt x="1868337" y="7198836"/>
                  </a:cubicBezTo>
                  <a:cubicBezTo>
                    <a:pt x="1863385" y="7198836"/>
                    <a:pt x="1859371" y="7194824"/>
                    <a:pt x="1859371" y="7189875"/>
                  </a:cubicBezTo>
                  <a:cubicBezTo>
                    <a:pt x="1859371" y="7184926"/>
                    <a:pt x="1863385" y="7180915"/>
                    <a:pt x="1868337" y="7180915"/>
                  </a:cubicBezTo>
                  <a:close/>
                  <a:moveTo>
                    <a:pt x="1699592" y="7180915"/>
                  </a:moveTo>
                  <a:cubicBezTo>
                    <a:pt x="1704544" y="7180915"/>
                    <a:pt x="1708555" y="7184926"/>
                    <a:pt x="1708555" y="7189875"/>
                  </a:cubicBezTo>
                  <a:cubicBezTo>
                    <a:pt x="1708555" y="7194824"/>
                    <a:pt x="1704544" y="7198836"/>
                    <a:pt x="1699592" y="7198836"/>
                  </a:cubicBezTo>
                  <a:cubicBezTo>
                    <a:pt x="1694641" y="7198836"/>
                    <a:pt x="1690629" y="7194824"/>
                    <a:pt x="1690629" y="7189875"/>
                  </a:cubicBezTo>
                  <a:cubicBezTo>
                    <a:pt x="1690629" y="7184926"/>
                    <a:pt x="1694641" y="7180915"/>
                    <a:pt x="1699592" y="7180915"/>
                  </a:cubicBezTo>
                  <a:close/>
                  <a:moveTo>
                    <a:pt x="1530850" y="7180915"/>
                  </a:moveTo>
                  <a:cubicBezTo>
                    <a:pt x="1535800" y="7180915"/>
                    <a:pt x="1539811" y="7184926"/>
                    <a:pt x="1539811" y="7189875"/>
                  </a:cubicBezTo>
                  <a:cubicBezTo>
                    <a:pt x="1539811" y="7194824"/>
                    <a:pt x="1535800" y="7198836"/>
                    <a:pt x="1530850" y="7198836"/>
                  </a:cubicBezTo>
                  <a:cubicBezTo>
                    <a:pt x="1525901" y="7198836"/>
                    <a:pt x="1521889" y="7194824"/>
                    <a:pt x="1521889" y="7189875"/>
                  </a:cubicBezTo>
                  <a:cubicBezTo>
                    <a:pt x="1521889" y="7184926"/>
                    <a:pt x="1525901" y="7180915"/>
                    <a:pt x="1530850" y="7180915"/>
                  </a:cubicBezTo>
                  <a:close/>
                  <a:moveTo>
                    <a:pt x="1362105" y="7180915"/>
                  </a:moveTo>
                  <a:cubicBezTo>
                    <a:pt x="1367056" y="7180915"/>
                    <a:pt x="1371065" y="7184926"/>
                    <a:pt x="1371065" y="7189875"/>
                  </a:cubicBezTo>
                  <a:cubicBezTo>
                    <a:pt x="1371065" y="7194824"/>
                    <a:pt x="1367056" y="7198836"/>
                    <a:pt x="1362105" y="7198836"/>
                  </a:cubicBezTo>
                  <a:cubicBezTo>
                    <a:pt x="1357156" y="7198836"/>
                    <a:pt x="1353144" y="7194824"/>
                    <a:pt x="1353144" y="7189875"/>
                  </a:cubicBezTo>
                  <a:cubicBezTo>
                    <a:pt x="1353144" y="7184926"/>
                    <a:pt x="1357156" y="7180915"/>
                    <a:pt x="1362105" y="7180915"/>
                  </a:cubicBezTo>
                  <a:close/>
                  <a:moveTo>
                    <a:pt x="1193364" y="7180915"/>
                  </a:moveTo>
                  <a:cubicBezTo>
                    <a:pt x="1198312" y="7180915"/>
                    <a:pt x="1202324" y="7184926"/>
                    <a:pt x="1202324" y="7189875"/>
                  </a:cubicBezTo>
                  <a:cubicBezTo>
                    <a:pt x="1202324" y="7194824"/>
                    <a:pt x="1198312" y="7198836"/>
                    <a:pt x="1193364" y="7198836"/>
                  </a:cubicBezTo>
                  <a:cubicBezTo>
                    <a:pt x="1188415" y="7198836"/>
                    <a:pt x="1184405" y="7194824"/>
                    <a:pt x="1184405" y="7189875"/>
                  </a:cubicBezTo>
                  <a:cubicBezTo>
                    <a:pt x="1184405" y="7184926"/>
                    <a:pt x="1188415" y="7180915"/>
                    <a:pt x="1193364" y="7180915"/>
                  </a:cubicBezTo>
                  <a:close/>
                  <a:moveTo>
                    <a:pt x="1024617" y="7180915"/>
                  </a:moveTo>
                  <a:cubicBezTo>
                    <a:pt x="1029568" y="7180915"/>
                    <a:pt x="1033581" y="7184926"/>
                    <a:pt x="1033581" y="7189875"/>
                  </a:cubicBezTo>
                  <a:cubicBezTo>
                    <a:pt x="1033581" y="7194824"/>
                    <a:pt x="1029568" y="7198836"/>
                    <a:pt x="1024617" y="7198836"/>
                  </a:cubicBezTo>
                  <a:cubicBezTo>
                    <a:pt x="1019670" y="7198836"/>
                    <a:pt x="1015659" y="7194824"/>
                    <a:pt x="1015659" y="7189875"/>
                  </a:cubicBezTo>
                  <a:cubicBezTo>
                    <a:pt x="1015659" y="7184926"/>
                    <a:pt x="1019670" y="7180915"/>
                    <a:pt x="1024617" y="7180915"/>
                  </a:cubicBezTo>
                  <a:close/>
                  <a:moveTo>
                    <a:pt x="855882" y="7180915"/>
                  </a:moveTo>
                  <a:cubicBezTo>
                    <a:pt x="860830" y="7180915"/>
                    <a:pt x="864842" y="7184926"/>
                    <a:pt x="864842" y="7189875"/>
                  </a:cubicBezTo>
                  <a:cubicBezTo>
                    <a:pt x="864842" y="7194824"/>
                    <a:pt x="860830" y="7198836"/>
                    <a:pt x="855882" y="7198836"/>
                  </a:cubicBezTo>
                  <a:cubicBezTo>
                    <a:pt x="850934" y="7198836"/>
                    <a:pt x="846922" y="7194824"/>
                    <a:pt x="846922" y="7189875"/>
                  </a:cubicBezTo>
                  <a:cubicBezTo>
                    <a:pt x="846922" y="7184926"/>
                    <a:pt x="850934" y="7180915"/>
                    <a:pt x="855882" y="7180915"/>
                  </a:cubicBezTo>
                  <a:close/>
                  <a:moveTo>
                    <a:pt x="687141" y="7180915"/>
                  </a:moveTo>
                  <a:cubicBezTo>
                    <a:pt x="692090" y="7180915"/>
                    <a:pt x="696101" y="7184926"/>
                    <a:pt x="696101" y="7189875"/>
                  </a:cubicBezTo>
                  <a:cubicBezTo>
                    <a:pt x="696101" y="7194824"/>
                    <a:pt x="692090" y="7198836"/>
                    <a:pt x="687141" y="7198836"/>
                  </a:cubicBezTo>
                  <a:cubicBezTo>
                    <a:pt x="682192" y="7198836"/>
                    <a:pt x="678181" y="7194824"/>
                    <a:pt x="678181" y="7189875"/>
                  </a:cubicBezTo>
                  <a:cubicBezTo>
                    <a:pt x="678181" y="7184926"/>
                    <a:pt x="682192" y="7180915"/>
                    <a:pt x="687141" y="7180915"/>
                  </a:cubicBezTo>
                  <a:close/>
                  <a:moveTo>
                    <a:pt x="518389" y="7180915"/>
                  </a:moveTo>
                  <a:cubicBezTo>
                    <a:pt x="523338" y="7180915"/>
                    <a:pt x="527349" y="7184926"/>
                    <a:pt x="527349" y="7189875"/>
                  </a:cubicBezTo>
                  <a:cubicBezTo>
                    <a:pt x="527349" y="7194824"/>
                    <a:pt x="523338" y="7198836"/>
                    <a:pt x="518389" y="7198836"/>
                  </a:cubicBezTo>
                  <a:cubicBezTo>
                    <a:pt x="513440" y="7198836"/>
                    <a:pt x="509428" y="7194824"/>
                    <a:pt x="509428" y="7189875"/>
                  </a:cubicBezTo>
                  <a:cubicBezTo>
                    <a:pt x="509428" y="7184926"/>
                    <a:pt x="513440" y="7180915"/>
                    <a:pt x="518389" y="7180915"/>
                  </a:cubicBezTo>
                  <a:close/>
                  <a:moveTo>
                    <a:pt x="349649" y="7180915"/>
                  </a:moveTo>
                  <a:cubicBezTo>
                    <a:pt x="354598" y="7180915"/>
                    <a:pt x="358610" y="7184926"/>
                    <a:pt x="358610" y="7189875"/>
                  </a:cubicBezTo>
                  <a:cubicBezTo>
                    <a:pt x="358610" y="7194824"/>
                    <a:pt x="354598" y="7198836"/>
                    <a:pt x="349649" y="7198836"/>
                  </a:cubicBezTo>
                  <a:cubicBezTo>
                    <a:pt x="344701" y="7198836"/>
                    <a:pt x="340689" y="7194824"/>
                    <a:pt x="340689" y="7189875"/>
                  </a:cubicBezTo>
                  <a:cubicBezTo>
                    <a:pt x="340689" y="7184926"/>
                    <a:pt x="344701" y="7180915"/>
                    <a:pt x="349649" y="7180915"/>
                  </a:cubicBezTo>
                  <a:close/>
                  <a:moveTo>
                    <a:pt x="179329" y="7180915"/>
                  </a:moveTo>
                  <a:cubicBezTo>
                    <a:pt x="184278" y="7180915"/>
                    <a:pt x="188290" y="7184926"/>
                    <a:pt x="188290" y="7189875"/>
                  </a:cubicBezTo>
                  <a:cubicBezTo>
                    <a:pt x="188290" y="7194824"/>
                    <a:pt x="184278" y="7198836"/>
                    <a:pt x="179329" y="7198836"/>
                  </a:cubicBezTo>
                  <a:cubicBezTo>
                    <a:pt x="174381" y="7198836"/>
                    <a:pt x="170369" y="7194824"/>
                    <a:pt x="170369" y="7189875"/>
                  </a:cubicBezTo>
                  <a:cubicBezTo>
                    <a:pt x="170369" y="7184926"/>
                    <a:pt x="174381" y="7180915"/>
                    <a:pt x="179329" y="7180915"/>
                  </a:cubicBezTo>
                  <a:close/>
                  <a:moveTo>
                    <a:pt x="9010" y="7180915"/>
                  </a:moveTo>
                  <a:cubicBezTo>
                    <a:pt x="13958" y="7180915"/>
                    <a:pt x="17970" y="7184926"/>
                    <a:pt x="17970" y="7189875"/>
                  </a:cubicBezTo>
                  <a:cubicBezTo>
                    <a:pt x="17970" y="7194824"/>
                    <a:pt x="13958" y="7198836"/>
                    <a:pt x="9010" y="7198836"/>
                  </a:cubicBezTo>
                  <a:cubicBezTo>
                    <a:pt x="4061" y="7198836"/>
                    <a:pt x="49" y="7194824"/>
                    <a:pt x="49" y="7189875"/>
                  </a:cubicBezTo>
                  <a:cubicBezTo>
                    <a:pt x="49" y="7184926"/>
                    <a:pt x="4061" y="7180915"/>
                    <a:pt x="9010" y="7180915"/>
                  </a:cubicBezTo>
                  <a:close/>
                  <a:moveTo>
                    <a:pt x="6933679" y="7009934"/>
                  </a:moveTo>
                  <a:cubicBezTo>
                    <a:pt x="6938628" y="7009934"/>
                    <a:pt x="6942639" y="7013945"/>
                    <a:pt x="6942639" y="7018894"/>
                  </a:cubicBezTo>
                  <a:cubicBezTo>
                    <a:pt x="6942639" y="7023843"/>
                    <a:pt x="6938628" y="7027855"/>
                    <a:pt x="6933679" y="7027855"/>
                  </a:cubicBezTo>
                  <a:cubicBezTo>
                    <a:pt x="6928730" y="7027855"/>
                    <a:pt x="6924718" y="7023843"/>
                    <a:pt x="6924718" y="7018894"/>
                  </a:cubicBezTo>
                  <a:cubicBezTo>
                    <a:pt x="6924718" y="7013945"/>
                    <a:pt x="6928730" y="7009934"/>
                    <a:pt x="6933679" y="7009934"/>
                  </a:cubicBezTo>
                  <a:close/>
                  <a:moveTo>
                    <a:pt x="6763357" y="7009934"/>
                  </a:moveTo>
                  <a:cubicBezTo>
                    <a:pt x="6768306" y="7009934"/>
                    <a:pt x="6772318" y="7013945"/>
                    <a:pt x="6772318" y="7018894"/>
                  </a:cubicBezTo>
                  <a:cubicBezTo>
                    <a:pt x="6772318" y="7023843"/>
                    <a:pt x="6768306" y="7027855"/>
                    <a:pt x="6763357" y="7027855"/>
                  </a:cubicBezTo>
                  <a:cubicBezTo>
                    <a:pt x="6758408" y="7027855"/>
                    <a:pt x="6754397" y="7023843"/>
                    <a:pt x="6754397" y="7018894"/>
                  </a:cubicBezTo>
                  <a:cubicBezTo>
                    <a:pt x="6754397" y="7013945"/>
                    <a:pt x="6758408" y="7009934"/>
                    <a:pt x="6763357" y="7009934"/>
                  </a:cubicBezTo>
                  <a:close/>
                  <a:moveTo>
                    <a:pt x="6593035" y="7009934"/>
                  </a:moveTo>
                  <a:cubicBezTo>
                    <a:pt x="6597984" y="7009934"/>
                    <a:pt x="6601996" y="7013945"/>
                    <a:pt x="6601996" y="7018894"/>
                  </a:cubicBezTo>
                  <a:cubicBezTo>
                    <a:pt x="6601996" y="7023843"/>
                    <a:pt x="6597984" y="7027855"/>
                    <a:pt x="6593035" y="7027855"/>
                  </a:cubicBezTo>
                  <a:cubicBezTo>
                    <a:pt x="6588086" y="7027855"/>
                    <a:pt x="6584075" y="7023843"/>
                    <a:pt x="6584075" y="7018894"/>
                  </a:cubicBezTo>
                  <a:cubicBezTo>
                    <a:pt x="6584075" y="7013945"/>
                    <a:pt x="6588086" y="7009934"/>
                    <a:pt x="6593035" y="7009934"/>
                  </a:cubicBezTo>
                  <a:close/>
                  <a:moveTo>
                    <a:pt x="6424294" y="7009934"/>
                  </a:moveTo>
                  <a:cubicBezTo>
                    <a:pt x="6429243" y="7009934"/>
                    <a:pt x="6433255" y="7013945"/>
                    <a:pt x="6433255" y="7018894"/>
                  </a:cubicBezTo>
                  <a:cubicBezTo>
                    <a:pt x="6433255" y="7023843"/>
                    <a:pt x="6429243" y="7027855"/>
                    <a:pt x="6424294" y="7027855"/>
                  </a:cubicBezTo>
                  <a:cubicBezTo>
                    <a:pt x="6419345" y="7027855"/>
                    <a:pt x="6415334" y="7023843"/>
                    <a:pt x="6415334" y="7018894"/>
                  </a:cubicBezTo>
                  <a:cubicBezTo>
                    <a:pt x="6415334" y="7013945"/>
                    <a:pt x="6419345" y="7009934"/>
                    <a:pt x="6424294" y="7009934"/>
                  </a:cubicBezTo>
                  <a:close/>
                  <a:moveTo>
                    <a:pt x="6255553" y="7009934"/>
                  </a:moveTo>
                  <a:cubicBezTo>
                    <a:pt x="6260502" y="7009934"/>
                    <a:pt x="6264514" y="7013945"/>
                    <a:pt x="6264514" y="7018894"/>
                  </a:cubicBezTo>
                  <a:cubicBezTo>
                    <a:pt x="6264514" y="7023843"/>
                    <a:pt x="6260502" y="7027855"/>
                    <a:pt x="6255553" y="7027855"/>
                  </a:cubicBezTo>
                  <a:cubicBezTo>
                    <a:pt x="6250604" y="7027855"/>
                    <a:pt x="6246593" y="7023843"/>
                    <a:pt x="6246593" y="7018894"/>
                  </a:cubicBezTo>
                  <a:cubicBezTo>
                    <a:pt x="6246593" y="7013945"/>
                    <a:pt x="6250604" y="7009934"/>
                    <a:pt x="6255553" y="7009934"/>
                  </a:cubicBezTo>
                  <a:close/>
                  <a:moveTo>
                    <a:pt x="6086811" y="7009934"/>
                  </a:moveTo>
                  <a:cubicBezTo>
                    <a:pt x="6091760" y="7009934"/>
                    <a:pt x="6095772" y="7013945"/>
                    <a:pt x="6095772" y="7018894"/>
                  </a:cubicBezTo>
                  <a:cubicBezTo>
                    <a:pt x="6095772" y="7023843"/>
                    <a:pt x="6091760" y="7027855"/>
                    <a:pt x="6086811" y="7027855"/>
                  </a:cubicBezTo>
                  <a:cubicBezTo>
                    <a:pt x="6081862" y="7027855"/>
                    <a:pt x="6077851" y="7023843"/>
                    <a:pt x="6077851" y="7018894"/>
                  </a:cubicBezTo>
                  <a:cubicBezTo>
                    <a:pt x="6077851" y="7013945"/>
                    <a:pt x="6081862" y="7009934"/>
                    <a:pt x="6086811" y="7009934"/>
                  </a:cubicBezTo>
                  <a:close/>
                  <a:moveTo>
                    <a:pt x="5918069" y="7009934"/>
                  </a:moveTo>
                  <a:cubicBezTo>
                    <a:pt x="5923018" y="7009934"/>
                    <a:pt x="5927030" y="7013945"/>
                    <a:pt x="5927030" y="7018894"/>
                  </a:cubicBezTo>
                  <a:cubicBezTo>
                    <a:pt x="5927030" y="7023843"/>
                    <a:pt x="5923018" y="7027855"/>
                    <a:pt x="5918069" y="7027855"/>
                  </a:cubicBezTo>
                  <a:cubicBezTo>
                    <a:pt x="5913120" y="7027855"/>
                    <a:pt x="5909109" y="7023843"/>
                    <a:pt x="5909109" y="7018894"/>
                  </a:cubicBezTo>
                  <a:cubicBezTo>
                    <a:pt x="5909109" y="7013945"/>
                    <a:pt x="5913120" y="7009934"/>
                    <a:pt x="5918069" y="7009934"/>
                  </a:cubicBezTo>
                  <a:close/>
                  <a:moveTo>
                    <a:pt x="5749328" y="7009934"/>
                  </a:moveTo>
                  <a:cubicBezTo>
                    <a:pt x="5754277" y="7009934"/>
                    <a:pt x="5758289" y="7013945"/>
                    <a:pt x="5758289" y="7018894"/>
                  </a:cubicBezTo>
                  <a:cubicBezTo>
                    <a:pt x="5758289" y="7023843"/>
                    <a:pt x="5754277" y="7027855"/>
                    <a:pt x="5749328" y="7027855"/>
                  </a:cubicBezTo>
                  <a:cubicBezTo>
                    <a:pt x="5744379" y="7027855"/>
                    <a:pt x="5740368" y="7023843"/>
                    <a:pt x="5740368" y="7018894"/>
                  </a:cubicBezTo>
                  <a:cubicBezTo>
                    <a:pt x="5740368" y="7013945"/>
                    <a:pt x="5744379" y="7009934"/>
                    <a:pt x="5749328" y="7009934"/>
                  </a:cubicBezTo>
                  <a:close/>
                  <a:moveTo>
                    <a:pt x="5580586" y="7009934"/>
                  </a:moveTo>
                  <a:cubicBezTo>
                    <a:pt x="5585535" y="7009934"/>
                    <a:pt x="5589547" y="7013945"/>
                    <a:pt x="5589547" y="7018894"/>
                  </a:cubicBezTo>
                  <a:cubicBezTo>
                    <a:pt x="5589547" y="7023843"/>
                    <a:pt x="5585535" y="7027855"/>
                    <a:pt x="5580586" y="7027855"/>
                  </a:cubicBezTo>
                  <a:cubicBezTo>
                    <a:pt x="5575637" y="7027855"/>
                    <a:pt x="5571626" y="7023843"/>
                    <a:pt x="5571626" y="7018894"/>
                  </a:cubicBezTo>
                  <a:cubicBezTo>
                    <a:pt x="5571626" y="7013945"/>
                    <a:pt x="5575637" y="7009934"/>
                    <a:pt x="5580586" y="7009934"/>
                  </a:cubicBezTo>
                  <a:close/>
                  <a:moveTo>
                    <a:pt x="5411845" y="7009934"/>
                  </a:moveTo>
                  <a:cubicBezTo>
                    <a:pt x="5416794" y="7009934"/>
                    <a:pt x="5420806" y="7013945"/>
                    <a:pt x="5420806" y="7018894"/>
                  </a:cubicBezTo>
                  <a:cubicBezTo>
                    <a:pt x="5420806" y="7023843"/>
                    <a:pt x="5416794" y="7027855"/>
                    <a:pt x="5411845" y="7027855"/>
                  </a:cubicBezTo>
                  <a:cubicBezTo>
                    <a:pt x="5406896" y="7027855"/>
                    <a:pt x="5402885" y="7023843"/>
                    <a:pt x="5402885" y="7018894"/>
                  </a:cubicBezTo>
                  <a:cubicBezTo>
                    <a:pt x="5402885" y="7013945"/>
                    <a:pt x="5406896" y="7009934"/>
                    <a:pt x="5411845" y="7009934"/>
                  </a:cubicBezTo>
                  <a:close/>
                  <a:moveTo>
                    <a:pt x="5243103" y="7009934"/>
                  </a:moveTo>
                  <a:cubicBezTo>
                    <a:pt x="5248052" y="7009934"/>
                    <a:pt x="5252064" y="7013945"/>
                    <a:pt x="5252064" y="7018894"/>
                  </a:cubicBezTo>
                  <a:cubicBezTo>
                    <a:pt x="5252064" y="7023843"/>
                    <a:pt x="5248052" y="7027855"/>
                    <a:pt x="5243103" y="7027855"/>
                  </a:cubicBezTo>
                  <a:cubicBezTo>
                    <a:pt x="5238154" y="7027855"/>
                    <a:pt x="5234143" y="7023843"/>
                    <a:pt x="5234143" y="7018894"/>
                  </a:cubicBezTo>
                  <a:cubicBezTo>
                    <a:pt x="5234143" y="7013945"/>
                    <a:pt x="5238154" y="7009934"/>
                    <a:pt x="5243103" y="7009934"/>
                  </a:cubicBezTo>
                  <a:close/>
                  <a:moveTo>
                    <a:pt x="5074362" y="7009934"/>
                  </a:moveTo>
                  <a:cubicBezTo>
                    <a:pt x="5079311" y="7009934"/>
                    <a:pt x="5083323" y="7013945"/>
                    <a:pt x="5083323" y="7018894"/>
                  </a:cubicBezTo>
                  <a:cubicBezTo>
                    <a:pt x="5083323" y="7023843"/>
                    <a:pt x="5079311" y="7027855"/>
                    <a:pt x="5074362" y="7027855"/>
                  </a:cubicBezTo>
                  <a:cubicBezTo>
                    <a:pt x="5069413" y="7027855"/>
                    <a:pt x="5065402" y="7023843"/>
                    <a:pt x="5065402" y="7018894"/>
                  </a:cubicBezTo>
                  <a:cubicBezTo>
                    <a:pt x="5065402" y="7013945"/>
                    <a:pt x="5069413" y="7009934"/>
                    <a:pt x="5074362" y="7009934"/>
                  </a:cubicBezTo>
                  <a:close/>
                  <a:moveTo>
                    <a:pt x="4905620" y="7009934"/>
                  </a:moveTo>
                  <a:cubicBezTo>
                    <a:pt x="4910569" y="7009934"/>
                    <a:pt x="4914581" y="7013945"/>
                    <a:pt x="4914581" y="7018894"/>
                  </a:cubicBezTo>
                  <a:cubicBezTo>
                    <a:pt x="4914581" y="7023843"/>
                    <a:pt x="4910569" y="7027855"/>
                    <a:pt x="4905620" y="7027855"/>
                  </a:cubicBezTo>
                  <a:cubicBezTo>
                    <a:pt x="4900671" y="7027855"/>
                    <a:pt x="4896660" y="7023843"/>
                    <a:pt x="4896660" y="7018894"/>
                  </a:cubicBezTo>
                  <a:cubicBezTo>
                    <a:pt x="4896660" y="7013945"/>
                    <a:pt x="4900671" y="7009934"/>
                    <a:pt x="4905620" y="7009934"/>
                  </a:cubicBezTo>
                  <a:close/>
                  <a:moveTo>
                    <a:pt x="4736878" y="7009934"/>
                  </a:moveTo>
                  <a:cubicBezTo>
                    <a:pt x="4741827" y="7009934"/>
                    <a:pt x="4745839" y="7013945"/>
                    <a:pt x="4745839" y="7018894"/>
                  </a:cubicBezTo>
                  <a:cubicBezTo>
                    <a:pt x="4745839" y="7023843"/>
                    <a:pt x="4741827" y="7027855"/>
                    <a:pt x="4736878" y="7027855"/>
                  </a:cubicBezTo>
                  <a:cubicBezTo>
                    <a:pt x="4731929" y="7027855"/>
                    <a:pt x="4727918" y="7023843"/>
                    <a:pt x="4727918" y="7018894"/>
                  </a:cubicBezTo>
                  <a:cubicBezTo>
                    <a:pt x="4727918" y="7013945"/>
                    <a:pt x="4731929" y="7009934"/>
                    <a:pt x="4736878" y="7009934"/>
                  </a:cubicBezTo>
                  <a:close/>
                  <a:moveTo>
                    <a:pt x="4568137" y="7009934"/>
                  </a:moveTo>
                  <a:cubicBezTo>
                    <a:pt x="4573086" y="7009934"/>
                    <a:pt x="4577098" y="7013945"/>
                    <a:pt x="4577098" y="7018894"/>
                  </a:cubicBezTo>
                  <a:cubicBezTo>
                    <a:pt x="4577098" y="7023843"/>
                    <a:pt x="4573086" y="7027855"/>
                    <a:pt x="4568137" y="7027855"/>
                  </a:cubicBezTo>
                  <a:cubicBezTo>
                    <a:pt x="4563188" y="7027855"/>
                    <a:pt x="4559177" y="7023843"/>
                    <a:pt x="4559177" y="7018894"/>
                  </a:cubicBezTo>
                  <a:cubicBezTo>
                    <a:pt x="4559177" y="7013945"/>
                    <a:pt x="4563188" y="7009934"/>
                    <a:pt x="4568137" y="7009934"/>
                  </a:cubicBezTo>
                  <a:close/>
                  <a:moveTo>
                    <a:pt x="4399396" y="7009934"/>
                  </a:moveTo>
                  <a:cubicBezTo>
                    <a:pt x="4404345" y="7009934"/>
                    <a:pt x="4408357" y="7013945"/>
                    <a:pt x="4408357" y="7018894"/>
                  </a:cubicBezTo>
                  <a:cubicBezTo>
                    <a:pt x="4408357" y="7023843"/>
                    <a:pt x="4404345" y="7027855"/>
                    <a:pt x="4399396" y="7027855"/>
                  </a:cubicBezTo>
                  <a:cubicBezTo>
                    <a:pt x="4394447" y="7027855"/>
                    <a:pt x="4390436" y="7023843"/>
                    <a:pt x="4390436" y="7018894"/>
                  </a:cubicBezTo>
                  <a:cubicBezTo>
                    <a:pt x="4390436" y="7013945"/>
                    <a:pt x="4394447" y="7009934"/>
                    <a:pt x="4399396" y="7009934"/>
                  </a:cubicBezTo>
                  <a:close/>
                  <a:moveTo>
                    <a:pt x="4230654" y="7009934"/>
                  </a:moveTo>
                  <a:cubicBezTo>
                    <a:pt x="4235603" y="7009934"/>
                    <a:pt x="4239615" y="7013945"/>
                    <a:pt x="4239615" y="7018894"/>
                  </a:cubicBezTo>
                  <a:cubicBezTo>
                    <a:pt x="4239615" y="7023843"/>
                    <a:pt x="4235603" y="7027855"/>
                    <a:pt x="4230654" y="7027855"/>
                  </a:cubicBezTo>
                  <a:cubicBezTo>
                    <a:pt x="4225705" y="7027855"/>
                    <a:pt x="4221694" y="7023843"/>
                    <a:pt x="4221694" y="7018894"/>
                  </a:cubicBezTo>
                  <a:cubicBezTo>
                    <a:pt x="4221694" y="7013945"/>
                    <a:pt x="4225705" y="7009934"/>
                    <a:pt x="4230654" y="7009934"/>
                  </a:cubicBezTo>
                  <a:close/>
                  <a:moveTo>
                    <a:pt x="4061912" y="7009934"/>
                  </a:moveTo>
                  <a:cubicBezTo>
                    <a:pt x="4066861" y="7009934"/>
                    <a:pt x="4070873" y="7013945"/>
                    <a:pt x="4070873" y="7018894"/>
                  </a:cubicBezTo>
                  <a:cubicBezTo>
                    <a:pt x="4070873" y="7023843"/>
                    <a:pt x="4066861" y="7027855"/>
                    <a:pt x="4061912" y="7027855"/>
                  </a:cubicBezTo>
                  <a:cubicBezTo>
                    <a:pt x="4056963" y="7027855"/>
                    <a:pt x="4052952" y="7023843"/>
                    <a:pt x="4052952" y="7018894"/>
                  </a:cubicBezTo>
                  <a:cubicBezTo>
                    <a:pt x="4052952" y="7013945"/>
                    <a:pt x="4056963" y="7009934"/>
                    <a:pt x="4061912" y="7009934"/>
                  </a:cubicBezTo>
                  <a:close/>
                  <a:moveTo>
                    <a:pt x="3893170" y="7009934"/>
                  </a:moveTo>
                  <a:cubicBezTo>
                    <a:pt x="3898119" y="7009934"/>
                    <a:pt x="3902131" y="7013945"/>
                    <a:pt x="3902131" y="7018894"/>
                  </a:cubicBezTo>
                  <a:cubicBezTo>
                    <a:pt x="3902131" y="7023843"/>
                    <a:pt x="3898119" y="7027855"/>
                    <a:pt x="3893170" y="7027855"/>
                  </a:cubicBezTo>
                  <a:cubicBezTo>
                    <a:pt x="3888221" y="7027855"/>
                    <a:pt x="3884210" y="7023843"/>
                    <a:pt x="3884210" y="7018894"/>
                  </a:cubicBezTo>
                  <a:cubicBezTo>
                    <a:pt x="3884210" y="7013945"/>
                    <a:pt x="3888221" y="7009934"/>
                    <a:pt x="3893170" y="7009934"/>
                  </a:cubicBezTo>
                  <a:close/>
                  <a:moveTo>
                    <a:pt x="3724429" y="7009934"/>
                  </a:moveTo>
                  <a:cubicBezTo>
                    <a:pt x="3729378" y="7009934"/>
                    <a:pt x="3733390" y="7013945"/>
                    <a:pt x="3733390" y="7018894"/>
                  </a:cubicBezTo>
                  <a:cubicBezTo>
                    <a:pt x="3733390" y="7023843"/>
                    <a:pt x="3729378" y="7027855"/>
                    <a:pt x="3724429" y="7027855"/>
                  </a:cubicBezTo>
                  <a:cubicBezTo>
                    <a:pt x="3719481" y="7027855"/>
                    <a:pt x="3715469" y="7023843"/>
                    <a:pt x="3715469" y="7018894"/>
                  </a:cubicBezTo>
                  <a:cubicBezTo>
                    <a:pt x="3715469" y="7013945"/>
                    <a:pt x="3719481" y="7009934"/>
                    <a:pt x="3724429" y="7009934"/>
                  </a:cubicBezTo>
                  <a:close/>
                  <a:moveTo>
                    <a:pt x="3555688" y="7009934"/>
                  </a:moveTo>
                  <a:cubicBezTo>
                    <a:pt x="3560637" y="7009934"/>
                    <a:pt x="3564649" y="7013945"/>
                    <a:pt x="3564649" y="7018894"/>
                  </a:cubicBezTo>
                  <a:cubicBezTo>
                    <a:pt x="3564649" y="7023843"/>
                    <a:pt x="3560637" y="7027855"/>
                    <a:pt x="3555688" y="7027855"/>
                  </a:cubicBezTo>
                  <a:cubicBezTo>
                    <a:pt x="3550740" y="7027855"/>
                    <a:pt x="3546728" y="7023843"/>
                    <a:pt x="3546728" y="7018894"/>
                  </a:cubicBezTo>
                  <a:cubicBezTo>
                    <a:pt x="3546728" y="7013945"/>
                    <a:pt x="3550740" y="7009934"/>
                    <a:pt x="3555688" y="7009934"/>
                  </a:cubicBezTo>
                  <a:close/>
                  <a:moveTo>
                    <a:pt x="3386987" y="7009934"/>
                  </a:moveTo>
                  <a:cubicBezTo>
                    <a:pt x="3391935" y="7009934"/>
                    <a:pt x="3395947" y="7013945"/>
                    <a:pt x="3395947" y="7018894"/>
                  </a:cubicBezTo>
                  <a:cubicBezTo>
                    <a:pt x="3395947" y="7023843"/>
                    <a:pt x="3391935" y="7027855"/>
                    <a:pt x="3386987" y="7027855"/>
                  </a:cubicBezTo>
                  <a:cubicBezTo>
                    <a:pt x="3382019" y="7027855"/>
                    <a:pt x="3378006" y="7023843"/>
                    <a:pt x="3378006" y="7018894"/>
                  </a:cubicBezTo>
                  <a:cubicBezTo>
                    <a:pt x="3378006" y="7013945"/>
                    <a:pt x="3382019" y="7009934"/>
                    <a:pt x="3386987" y="7009934"/>
                  </a:cubicBezTo>
                  <a:close/>
                  <a:moveTo>
                    <a:pt x="3218232" y="7009934"/>
                  </a:moveTo>
                  <a:cubicBezTo>
                    <a:pt x="3223191" y="7009934"/>
                    <a:pt x="3227204" y="7013945"/>
                    <a:pt x="3227204" y="7018894"/>
                  </a:cubicBezTo>
                  <a:cubicBezTo>
                    <a:pt x="3227204" y="7023843"/>
                    <a:pt x="3223191" y="7027855"/>
                    <a:pt x="3218232" y="7027855"/>
                  </a:cubicBezTo>
                  <a:cubicBezTo>
                    <a:pt x="3213286" y="7027855"/>
                    <a:pt x="3209275" y="7023843"/>
                    <a:pt x="3209275" y="7018894"/>
                  </a:cubicBezTo>
                  <a:cubicBezTo>
                    <a:pt x="3209275" y="7013945"/>
                    <a:pt x="3213286" y="7009934"/>
                    <a:pt x="3218232" y="7009934"/>
                  </a:cubicBezTo>
                  <a:close/>
                  <a:moveTo>
                    <a:pt x="3049519" y="7009934"/>
                  </a:moveTo>
                  <a:cubicBezTo>
                    <a:pt x="3054453" y="7009934"/>
                    <a:pt x="3058466" y="7013945"/>
                    <a:pt x="3058466" y="7018894"/>
                  </a:cubicBezTo>
                  <a:cubicBezTo>
                    <a:pt x="3058466" y="7023843"/>
                    <a:pt x="3054453" y="7027855"/>
                    <a:pt x="3049519" y="7027855"/>
                  </a:cubicBezTo>
                  <a:cubicBezTo>
                    <a:pt x="3044556" y="7027855"/>
                    <a:pt x="3040544" y="7023843"/>
                    <a:pt x="3040544" y="7018894"/>
                  </a:cubicBezTo>
                  <a:cubicBezTo>
                    <a:pt x="3040544" y="7013945"/>
                    <a:pt x="3044556" y="7009934"/>
                    <a:pt x="3049519" y="7009934"/>
                  </a:cubicBezTo>
                  <a:close/>
                  <a:moveTo>
                    <a:pt x="2880776" y="7009934"/>
                  </a:moveTo>
                  <a:cubicBezTo>
                    <a:pt x="2885721" y="7009934"/>
                    <a:pt x="2889733" y="7013945"/>
                    <a:pt x="2889733" y="7018894"/>
                  </a:cubicBezTo>
                  <a:cubicBezTo>
                    <a:pt x="2889733" y="7023843"/>
                    <a:pt x="2885721" y="7027855"/>
                    <a:pt x="2880776" y="7027855"/>
                  </a:cubicBezTo>
                  <a:cubicBezTo>
                    <a:pt x="2875823" y="7027855"/>
                    <a:pt x="2871813" y="7023843"/>
                    <a:pt x="2871813" y="7018894"/>
                  </a:cubicBezTo>
                  <a:cubicBezTo>
                    <a:pt x="2871813" y="7013945"/>
                    <a:pt x="2875823" y="7009934"/>
                    <a:pt x="2880776" y="7009934"/>
                  </a:cubicBezTo>
                  <a:close/>
                  <a:moveTo>
                    <a:pt x="2712023" y="7009934"/>
                  </a:moveTo>
                  <a:cubicBezTo>
                    <a:pt x="2716983" y="7009934"/>
                    <a:pt x="2721002" y="7013945"/>
                    <a:pt x="2721002" y="7018894"/>
                  </a:cubicBezTo>
                  <a:cubicBezTo>
                    <a:pt x="2721002" y="7023843"/>
                    <a:pt x="2716983" y="7027855"/>
                    <a:pt x="2712023" y="7027855"/>
                  </a:cubicBezTo>
                  <a:cubicBezTo>
                    <a:pt x="2707078" y="7027855"/>
                    <a:pt x="2703068" y="7023843"/>
                    <a:pt x="2703068" y="7018894"/>
                  </a:cubicBezTo>
                  <a:cubicBezTo>
                    <a:pt x="2703068" y="7013945"/>
                    <a:pt x="2707078" y="7009934"/>
                    <a:pt x="2712023" y="7009934"/>
                  </a:cubicBezTo>
                  <a:close/>
                  <a:moveTo>
                    <a:pt x="2543298" y="7009934"/>
                  </a:moveTo>
                  <a:cubicBezTo>
                    <a:pt x="2548253" y="7009934"/>
                    <a:pt x="2552263" y="7013945"/>
                    <a:pt x="2552263" y="7018894"/>
                  </a:cubicBezTo>
                  <a:cubicBezTo>
                    <a:pt x="2552263" y="7023843"/>
                    <a:pt x="2548253" y="7027855"/>
                    <a:pt x="2543298" y="7027855"/>
                  </a:cubicBezTo>
                  <a:cubicBezTo>
                    <a:pt x="2538349" y="7027855"/>
                    <a:pt x="2534338" y="7023843"/>
                    <a:pt x="2534338" y="7018894"/>
                  </a:cubicBezTo>
                  <a:cubicBezTo>
                    <a:pt x="2534338" y="7013945"/>
                    <a:pt x="2538349" y="7009934"/>
                    <a:pt x="2543298" y="7009934"/>
                  </a:cubicBezTo>
                  <a:close/>
                  <a:moveTo>
                    <a:pt x="2374541" y="7009934"/>
                  </a:moveTo>
                  <a:cubicBezTo>
                    <a:pt x="2379495" y="7009934"/>
                    <a:pt x="2383519" y="7013945"/>
                    <a:pt x="2383519" y="7018894"/>
                  </a:cubicBezTo>
                  <a:cubicBezTo>
                    <a:pt x="2383519" y="7023843"/>
                    <a:pt x="2379495" y="7027855"/>
                    <a:pt x="2374541" y="7027855"/>
                  </a:cubicBezTo>
                  <a:cubicBezTo>
                    <a:pt x="2369591" y="7027855"/>
                    <a:pt x="2365578" y="7023843"/>
                    <a:pt x="2365578" y="7018894"/>
                  </a:cubicBezTo>
                  <a:cubicBezTo>
                    <a:pt x="2365578" y="7013945"/>
                    <a:pt x="2369591" y="7009934"/>
                    <a:pt x="2374541" y="7009934"/>
                  </a:cubicBezTo>
                  <a:close/>
                  <a:moveTo>
                    <a:pt x="2205813" y="7009934"/>
                  </a:moveTo>
                  <a:cubicBezTo>
                    <a:pt x="2210761" y="7009934"/>
                    <a:pt x="2214773" y="7013945"/>
                    <a:pt x="2214773" y="7018894"/>
                  </a:cubicBezTo>
                  <a:cubicBezTo>
                    <a:pt x="2214773" y="7023843"/>
                    <a:pt x="2210761" y="7027855"/>
                    <a:pt x="2205813" y="7027855"/>
                  </a:cubicBezTo>
                  <a:cubicBezTo>
                    <a:pt x="2200856" y="7027855"/>
                    <a:pt x="2196847" y="7023843"/>
                    <a:pt x="2196847" y="7018894"/>
                  </a:cubicBezTo>
                  <a:cubicBezTo>
                    <a:pt x="2196847" y="7013945"/>
                    <a:pt x="2200856" y="7009934"/>
                    <a:pt x="2205813" y="7009934"/>
                  </a:cubicBezTo>
                  <a:close/>
                  <a:moveTo>
                    <a:pt x="2037072" y="7009934"/>
                  </a:moveTo>
                  <a:cubicBezTo>
                    <a:pt x="2042022" y="7009934"/>
                    <a:pt x="2046031" y="7013945"/>
                    <a:pt x="2046031" y="7018894"/>
                  </a:cubicBezTo>
                  <a:cubicBezTo>
                    <a:pt x="2046031" y="7023843"/>
                    <a:pt x="2042022" y="7027855"/>
                    <a:pt x="2037072" y="7027855"/>
                  </a:cubicBezTo>
                  <a:cubicBezTo>
                    <a:pt x="2032123" y="7027855"/>
                    <a:pt x="2028118" y="7023843"/>
                    <a:pt x="2028118" y="7018894"/>
                  </a:cubicBezTo>
                  <a:cubicBezTo>
                    <a:pt x="2028118" y="7013945"/>
                    <a:pt x="2032123" y="7009934"/>
                    <a:pt x="2037072" y="7009934"/>
                  </a:cubicBezTo>
                  <a:close/>
                  <a:moveTo>
                    <a:pt x="1868342" y="7009934"/>
                  </a:moveTo>
                  <a:cubicBezTo>
                    <a:pt x="1873286" y="7009934"/>
                    <a:pt x="1877298" y="7013945"/>
                    <a:pt x="1877298" y="7018894"/>
                  </a:cubicBezTo>
                  <a:cubicBezTo>
                    <a:pt x="1877298" y="7023843"/>
                    <a:pt x="1873286" y="7027855"/>
                    <a:pt x="1868342" y="7027855"/>
                  </a:cubicBezTo>
                  <a:cubicBezTo>
                    <a:pt x="1863391" y="7027855"/>
                    <a:pt x="1859375" y="7023843"/>
                    <a:pt x="1859375" y="7018894"/>
                  </a:cubicBezTo>
                  <a:cubicBezTo>
                    <a:pt x="1859375" y="7013945"/>
                    <a:pt x="1863391" y="7009934"/>
                    <a:pt x="1868342" y="7009934"/>
                  </a:cubicBezTo>
                  <a:close/>
                  <a:moveTo>
                    <a:pt x="1699597" y="7009934"/>
                  </a:moveTo>
                  <a:cubicBezTo>
                    <a:pt x="1704549" y="7009934"/>
                    <a:pt x="1708560" y="7013945"/>
                    <a:pt x="1708560" y="7018894"/>
                  </a:cubicBezTo>
                  <a:cubicBezTo>
                    <a:pt x="1708560" y="7023843"/>
                    <a:pt x="1704549" y="7027855"/>
                    <a:pt x="1699597" y="7027855"/>
                  </a:cubicBezTo>
                  <a:cubicBezTo>
                    <a:pt x="1694646" y="7027855"/>
                    <a:pt x="1690634" y="7023843"/>
                    <a:pt x="1690634" y="7018894"/>
                  </a:cubicBezTo>
                  <a:cubicBezTo>
                    <a:pt x="1690634" y="7013945"/>
                    <a:pt x="1694646" y="7009934"/>
                    <a:pt x="1699597" y="7009934"/>
                  </a:cubicBezTo>
                  <a:close/>
                  <a:moveTo>
                    <a:pt x="1530855" y="7009934"/>
                  </a:moveTo>
                  <a:cubicBezTo>
                    <a:pt x="1535804" y="7009934"/>
                    <a:pt x="1539816" y="7013945"/>
                    <a:pt x="1539816" y="7018894"/>
                  </a:cubicBezTo>
                  <a:cubicBezTo>
                    <a:pt x="1539816" y="7023843"/>
                    <a:pt x="1535804" y="7027855"/>
                    <a:pt x="1530855" y="7027855"/>
                  </a:cubicBezTo>
                  <a:cubicBezTo>
                    <a:pt x="1525906" y="7027855"/>
                    <a:pt x="1521894" y="7023843"/>
                    <a:pt x="1521894" y="7018894"/>
                  </a:cubicBezTo>
                  <a:cubicBezTo>
                    <a:pt x="1521894" y="7013945"/>
                    <a:pt x="1525906" y="7009934"/>
                    <a:pt x="1530855" y="7009934"/>
                  </a:cubicBezTo>
                  <a:close/>
                  <a:moveTo>
                    <a:pt x="1362109" y="7009934"/>
                  </a:moveTo>
                  <a:cubicBezTo>
                    <a:pt x="1367060" y="7009934"/>
                    <a:pt x="1371069" y="7013945"/>
                    <a:pt x="1371069" y="7018894"/>
                  </a:cubicBezTo>
                  <a:cubicBezTo>
                    <a:pt x="1371069" y="7023843"/>
                    <a:pt x="1367060" y="7027855"/>
                    <a:pt x="1362109" y="7027855"/>
                  </a:cubicBezTo>
                  <a:cubicBezTo>
                    <a:pt x="1357160" y="7027855"/>
                    <a:pt x="1353149" y="7023843"/>
                    <a:pt x="1353149" y="7018894"/>
                  </a:cubicBezTo>
                  <a:cubicBezTo>
                    <a:pt x="1353149" y="7013945"/>
                    <a:pt x="1357160" y="7009934"/>
                    <a:pt x="1362109" y="7009934"/>
                  </a:cubicBezTo>
                  <a:close/>
                  <a:moveTo>
                    <a:pt x="1193368" y="7009934"/>
                  </a:moveTo>
                  <a:cubicBezTo>
                    <a:pt x="1198317" y="7009934"/>
                    <a:pt x="1202329" y="7013945"/>
                    <a:pt x="1202329" y="7018894"/>
                  </a:cubicBezTo>
                  <a:cubicBezTo>
                    <a:pt x="1202329" y="7023843"/>
                    <a:pt x="1198317" y="7027855"/>
                    <a:pt x="1193368" y="7027855"/>
                  </a:cubicBezTo>
                  <a:cubicBezTo>
                    <a:pt x="1188420" y="7027855"/>
                    <a:pt x="1184409" y="7023843"/>
                    <a:pt x="1184409" y="7018894"/>
                  </a:cubicBezTo>
                  <a:cubicBezTo>
                    <a:pt x="1184409" y="7013945"/>
                    <a:pt x="1188420" y="7009934"/>
                    <a:pt x="1193368" y="7009934"/>
                  </a:cubicBezTo>
                  <a:close/>
                  <a:moveTo>
                    <a:pt x="1024622" y="7009934"/>
                  </a:moveTo>
                  <a:cubicBezTo>
                    <a:pt x="1029572" y="7009934"/>
                    <a:pt x="1033585" y="7013945"/>
                    <a:pt x="1033585" y="7018894"/>
                  </a:cubicBezTo>
                  <a:cubicBezTo>
                    <a:pt x="1033585" y="7023843"/>
                    <a:pt x="1029572" y="7027855"/>
                    <a:pt x="1024622" y="7027855"/>
                  </a:cubicBezTo>
                  <a:cubicBezTo>
                    <a:pt x="1019673" y="7027855"/>
                    <a:pt x="1015663" y="7023843"/>
                    <a:pt x="1015663" y="7018894"/>
                  </a:cubicBezTo>
                  <a:cubicBezTo>
                    <a:pt x="1015663" y="7013945"/>
                    <a:pt x="1019673" y="7009934"/>
                    <a:pt x="1024622" y="7009934"/>
                  </a:cubicBezTo>
                  <a:close/>
                  <a:moveTo>
                    <a:pt x="855887" y="7009934"/>
                  </a:moveTo>
                  <a:cubicBezTo>
                    <a:pt x="860835" y="7009934"/>
                    <a:pt x="864846" y="7013945"/>
                    <a:pt x="864846" y="7018894"/>
                  </a:cubicBezTo>
                  <a:cubicBezTo>
                    <a:pt x="864846" y="7023843"/>
                    <a:pt x="860835" y="7027855"/>
                    <a:pt x="855887" y="7027855"/>
                  </a:cubicBezTo>
                  <a:cubicBezTo>
                    <a:pt x="850938" y="7027855"/>
                    <a:pt x="846927" y="7023843"/>
                    <a:pt x="846927" y="7018894"/>
                  </a:cubicBezTo>
                  <a:cubicBezTo>
                    <a:pt x="846927" y="7013945"/>
                    <a:pt x="850938" y="7009934"/>
                    <a:pt x="855887" y="7009934"/>
                  </a:cubicBezTo>
                  <a:close/>
                  <a:moveTo>
                    <a:pt x="687145" y="7009934"/>
                  </a:moveTo>
                  <a:cubicBezTo>
                    <a:pt x="692094" y="7009934"/>
                    <a:pt x="696106" y="7013945"/>
                    <a:pt x="696106" y="7018894"/>
                  </a:cubicBezTo>
                  <a:cubicBezTo>
                    <a:pt x="696106" y="7023843"/>
                    <a:pt x="692094" y="7027855"/>
                    <a:pt x="687145" y="7027855"/>
                  </a:cubicBezTo>
                  <a:cubicBezTo>
                    <a:pt x="682197" y="7027855"/>
                    <a:pt x="678186" y="7023843"/>
                    <a:pt x="678186" y="7018894"/>
                  </a:cubicBezTo>
                  <a:cubicBezTo>
                    <a:pt x="678186" y="7013945"/>
                    <a:pt x="682197" y="7009934"/>
                    <a:pt x="687145" y="7009934"/>
                  </a:cubicBezTo>
                  <a:close/>
                  <a:moveTo>
                    <a:pt x="518393" y="7009934"/>
                  </a:moveTo>
                  <a:cubicBezTo>
                    <a:pt x="523341" y="7009934"/>
                    <a:pt x="527353" y="7013945"/>
                    <a:pt x="527353" y="7018894"/>
                  </a:cubicBezTo>
                  <a:cubicBezTo>
                    <a:pt x="527353" y="7023843"/>
                    <a:pt x="523341" y="7027855"/>
                    <a:pt x="518393" y="7027855"/>
                  </a:cubicBezTo>
                  <a:cubicBezTo>
                    <a:pt x="513444" y="7027855"/>
                    <a:pt x="509432" y="7023843"/>
                    <a:pt x="509432" y="7018894"/>
                  </a:cubicBezTo>
                  <a:cubicBezTo>
                    <a:pt x="509432" y="7013945"/>
                    <a:pt x="513444" y="7009934"/>
                    <a:pt x="518393" y="7009934"/>
                  </a:cubicBezTo>
                  <a:close/>
                  <a:moveTo>
                    <a:pt x="349653" y="7009934"/>
                  </a:moveTo>
                  <a:cubicBezTo>
                    <a:pt x="354602" y="7009934"/>
                    <a:pt x="358614" y="7013945"/>
                    <a:pt x="358614" y="7018894"/>
                  </a:cubicBezTo>
                  <a:cubicBezTo>
                    <a:pt x="358614" y="7023843"/>
                    <a:pt x="354602" y="7027855"/>
                    <a:pt x="349653" y="7027855"/>
                  </a:cubicBezTo>
                  <a:cubicBezTo>
                    <a:pt x="344705" y="7027855"/>
                    <a:pt x="340693" y="7023843"/>
                    <a:pt x="340693" y="7018894"/>
                  </a:cubicBezTo>
                  <a:cubicBezTo>
                    <a:pt x="340693" y="7013945"/>
                    <a:pt x="344705" y="7009934"/>
                    <a:pt x="349653" y="7009934"/>
                  </a:cubicBezTo>
                  <a:close/>
                  <a:moveTo>
                    <a:pt x="179333" y="7009934"/>
                  </a:moveTo>
                  <a:cubicBezTo>
                    <a:pt x="184282" y="7009934"/>
                    <a:pt x="188294" y="7013945"/>
                    <a:pt x="188294" y="7018894"/>
                  </a:cubicBezTo>
                  <a:cubicBezTo>
                    <a:pt x="188294" y="7023843"/>
                    <a:pt x="184282" y="7027855"/>
                    <a:pt x="179333" y="7027855"/>
                  </a:cubicBezTo>
                  <a:cubicBezTo>
                    <a:pt x="174385" y="7027855"/>
                    <a:pt x="170373" y="7023843"/>
                    <a:pt x="170373" y="7018894"/>
                  </a:cubicBezTo>
                  <a:cubicBezTo>
                    <a:pt x="170373" y="7013945"/>
                    <a:pt x="174385" y="7009934"/>
                    <a:pt x="179333" y="7009934"/>
                  </a:cubicBezTo>
                  <a:close/>
                  <a:moveTo>
                    <a:pt x="9014" y="7009934"/>
                  </a:moveTo>
                  <a:cubicBezTo>
                    <a:pt x="13963" y="7009934"/>
                    <a:pt x="17974" y="7013945"/>
                    <a:pt x="17974" y="7018894"/>
                  </a:cubicBezTo>
                  <a:cubicBezTo>
                    <a:pt x="17974" y="7023843"/>
                    <a:pt x="13963" y="7027855"/>
                    <a:pt x="9014" y="7027855"/>
                  </a:cubicBezTo>
                  <a:cubicBezTo>
                    <a:pt x="4065" y="7027855"/>
                    <a:pt x="54" y="7023843"/>
                    <a:pt x="54" y="7018894"/>
                  </a:cubicBezTo>
                  <a:cubicBezTo>
                    <a:pt x="54" y="7013945"/>
                    <a:pt x="4065" y="7009934"/>
                    <a:pt x="9014" y="7009934"/>
                  </a:cubicBezTo>
                  <a:close/>
                  <a:moveTo>
                    <a:pt x="6933679" y="6838952"/>
                  </a:moveTo>
                  <a:cubicBezTo>
                    <a:pt x="6938628" y="6838952"/>
                    <a:pt x="6942639" y="6842963"/>
                    <a:pt x="6942639" y="6847912"/>
                  </a:cubicBezTo>
                  <a:cubicBezTo>
                    <a:pt x="6942639" y="6852861"/>
                    <a:pt x="6938628" y="6856873"/>
                    <a:pt x="6933679" y="6856873"/>
                  </a:cubicBezTo>
                  <a:cubicBezTo>
                    <a:pt x="6928730" y="6856873"/>
                    <a:pt x="6924718" y="6852861"/>
                    <a:pt x="6924718" y="6847912"/>
                  </a:cubicBezTo>
                  <a:cubicBezTo>
                    <a:pt x="6924718" y="6842963"/>
                    <a:pt x="6928730" y="6838952"/>
                    <a:pt x="6933679" y="6838952"/>
                  </a:cubicBezTo>
                  <a:close/>
                  <a:moveTo>
                    <a:pt x="6763357" y="6838952"/>
                  </a:moveTo>
                  <a:cubicBezTo>
                    <a:pt x="6768306" y="6838952"/>
                    <a:pt x="6772318" y="6842963"/>
                    <a:pt x="6772318" y="6847912"/>
                  </a:cubicBezTo>
                  <a:cubicBezTo>
                    <a:pt x="6772318" y="6852861"/>
                    <a:pt x="6768306" y="6856873"/>
                    <a:pt x="6763357" y="6856873"/>
                  </a:cubicBezTo>
                  <a:cubicBezTo>
                    <a:pt x="6758408" y="6856873"/>
                    <a:pt x="6754397" y="6852861"/>
                    <a:pt x="6754397" y="6847912"/>
                  </a:cubicBezTo>
                  <a:cubicBezTo>
                    <a:pt x="6754397" y="6842963"/>
                    <a:pt x="6758408" y="6838952"/>
                    <a:pt x="6763357" y="6838952"/>
                  </a:cubicBezTo>
                  <a:close/>
                  <a:moveTo>
                    <a:pt x="6593035" y="6838952"/>
                  </a:moveTo>
                  <a:cubicBezTo>
                    <a:pt x="6597984" y="6838952"/>
                    <a:pt x="6601996" y="6842963"/>
                    <a:pt x="6601996" y="6847912"/>
                  </a:cubicBezTo>
                  <a:cubicBezTo>
                    <a:pt x="6601996" y="6852861"/>
                    <a:pt x="6597984" y="6856873"/>
                    <a:pt x="6593035" y="6856873"/>
                  </a:cubicBezTo>
                  <a:cubicBezTo>
                    <a:pt x="6588086" y="6856873"/>
                    <a:pt x="6584075" y="6852861"/>
                    <a:pt x="6584075" y="6847912"/>
                  </a:cubicBezTo>
                  <a:cubicBezTo>
                    <a:pt x="6584075" y="6842963"/>
                    <a:pt x="6588086" y="6838952"/>
                    <a:pt x="6593035" y="6838952"/>
                  </a:cubicBezTo>
                  <a:close/>
                  <a:moveTo>
                    <a:pt x="6424294" y="6838952"/>
                  </a:moveTo>
                  <a:cubicBezTo>
                    <a:pt x="6429243" y="6838952"/>
                    <a:pt x="6433255" y="6842963"/>
                    <a:pt x="6433255" y="6847912"/>
                  </a:cubicBezTo>
                  <a:cubicBezTo>
                    <a:pt x="6433255" y="6852861"/>
                    <a:pt x="6429243" y="6856873"/>
                    <a:pt x="6424294" y="6856873"/>
                  </a:cubicBezTo>
                  <a:cubicBezTo>
                    <a:pt x="6419345" y="6856873"/>
                    <a:pt x="6415334" y="6852861"/>
                    <a:pt x="6415334" y="6847912"/>
                  </a:cubicBezTo>
                  <a:cubicBezTo>
                    <a:pt x="6415334" y="6842963"/>
                    <a:pt x="6419345" y="6838952"/>
                    <a:pt x="6424294" y="6838952"/>
                  </a:cubicBezTo>
                  <a:close/>
                  <a:moveTo>
                    <a:pt x="6255553" y="6838952"/>
                  </a:moveTo>
                  <a:cubicBezTo>
                    <a:pt x="6260502" y="6838952"/>
                    <a:pt x="6264514" y="6842963"/>
                    <a:pt x="6264514" y="6847912"/>
                  </a:cubicBezTo>
                  <a:cubicBezTo>
                    <a:pt x="6264514" y="6852861"/>
                    <a:pt x="6260502" y="6856873"/>
                    <a:pt x="6255553" y="6856873"/>
                  </a:cubicBezTo>
                  <a:cubicBezTo>
                    <a:pt x="6250604" y="6856873"/>
                    <a:pt x="6246593" y="6852861"/>
                    <a:pt x="6246593" y="6847912"/>
                  </a:cubicBezTo>
                  <a:cubicBezTo>
                    <a:pt x="6246593" y="6842963"/>
                    <a:pt x="6250604" y="6838952"/>
                    <a:pt x="6255553" y="6838952"/>
                  </a:cubicBezTo>
                  <a:close/>
                  <a:moveTo>
                    <a:pt x="6086811" y="6838952"/>
                  </a:moveTo>
                  <a:cubicBezTo>
                    <a:pt x="6091760" y="6838952"/>
                    <a:pt x="6095772" y="6842963"/>
                    <a:pt x="6095772" y="6847912"/>
                  </a:cubicBezTo>
                  <a:cubicBezTo>
                    <a:pt x="6095772" y="6852861"/>
                    <a:pt x="6091760" y="6856873"/>
                    <a:pt x="6086811" y="6856873"/>
                  </a:cubicBezTo>
                  <a:cubicBezTo>
                    <a:pt x="6081862" y="6856873"/>
                    <a:pt x="6077851" y="6852861"/>
                    <a:pt x="6077851" y="6847912"/>
                  </a:cubicBezTo>
                  <a:cubicBezTo>
                    <a:pt x="6077851" y="6842963"/>
                    <a:pt x="6081862" y="6838952"/>
                    <a:pt x="6086811" y="6838952"/>
                  </a:cubicBezTo>
                  <a:close/>
                  <a:moveTo>
                    <a:pt x="5918069" y="6838952"/>
                  </a:moveTo>
                  <a:cubicBezTo>
                    <a:pt x="5923018" y="6838952"/>
                    <a:pt x="5927030" y="6842963"/>
                    <a:pt x="5927030" y="6847912"/>
                  </a:cubicBezTo>
                  <a:cubicBezTo>
                    <a:pt x="5927030" y="6852861"/>
                    <a:pt x="5923018" y="6856873"/>
                    <a:pt x="5918069" y="6856873"/>
                  </a:cubicBezTo>
                  <a:cubicBezTo>
                    <a:pt x="5913120" y="6856873"/>
                    <a:pt x="5909109" y="6852861"/>
                    <a:pt x="5909109" y="6847912"/>
                  </a:cubicBezTo>
                  <a:cubicBezTo>
                    <a:pt x="5909109" y="6842963"/>
                    <a:pt x="5913120" y="6838952"/>
                    <a:pt x="5918069" y="6838952"/>
                  </a:cubicBezTo>
                  <a:close/>
                  <a:moveTo>
                    <a:pt x="5749328" y="6838952"/>
                  </a:moveTo>
                  <a:cubicBezTo>
                    <a:pt x="5754277" y="6838952"/>
                    <a:pt x="5758289" y="6842963"/>
                    <a:pt x="5758289" y="6847912"/>
                  </a:cubicBezTo>
                  <a:cubicBezTo>
                    <a:pt x="5758289" y="6852861"/>
                    <a:pt x="5754277" y="6856873"/>
                    <a:pt x="5749328" y="6856873"/>
                  </a:cubicBezTo>
                  <a:cubicBezTo>
                    <a:pt x="5744379" y="6856873"/>
                    <a:pt x="5740368" y="6852861"/>
                    <a:pt x="5740368" y="6847912"/>
                  </a:cubicBezTo>
                  <a:cubicBezTo>
                    <a:pt x="5740368" y="6842963"/>
                    <a:pt x="5744379" y="6838952"/>
                    <a:pt x="5749328" y="6838952"/>
                  </a:cubicBezTo>
                  <a:close/>
                  <a:moveTo>
                    <a:pt x="5580586" y="6838952"/>
                  </a:moveTo>
                  <a:cubicBezTo>
                    <a:pt x="5585535" y="6838952"/>
                    <a:pt x="5589547" y="6842963"/>
                    <a:pt x="5589547" y="6847912"/>
                  </a:cubicBezTo>
                  <a:cubicBezTo>
                    <a:pt x="5589547" y="6852861"/>
                    <a:pt x="5585535" y="6856873"/>
                    <a:pt x="5580586" y="6856873"/>
                  </a:cubicBezTo>
                  <a:cubicBezTo>
                    <a:pt x="5575637" y="6856873"/>
                    <a:pt x="5571626" y="6852861"/>
                    <a:pt x="5571626" y="6847912"/>
                  </a:cubicBezTo>
                  <a:cubicBezTo>
                    <a:pt x="5571626" y="6842963"/>
                    <a:pt x="5575637" y="6838952"/>
                    <a:pt x="5580586" y="6838952"/>
                  </a:cubicBezTo>
                  <a:close/>
                  <a:moveTo>
                    <a:pt x="5411845" y="6838952"/>
                  </a:moveTo>
                  <a:cubicBezTo>
                    <a:pt x="5416794" y="6838952"/>
                    <a:pt x="5420806" y="6842963"/>
                    <a:pt x="5420806" y="6847912"/>
                  </a:cubicBezTo>
                  <a:cubicBezTo>
                    <a:pt x="5420806" y="6852861"/>
                    <a:pt x="5416794" y="6856873"/>
                    <a:pt x="5411845" y="6856873"/>
                  </a:cubicBezTo>
                  <a:cubicBezTo>
                    <a:pt x="5406896" y="6856873"/>
                    <a:pt x="5402885" y="6852861"/>
                    <a:pt x="5402885" y="6847912"/>
                  </a:cubicBezTo>
                  <a:cubicBezTo>
                    <a:pt x="5402885" y="6842963"/>
                    <a:pt x="5406896" y="6838952"/>
                    <a:pt x="5411845" y="6838952"/>
                  </a:cubicBezTo>
                  <a:close/>
                  <a:moveTo>
                    <a:pt x="5243103" y="6838952"/>
                  </a:moveTo>
                  <a:cubicBezTo>
                    <a:pt x="5248052" y="6838952"/>
                    <a:pt x="5252064" y="6842963"/>
                    <a:pt x="5252064" y="6847912"/>
                  </a:cubicBezTo>
                  <a:cubicBezTo>
                    <a:pt x="5252064" y="6852861"/>
                    <a:pt x="5248052" y="6856873"/>
                    <a:pt x="5243103" y="6856873"/>
                  </a:cubicBezTo>
                  <a:cubicBezTo>
                    <a:pt x="5238154" y="6856873"/>
                    <a:pt x="5234143" y="6852861"/>
                    <a:pt x="5234143" y="6847912"/>
                  </a:cubicBezTo>
                  <a:cubicBezTo>
                    <a:pt x="5234143" y="6842963"/>
                    <a:pt x="5238154" y="6838952"/>
                    <a:pt x="5243103" y="6838952"/>
                  </a:cubicBezTo>
                  <a:close/>
                  <a:moveTo>
                    <a:pt x="5074362" y="6838952"/>
                  </a:moveTo>
                  <a:cubicBezTo>
                    <a:pt x="5079311" y="6838952"/>
                    <a:pt x="5083323" y="6842963"/>
                    <a:pt x="5083323" y="6847912"/>
                  </a:cubicBezTo>
                  <a:cubicBezTo>
                    <a:pt x="5083323" y="6852861"/>
                    <a:pt x="5079311" y="6856873"/>
                    <a:pt x="5074362" y="6856873"/>
                  </a:cubicBezTo>
                  <a:cubicBezTo>
                    <a:pt x="5069413" y="6856873"/>
                    <a:pt x="5065402" y="6852861"/>
                    <a:pt x="5065402" y="6847912"/>
                  </a:cubicBezTo>
                  <a:cubicBezTo>
                    <a:pt x="5065402" y="6842963"/>
                    <a:pt x="5069413" y="6838952"/>
                    <a:pt x="5074362" y="6838952"/>
                  </a:cubicBezTo>
                  <a:close/>
                  <a:moveTo>
                    <a:pt x="4905620" y="6838952"/>
                  </a:moveTo>
                  <a:cubicBezTo>
                    <a:pt x="4910569" y="6838952"/>
                    <a:pt x="4914581" y="6842963"/>
                    <a:pt x="4914581" y="6847912"/>
                  </a:cubicBezTo>
                  <a:cubicBezTo>
                    <a:pt x="4914581" y="6852861"/>
                    <a:pt x="4910569" y="6856873"/>
                    <a:pt x="4905620" y="6856873"/>
                  </a:cubicBezTo>
                  <a:cubicBezTo>
                    <a:pt x="4900671" y="6856873"/>
                    <a:pt x="4896660" y="6852861"/>
                    <a:pt x="4896660" y="6847912"/>
                  </a:cubicBezTo>
                  <a:cubicBezTo>
                    <a:pt x="4896660" y="6842963"/>
                    <a:pt x="4900671" y="6838952"/>
                    <a:pt x="4905620" y="6838952"/>
                  </a:cubicBezTo>
                  <a:close/>
                  <a:moveTo>
                    <a:pt x="4736878" y="6838952"/>
                  </a:moveTo>
                  <a:cubicBezTo>
                    <a:pt x="4741827" y="6838952"/>
                    <a:pt x="4745839" y="6842963"/>
                    <a:pt x="4745839" y="6847912"/>
                  </a:cubicBezTo>
                  <a:cubicBezTo>
                    <a:pt x="4745839" y="6852861"/>
                    <a:pt x="4741827" y="6856873"/>
                    <a:pt x="4736878" y="6856873"/>
                  </a:cubicBezTo>
                  <a:cubicBezTo>
                    <a:pt x="4731929" y="6856873"/>
                    <a:pt x="4727918" y="6852861"/>
                    <a:pt x="4727918" y="6847912"/>
                  </a:cubicBezTo>
                  <a:cubicBezTo>
                    <a:pt x="4727918" y="6842963"/>
                    <a:pt x="4731929" y="6838952"/>
                    <a:pt x="4736878" y="6838952"/>
                  </a:cubicBezTo>
                  <a:close/>
                  <a:moveTo>
                    <a:pt x="4568137" y="6838952"/>
                  </a:moveTo>
                  <a:cubicBezTo>
                    <a:pt x="4573086" y="6838952"/>
                    <a:pt x="4577098" y="6842963"/>
                    <a:pt x="4577098" y="6847912"/>
                  </a:cubicBezTo>
                  <a:cubicBezTo>
                    <a:pt x="4577098" y="6852861"/>
                    <a:pt x="4573086" y="6856873"/>
                    <a:pt x="4568137" y="6856873"/>
                  </a:cubicBezTo>
                  <a:cubicBezTo>
                    <a:pt x="4563188" y="6856873"/>
                    <a:pt x="4559177" y="6852861"/>
                    <a:pt x="4559177" y="6847912"/>
                  </a:cubicBezTo>
                  <a:cubicBezTo>
                    <a:pt x="4559177" y="6842963"/>
                    <a:pt x="4563188" y="6838952"/>
                    <a:pt x="4568137" y="6838952"/>
                  </a:cubicBezTo>
                  <a:close/>
                  <a:moveTo>
                    <a:pt x="4399396" y="6838952"/>
                  </a:moveTo>
                  <a:cubicBezTo>
                    <a:pt x="4404345" y="6838952"/>
                    <a:pt x="4408357" y="6842963"/>
                    <a:pt x="4408357" y="6847912"/>
                  </a:cubicBezTo>
                  <a:cubicBezTo>
                    <a:pt x="4408357" y="6852861"/>
                    <a:pt x="4404345" y="6856873"/>
                    <a:pt x="4399396" y="6856873"/>
                  </a:cubicBezTo>
                  <a:cubicBezTo>
                    <a:pt x="4394447" y="6856873"/>
                    <a:pt x="4390436" y="6852861"/>
                    <a:pt x="4390436" y="6847912"/>
                  </a:cubicBezTo>
                  <a:cubicBezTo>
                    <a:pt x="4390436" y="6842963"/>
                    <a:pt x="4394447" y="6838952"/>
                    <a:pt x="4399396" y="6838952"/>
                  </a:cubicBezTo>
                  <a:close/>
                  <a:moveTo>
                    <a:pt x="4230654" y="6838952"/>
                  </a:moveTo>
                  <a:cubicBezTo>
                    <a:pt x="4235603" y="6838952"/>
                    <a:pt x="4239615" y="6842963"/>
                    <a:pt x="4239615" y="6847912"/>
                  </a:cubicBezTo>
                  <a:cubicBezTo>
                    <a:pt x="4239615" y="6852861"/>
                    <a:pt x="4235603" y="6856873"/>
                    <a:pt x="4230654" y="6856873"/>
                  </a:cubicBezTo>
                  <a:cubicBezTo>
                    <a:pt x="4225705" y="6856873"/>
                    <a:pt x="4221694" y="6852861"/>
                    <a:pt x="4221694" y="6847912"/>
                  </a:cubicBezTo>
                  <a:cubicBezTo>
                    <a:pt x="4221694" y="6842963"/>
                    <a:pt x="4225705" y="6838952"/>
                    <a:pt x="4230654" y="6838952"/>
                  </a:cubicBezTo>
                  <a:close/>
                  <a:moveTo>
                    <a:pt x="4061912" y="6838952"/>
                  </a:moveTo>
                  <a:cubicBezTo>
                    <a:pt x="4066861" y="6838952"/>
                    <a:pt x="4070873" y="6842963"/>
                    <a:pt x="4070873" y="6847912"/>
                  </a:cubicBezTo>
                  <a:cubicBezTo>
                    <a:pt x="4070873" y="6852861"/>
                    <a:pt x="4066861" y="6856873"/>
                    <a:pt x="4061912" y="6856873"/>
                  </a:cubicBezTo>
                  <a:cubicBezTo>
                    <a:pt x="4056963" y="6856873"/>
                    <a:pt x="4052952" y="6852861"/>
                    <a:pt x="4052952" y="6847912"/>
                  </a:cubicBezTo>
                  <a:cubicBezTo>
                    <a:pt x="4052952" y="6842963"/>
                    <a:pt x="4056963" y="6838952"/>
                    <a:pt x="4061912" y="6838952"/>
                  </a:cubicBezTo>
                  <a:close/>
                  <a:moveTo>
                    <a:pt x="3893170" y="6838952"/>
                  </a:moveTo>
                  <a:cubicBezTo>
                    <a:pt x="3898119" y="6838952"/>
                    <a:pt x="3902131" y="6842963"/>
                    <a:pt x="3902131" y="6847912"/>
                  </a:cubicBezTo>
                  <a:cubicBezTo>
                    <a:pt x="3902131" y="6852861"/>
                    <a:pt x="3898119" y="6856873"/>
                    <a:pt x="3893170" y="6856873"/>
                  </a:cubicBezTo>
                  <a:cubicBezTo>
                    <a:pt x="3888221" y="6856873"/>
                    <a:pt x="3884210" y="6852861"/>
                    <a:pt x="3884210" y="6847912"/>
                  </a:cubicBezTo>
                  <a:cubicBezTo>
                    <a:pt x="3884210" y="6842963"/>
                    <a:pt x="3888221" y="6838952"/>
                    <a:pt x="3893170" y="6838952"/>
                  </a:cubicBezTo>
                  <a:close/>
                  <a:moveTo>
                    <a:pt x="3724429" y="6838952"/>
                  </a:moveTo>
                  <a:cubicBezTo>
                    <a:pt x="3729378" y="6838952"/>
                    <a:pt x="3733390" y="6842963"/>
                    <a:pt x="3733390" y="6847912"/>
                  </a:cubicBezTo>
                  <a:cubicBezTo>
                    <a:pt x="3733390" y="6852861"/>
                    <a:pt x="3729378" y="6856873"/>
                    <a:pt x="3724429" y="6856873"/>
                  </a:cubicBezTo>
                  <a:cubicBezTo>
                    <a:pt x="3719481" y="6856873"/>
                    <a:pt x="3715469" y="6852861"/>
                    <a:pt x="3715469" y="6847912"/>
                  </a:cubicBezTo>
                  <a:cubicBezTo>
                    <a:pt x="3715469" y="6842963"/>
                    <a:pt x="3719481" y="6838952"/>
                    <a:pt x="3724429" y="6838952"/>
                  </a:cubicBezTo>
                  <a:close/>
                  <a:moveTo>
                    <a:pt x="3555688" y="6838952"/>
                  </a:moveTo>
                  <a:cubicBezTo>
                    <a:pt x="3560637" y="6838952"/>
                    <a:pt x="3564649" y="6842963"/>
                    <a:pt x="3564649" y="6847912"/>
                  </a:cubicBezTo>
                  <a:cubicBezTo>
                    <a:pt x="3564649" y="6852861"/>
                    <a:pt x="3560637" y="6856873"/>
                    <a:pt x="3555688" y="6856873"/>
                  </a:cubicBezTo>
                  <a:cubicBezTo>
                    <a:pt x="3550740" y="6856873"/>
                    <a:pt x="3546728" y="6852861"/>
                    <a:pt x="3546728" y="6847912"/>
                  </a:cubicBezTo>
                  <a:cubicBezTo>
                    <a:pt x="3546728" y="6842963"/>
                    <a:pt x="3550740" y="6838952"/>
                    <a:pt x="3555688" y="6838952"/>
                  </a:cubicBezTo>
                  <a:close/>
                  <a:moveTo>
                    <a:pt x="3386990" y="6838952"/>
                  </a:moveTo>
                  <a:cubicBezTo>
                    <a:pt x="3391938" y="6838952"/>
                    <a:pt x="3395950" y="6842963"/>
                    <a:pt x="3395950" y="6847912"/>
                  </a:cubicBezTo>
                  <a:cubicBezTo>
                    <a:pt x="3395950" y="6852861"/>
                    <a:pt x="3391938" y="6856873"/>
                    <a:pt x="3386990" y="6856873"/>
                  </a:cubicBezTo>
                  <a:cubicBezTo>
                    <a:pt x="3382020" y="6856873"/>
                    <a:pt x="3378008" y="6852861"/>
                    <a:pt x="3378008" y="6847912"/>
                  </a:cubicBezTo>
                  <a:cubicBezTo>
                    <a:pt x="3378008" y="6842963"/>
                    <a:pt x="3382020" y="6838952"/>
                    <a:pt x="3386990" y="6838952"/>
                  </a:cubicBezTo>
                  <a:close/>
                  <a:moveTo>
                    <a:pt x="3218234" y="6838952"/>
                  </a:moveTo>
                  <a:cubicBezTo>
                    <a:pt x="3223194" y="6838952"/>
                    <a:pt x="3227207" y="6842963"/>
                    <a:pt x="3227207" y="6847912"/>
                  </a:cubicBezTo>
                  <a:cubicBezTo>
                    <a:pt x="3227207" y="6852861"/>
                    <a:pt x="3223194" y="6856873"/>
                    <a:pt x="3218234" y="6856873"/>
                  </a:cubicBezTo>
                  <a:cubicBezTo>
                    <a:pt x="3213289" y="6856873"/>
                    <a:pt x="3209278" y="6852861"/>
                    <a:pt x="3209278" y="6847912"/>
                  </a:cubicBezTo>
                  <a:cubicBezTo>
                    <a:pt x="3209278" y="6842963"/>
                    <a:pt x="3213289" y="6838952"/>
                    <a:pt x="3218234" y="6838952"/>
                  </a:cubicBezTo>
                  <a:close/>
                  <a:moveTo>
                    <a:pt x="3049522" y="6838952"/>
                  </a:moveTo>
                  <a:cubicBezTo>
                    <a:pt x="3054456" y="6838952"/>
                    <a:pt x="3058469" y="6842963"/>
                    <a:pt x="3058469" y="6847912"/>
                  </a:cubicBezTo>
                  <a:cubicBezTo>
                    <a:pt x="3058469" y="6852861"/>
                    <a:pt x="3054456" y="6856873"/>
                    <a:pt x="3049522" y="6856873"/>
                  </a:cubicBezTo>
                  <a:cubicBezTo>
                    <a:pt x="3044559" y="6856873"/>
                    <a:pt x="3040547" y="6852861"/>
                    <a:pt x="3040547" y="6847912"/>
                  </a:cubicBezTo>
                  <a:cubicBezTo>
                    <a:pt x="3040547" y="6842963"/>
                    <a:pt x="3044559" y="6838952"/>
                    <a:pt x="3049522" y="6838952"/>
                  </a:cubicBezTo>
                  <a:close/>
                  <a:moveTo>
                    <a:pt x="2880780" y="6838952"/>
                  </a:moveTo>
                  <a:cubicBezTo>
                    <a:pt x="2885725" y="6838952"/>
                    <a:pt x="2889737" y="6842963"/>
                    <a:pt x="2889737" y="6847912"/>
                  </a:cubicBezTo>
                  <a:cubicBezTo>
                    <a:pt x="2889737" y="6852861"/>
                    <a:pt x="2885725" y="6856873"/>
                    <a:pt x="2880780" y="6856873"/>
                  </a:cubicBezTo>
                  <a:cubicBezTo>
                    <a:pt x="2875827" y="6856873"/>
                    <a:pt x="2871817" y="6852861"/>
                    <a:pt x="2871817" y="6847912"/>
                  </a:cubicBezTo>
                  <a:cubicBezTo>
                    <a:pt x="2871817" y="6842963"/>
                    <a:pt x="2875827" y="6838952"/>
                    <a:pt x="2880780" y="6838952"/>
                  </a:cubicBezTo>
                  <a:close/>
                  <a:moveTo>
                    <a:pt x="2712027" y="6838952"/>
                  </a:moveTo>
                  <a:cubicBezTo>
                    <a:pt x="2716988" y="6838952"/>
                    <a:pt x="2721006" y="6842963"/>
                    <a:pt x="2721006" y="6847912"/>
                  </a:cubicBezTo>
                  <a:cubicBezTo>
                    <a:pt x="2721006" y="6852861"/>
                    <a:pt x="2716988" y="6856873"/>
                    <a:pt x="2712027" y="6856873"/>
                  </a:cubicBezTo>
                  <a:cubicBezTo>
                    <a:pt x="2707081" y="6856873"/>
                    <a:pt x="2703071" y="6852861"/>
                    <a:pt x="2703071" y="6847912"/>
                  </a:cubicBezTo>
                  <a:cubicBezTo>
                    <a:pt x="2703071" y="6842963"/>
                    <a:pt x="2707081" y="6838952"/>
                    <a:pt x="2712027" y="6838952"/>
                  </a:cubicBezTo>
                  <a:close/>
                  <a:moveTo>
                    <a:pt x="2543303" y="6838952"/>
                  </a:moveTo>
                  <a:cubicBezTo>
                    <a:pt x="2548258" y="6838952"/>
                    <a:pt x="2552267" y="6842963"/>
                    <a:pt x="2552267" y="6847912"/>
                  </a:cubicBezTo>
                  <a:cubicBezTo>
                    <a:pt x="2552267" y="6852861"/>
                    <a:pt x="2548258" y="6856873"/>
                    <a:pt x="2543303" y="6856873"/>
                  </a:cubicBezTo>
                  <a:cubicBezTo>
                    <a:pt x="2538354" y="6856873"/>
                    <a:pt x="2534343" y="6852861"/>
                    <a:pt x="2534343" y="6847912"/>
                  </a:cubicBezTo>
                  <a:cubicBezTo>
                    <a:pt x="2534343" y="6842963"/>
                    <a:pt x="2538354" y="6838952"/>
                    <a:pt x="2543303" y="6838952"/>
                  </a:cubicBezTo>
                  <a:close/>
                  <a:moveTo>
                    <a:pt x="2374544" y="6838952"/>
                  </a:moveTo>
                  <a:cubicBezTo>
                    <a:pt x="2379498" y="6838952"/>
                    <a:pt x="2383523" y="6842963"/>
                    <a:pt x="2383523" y="6847912"/>
                  </a:cubicBezTo>
                  <a:cubicBezTo>
                    <a:pt x="2383523" y="6852861"/>
                    <a:pt x="2379498" y="6856873"/>
                    <a:pt x="2374544" y="6856873"/>
                  </a:cubicBezTo>
                  <a:cubicBezTo>
                    <a:pt x="2369594" y="6856873"/>
                    <a:pt x="2365581" y="6852861"/>
                    <a:pt x="2365581" y="6847912"/>
                  </a:cubicBezTo>
                  <a:cubicBezTo>
                    <a:pt x="2365581" y="6842963"/>
                    <a:pt x="2369594" y="6838952"/>
                    <a:pt x="2374544" y="6838952"/>
                  </a:cubicBezTo>
                  <a:close/>
                  <a:moveTo>
                    <a:pt x="2205818" y="6838952"/>
                  </a:moveTo>
                  <a:cubicBezTo>
                    <a:pt x="2210765" y="6838952"/>
                    <a:pt x="2214777" y="6842963"/>
                    <a:pt x="2214777" y="6847912"/>
                  </a:cubicBezTo>
                  <a:cubicBezTo>
                    <a:pt x="2214777" y="6852861"/>
                    <a:pt x="2210765" y="6856873"/>
                    <a:pt x="2205818" y="6856873"/>
                  </a:cubicBezTo>
                  <a:cubicBezTo>
                    <a:pt x="2200859" y="6856873"/>
                    <a:pt x="2196850" y="6852861"/>
                    <a:pt x="2196850" y="6847912"/>
                  </a:cubicBezTo>
                  <a:cubicBezTo>
                    <a:pt x="2196850" y="6842963"/>
                    <a:pt x="2200859" y="6838952"/>
                    <a:pt x="2205818" y="6838952"/>
                  </a:cubicBezTo>
                  <a:close/>
                  <a:moveTo>
                    <a:pt x="2037075" y="6838952"/>
                  </a:moveTo>
                  <a:cubicBezTo>
                    <a:pt x="2042027" y="6838952"/>
                    <a:pt x="2046034" y="6842963"/>
                    <a:pt x="2046034" y="6847912"/>
                  </a:cubicBezTo>
                  <a:cubicBezTo>
                    <a:pt x="2046034" y="6852861"/>
                    <a:pt x="2042027" y="6856873"/>
                    <a:pt x="2037075" y="6856873"/>
                  </a:cubicBezTo>
                  <a:cubicBezTo>
                    <a:pt x="2032127" y="6856873"/>
                    <a:pt x="2028123" y="6852861"/>
                    <a:pt x="2028123" y="6847912"/>
                  </a:cubicBezTo>
                  <a:cubicBezTo>
                    <a:pt x="2028123" y="6842963"/>
                    <a:pt x="2032127" y="6838952"/>
                    <a:pt x="2037075" y="6838952"/>
                  </a:cubicBezTo>
                  <a:close/>
                  <a:moveTo>
                    <a:pt x="1868347" y="6838952"/>
                  </a:moveTo>
                  <a:cubicBezTo>
                    <a:pt x="1873291" y="6838952"/>
                    <a:pt x="1877303" y="6842963"/>
                    <a:pt x="1877303" y="6847912"/>
                  </a:cubicBezTo>
                  <a:cubicBezTo>
                    <a:pt x="1877303" y="6852861"/>
                    <a:pt x="1873291" y="6856873"/>
                    <a:pt x="1868347" y="6856873"/>
                  </a:cubicBezTo>
                  <a:cubicBezTo>
                    <a:pt x="1863395" y="6856873"/>
                    <a:pt x="1859380" y="6852861"/>
                    <a:pt x="1859380" y="6847912"/>
                  </a:cubicBezTo>
                  <a:cubicBezTo>
                    <a:pt x="1859380" y="6842963"/>
                    <a:pt x="1863395" y="6838952"/>
                    <a:pt x="1868347" y="6838952"/>
                  </a:cubicBezTo>
                  <a:close/>
                  <a:moveTo>
                    <a:pt x="1699601" y="6838952"/>
                  </a:moveTo>
                  <a:cubicBezTo>
                    <a:pt x="1704553" y="6838952"/>
                    <a:pt x="1708565" y="6842963"/>
                    <a:pt x="1708565" y="6847912"/>
                  </a:cubicBezTo>
                  <a:cubicBezTo>
                    <a:pt x="1708565" y="6852861"/>
                    <a:pt x="1704553" y="6856873"/>
                    <a:pt x="1699601" y="6856873"/>
                  </a:cubicBezTo>
                  <a:cubicBezTo>
                    <a:pt x="1694651" y="6856873"/>
                    <a:pt x="1690638" y="6852861"/>
                    <a:pt x="1690638" y="6847912"/>
                  </a:cubicBezTo>
                  <a:cubicBezTo>
                    <a:pt x="1690638" y="6842963"/>
                    <a:pt x="1694651" y="6838952"/>
                    <a:pt x="1699601" y="6838952"/>
                  </a:cubicBezTo>
                  <a:close/>
                  <a:moveTo>
                    <a:pt x="1530860" y="6838952"/>
                  </a:moveTo>
                  <a:cubicBezTo>
                    <a:pt x="1535809" y="6838952"/>
                    <a:pt x="1539821" y="6842963"/>
                    <a:pt x="1539821" y="6847912"/>
                  </a:cubicBezTo>
                  <a:cubicBezTo>
                    <a:pt x="1539821" y="6852861"/>
                    <a:pt x="1535809" y="6856873"/>
                    <a:pt x="1530860" y="6856873"/>
                  </a:cubicBezTo>
                  <a:cubicBezTo>
                    <a:pt x="1525911" y="6856873"/>
                    <a:pt x="1521899" y="6852861"/>
                    <a:pt x="1521899" y="6847912"/>
                  </a:cubicBezTo>
                  <a:cubicBezTo>
                    <a:pt x="1521899" y="6842963"/>
                    <a:pt x="1525911" y="6838952"/>
                    <a:pt x="1530860" y="6838952"/>
                  </a:cubicBezTo>
                  <a:close/>
                  <a:moveTo>
                    <a:pt x="1362114" y="6838952"/>
                  </a:moveTo>
                  <a:cubicBezTo>
                    <a:pt x="1367065" y="6838952"/>
                    <a:pt x="1371074" y="6842963"/>
                    <a:pt x="1371074" y="6847912"/>
                  </a:cubicBezTo>
                  <a:cubicBezTo>
                    <a:pt x="1371074" y="6852861"/>
                    <a:pt x="1367065" y="6856873"/>
                    <a:pt x="1362114" y="6856873"/>
                  </a:cubicBezTo>
                  <a:cubicBezTo>
                    <a:pt x="1357165" y="6856873"/>
                    <a:pt x="1353153" y="6852861"/>
                    <a:pt x="1353153" y="6847912"/>
                  </a:cubicBezTo>
                  <a:cubicBezTo>
                    <a:pt x="1353153" y="6842963"/>
                    <a:pt x="1357165" y="6838952"/>
                    <a:pt x="1362114" y="6838952"/>
                  </a:cubicBezTo>
                  <a:close/>
                  <a:moveTo>
                    <a:pt x="1193373" y="6838952"/>
                  </a:moveTo>
                  <a:cubicBezTo>
                    <a:pt x="1198321" y="6838952"/>
                    <a:pt x="1202333" y="6842963"/>
                    <a:pt x="1202333" y="6847912"/>
                  </a:cubicBezTo>
                  <a:cubicBezTo>
                    <a:pt x="1202333" y="6852861"/>
                    <a:pt x="1198321" y="6856873"/>
                    <a:pt x="1193373" y="6856873"/>
                  </a:cubicBezTo>
                  <a:cubicBezTo>
                    <a:pt x="1188424" y="6856873"/>
                    <a:pt x="1184414" y="6852861"/>
                    <a:pt x="1184414" y="6847912"/>
                  </a:cubicBezTo>
                  <a:cubicBezTo>
                    <a:pt x="1184414" y="6842963"/>
                    <a:pt x="1188424" y="6838952"/>
                    <a:pt x="1193373" y="6838952"/>
                  </a:cubicBezTo>
                  <a:close/>
                  <a:moveTo>
                    <a:pt x="1024626" y="6838952"/>
                  </a:moveTo>
                  <a:cubicBezTo>
                    <a:pt x="1029576" y="6838952"/>
                    <a:pt x="1033590" y="6842963"/>
                    <a:pt x="1033590" y="6847912"/>
                  </a:cubicBezTo>
                  <a:cubicBezTo>
                    <a:pt x="1033590" y="6852861"/>
                    <a:pt x="1029576" y="6856873"/>
                    <a:pt x="1024626" y="6856873"/>
                  </a:cubicBezTo>
                  <a:cubicBezTo>
                    <a:pt x="1019678" y="6856873"/>
                    <a:pt x="1015666" y="6852861"/>
                    <a:pt x="1015666" y="6847912"/>
                  </a:cubicBezTo>
                  <a:cubicBezTo>
                    <a:pt x="1015666" y="6842963"/>
                    <a:pt x="1019678" y="6838952"/>
                    <a:pt x="1024626" y="6838952"/>
                  </a:cubicBezTo>
                  <a:close/>
                  <a:moveTo>
                    <a:pt x="855891" y="6838952"/>
                  </a:moveTo>
                  <a:cubicBezTo>
                    <a:pt x="860839" y="6838952"/>
                    <a:pt x="864851" y="6842963"/>
                    <a:pt x="864851" y="6847912"/>
                  </a:cubicBezTo>
                  <a:cubicBezTo>
                    <a:pt x="864851" y="6852861"/>
                    <a:pt x="860839" y="6856873"/>
                    <a:pt x="855891" y="6856873"/>
                  </a:cubicBezTo>
                  <a:cubicBezTo>
                    <a:pt x="850942" y="6856873"/>
                    <a:pt x="846932" y="6852861"/>
                    <a:pt x="846932" y="6847912"/>
                  </a:cubicBezTo>
                  <a:cubicBezTo>
                    <a:pt x="846932" y="6842963"/>
                    <a:pt x="850942" y="6838952"/>
                    <a:pt x="855891" y="6838952"/>
                  </a:cubicBezTo>
                  <a:close/>
                  <a:moveTo>
                    <a:pt x="687150" y="6838952"/>
                  </a:moveTo>
                  <a:cubicBezTo>
                    <a:pt x="692099" y="6838952"/>
                    <a:pt x="696111" y="6842963"/>
                    <a:pt x="696111" y="6847912"/>
                  </a:cubicBezTo>
                  <a:cubicBezTo>
                    <a:pt x="696111" y="6852861"/>
                    <a:pt x="692099" y="6856873"/>
                    <a:pt x="687150" y="6856873"/>
                  </a:cubicBezTo>
                  <a:cubicBezTo>
                    <a:pt x="682202" y="6856873"/>
                    <a:pt x="678190" y="6852861"/>
                    <a:pt x="678190" y="6847912"/>
                  </a:cubicBezTo>
                  <a:cubicBezTo>
                    <a:pt x="678190" y="6842963"/>
                    <a:pt x="682202" y="6838952"/>
                    <a:pt x="687150" y="6838952"/>
                  </a:cubicBezTo>
                  <a:close/>
                  <a:moveTo>
                    <a:pt x="518397" y="6838952"/>
                  </a:moveTo>
                  <a:cubicBezTo>
                    <a:pt x="523345" y="6838952"/>
                    <a:pt x="527357" y="6842963"/>
                    <a:pt x="527357" y="6847912"/>
                  </a:cubicBezTo>
                  <a:cubicBezTo>
                    <a:pt x="527357" y="6852861"/>
                    <a:pt x="523345" y="6856873"/>
                    <a:pt x="518397" y="6856873"/>
                  </a:cubicBezTo>
                  <a:cubicBezTo>
                    <a:pt x="513448" y="6856873"/>
                    <a:pt x="509436" y="6852861"/>
                    <a:pt x="509436" y="6847912"/>
                  </a:cubicBezTo>
                  <a:cubicBezTo>
                    <a:pt x="509436" y="6842963"/>
                    <a:pt x="513448" y="6838952"/>
                    <a:pt x="518397" y="6838952"/>
                  </a:cubicBezTo>
                  <a:close/>
                  <a:moveTo>
                    <a:pt x="349657" y="6838952"/>
                  </a:moveTo>
                  <a:cubicBezTo>
                    <a:pt x="354606" y="6838952"/>
                    <a:pt x="358618" y="6842963"/>
                    <a:pt x="358618" y="6847912"/>
                  </a:cubicBezTo>
                  <a:cubicBezTo>
                    <a:pt x="358618" y="6852861"/>
                    <a:pt x="354606" y="6856873"/>
                    <a:pt x="349657" y="6856873"/>
                  </a:cubicBezTo>
                  <a:cubicBezTo>
                    <a:pt x="344709" y="6856873"/>
                    <a:pt x="340697" y="6852861"/>
                    <a:pt x="340697" y="6847912"/>
                  </a:cubicBezTo>
                  <a:cubicBezTo>
                    <a:pt x="340697" y="6842963"/>
                    <a:pt x="344709" y="6838952"/>
                    <a:pt x="349657" y="6838952"/>
                  </a:cubicBezTo>
                  <a:close/>
                  <a:moveTo>
                    <a:pt x="179337" y="6838952"/>
                  </a:moveTo>
                  <a:cubicBezTo>
                    <a:pt x="184286" y="6838952"/>
                    <a:pt x="188298" y="6842963"/>
                    <a:pt x="188298" y="6847912"/>
                  </a:cubicBezTo>
                  <a:cubicBezTo>
                    <a:pt x="188298" y="6852861"/>
                    <a:pt x="184286" y="6856873"/>
                    <a:pt x="179337" y="6856873"/>
                  </a:cubicBezTo>
                  <a:cubicBezTo>
                    <a:pt x="174389" y="6856873"/>
                    <a:pt x="170377" y="6852861"/>
                    <a:pt x="170377" y="6847912"/>
                  </a:cubicBezTo>
                  <a:cubicBezTo>
                    <a:pt x="170377" y="6842963"/>
                    <a:pt x="174389" y="6838952"/>
                    <a:pt x="179337" y="6838952"/>
                  </a:cubicBezTo>
                  <a:close/>
                  <a:moveTo>
                    <a:pt x="9018" y="6838952"/>
                  </a:moveTo>
                  <a:cubicBezTo>
                    <a:pt x="13967" y="6838952"/>
                    <a:pt x="17978" y="6842963"/>
                    <a:pt x="17978" y="6847912"/>
                  </a:cubicBezTo>
                  <a:cubicBezTo>
                    <a:pt x="17978" y="6852861"/>
                    <a:pt x="13967" y="6856873"/>
                    <a:pt x="9018" y="6856873"/>
                  </a:cubicBezTo>
                  <a:cubicBezTo>
                    <a:pt x="4069" y="6856873"/>
                    <a:pt x="58" y="6852861"/>
                    <a:pt x="58" y="6847912"/>
                  </a:cubicBezTo>
                  <a:cubicBezTo>
                    <a:pt x="58" y="6842963"/>
                    <a:pt x="4069" y="6838952"/>
                    <a:pt x="9018" y="6838952"/>
                  </a:cubicBezTo>
                  <a:close/>
                  <a:moveTo>
                    <a:pt x="6933679" y="6667971"/>
                  </a:moveTo>
                  <a:cubicBezTo>
                    <a:pt x="6938628" y="6667971"/>
                    <a:pt x="6942639" y="6671982"/>
                    <a:pt x="6942639" y="6676931"/>
                  </a:cubicBezTo>
                  <a:cubicBezTo>
                    <a:pt x="6942639" y="6681880"/>
                    <a:pt x="6938628" y="6685892"/>
                    <a:pt x="6933679" y="6685892"/>
                  </a:cubicBezTo>
                  <a:cubicBezTo>
                    <a:pt x="6928730" y="6685892"/>
                    <a:pt x="6924718" y="6681880"/>
                    <a:pt x="6924718" y="6676931"/>
                  </a:cubicBezTo>
                  <a:cubicBezTo>
                    <a:pt x="6924718" y="6671982"/>
                    <a:pt x="6928730" y="6667971"/>
                    <a:pt x="6933679" y="6667971"/>
                  </a:cubicBezTo>
                  <a:close/>
                  <a:moveTo>
                    <a:pt x="6763357" y="6667971"/>
                  </a:moveTo>
                  <a:cubicBezTo>
                    <a:pt x="6768306" y="6667971"/>
                    <a:pt x="6772318" y="6671982"/>
                    <a:pt x="6772318" y="6676931"/>
                  </a:cubicBezTo>
                  <a:cubicBezTo>
                    <a:pt x="6772318" y="6681880"/>
                    <a:pt x="6768306" y="6685892"/>
                    <a:pt x="6763357" y="6685892"/>
                  </a:cubicBezTo>
                  <a:cubicBezTo>
                    <a:pt x="6758408" y="6685892"/>
                    <a:pt x="6754397" y="6681880"/>
                    <a:pt x="6754397" y="6676931"/>
                  </a:cubicBezTo>
                  <a:cubicBezTo>
                    <a:pt x="6754397" y="6671982"/>
                    <a:pt x="6758408" y="6667971"/>
                    <a:pt x="6763357" y="6667971"/>
                  </a:cubicBezTo>
                  <a:close/>
                  <a:moveTo>
                    <a:pt x="6593035" y="6667971"/>
                  </a:moveTo>
                  <a:cubicBezTo>
                    <a:pt x="6597984" y="6667971"/>
                    <a:pt x="6601996" y="6671982"/>
                    <a:pt x="6601996" y="6676931"/>
                  </a:cubicBezTo>
                  <a:cubicBezTo>
                    <a:pt x="6601996" y="6681880"/>
                    <a:pt x="6597984" y="6685892"/>
                    <a:pt x="6593035" y="6685892"/>
                  </a:cubicBezTo>
                  <a:cubicBezTo>
                    <a:pt x="6588086" y="6685892"/>
                    <a:pt x="6584075" y="6681880"/>
                    <a:pt x="6584075" y="6676931"/>
                  </a:cubicBezTo>
                  <a:cubicBezTo>
                    <a:pt x="6584075" y="6671982"/>
                    <a:pt x="6588086" y="6667971"/>
                    <a:pt x="6593035" y="6667971"/>
                  </a:cubicBezTo>
                  <a:close/>
                  <a:moveTo>
                    <a:pt x="6424294" y="6667971"/>
                  </a:moveTo>
                  <a:cubicBezTo>
                    <a:pt x="6429243" y="6667971"/>
                    <a:pt x="6433255" y="6671982"/>
                    <a:pt x="6433255" y="6676931"/>
                  </a:cubicBezTo>
                  <a:cubicBezTo>
                    <a:pt x="6433255" y="6681880"/>
                    <a:pt x="6429243" y="6685892"/>
                    <a:pt x="6424294" y="6685892"/>
                  </a:cubicBezTo>
                  <a:cubicBezTo>
                    <a:pt x="6419345" y="6685892"/>
                    <a:pt x="6415334" y="6681880"/>
                    <a:pt x="6415334" y="6676931"/>
                  </a:cubicBezTo>
                  <a:cubicBezTo>
                    <a:pt x="6415334" y="6671982"/>
                    <a:pt x="6419345" y="6667971"/>
                    <a:pt x="6424294" y="6667971"/>
                  </a:cubicBezTo>
                  <a:close/>
                  <a:moveTo>
                    <a:pt x="6255553" y="6667971"/>
                  </a:moveTo>
                  <a:cubicBezTo>
                    <a:pt x="6260502" y="6667971"/>
                    <a:pt x="6264514" y="6671982"/>
                    <a:pt x="6264514" y="6676931"/>
                  </a:cubicBezTo>
                  <a:cubicBezTo>
                    <a:pt x="6264514" y="6681880"/>
                    <a:pt x="6260502" y="6685892"/>
                    <a:pt x="6255553" y="6685892"/>
                  </a:cubicBezTo>
                  <a:cubicBezTo>
                    <a:pt x="6250604" y="6685892"/>
                    <a:pt x="6246593" y="6681880"/>
                    <a:pt x="6246593" y="6676931"/>
                  </a:cubicBezTo>
                  <a:cubicBezTo>
                    <a:pt x="6246593" y="6671982"/>
                    <a:pt x="6250604" y="6667971"/>
                    <a:pt x="6255553" y="6667971"/>
                  </a:cubicBezTo>
                  <a:close/>
                  <a:moveTo>
                    <a:pt x="6086811" y="6667971"/>
                  </a:moveTo>
                  <a:cubicBezTo>
                    <a:pt x="6091760" y="6667971"/>
                    <a:pt x="6095772" y="6671982"/>
                    <a:pt x="6095772" y="6676931"/>
                  </a:cubicBezTo>
                  <a:cubicBezTo>
                    <a:pt x="6095772" y="6681880"/>
                    <a:pt x="6091760" y="6685892"/>
                    <a:pt x="6086811" y="6685892"/>
                  </a:cubicBezTo>
                  <a:cubicBezTo>
                    <a:pt x="6081862" y="6685892"/>
                    <a:pt x="6077851" y="6681880"/>
                    <a:pt x="6077851" y="6676931"/>
                  </a:cubicBezTo>
                  <a:cubicBezTo>
                    <a:pt x="6077851" y="6671982"/>
                    <a:pt x="6081862" y="6667971"/>
                    <a:pt x="6086811" y="6667971"/>
                  </a:cubicBezTo>
                  <a:close/>
                  <a:moveTo>
                    <a:pt x="5918069" y="6667971"/>
                  </a:moveTo>
                  <a:cubicBezTo>
                    <a:pt x="5923018" y="6667971"/>
                    <a:pt x="5927030" y="6671982"/>
                    <a:pt x="5927030" y="6676931"/>
                  </a:cubicBezTo>
                  <a:cubicBezTo>
                    <a:pt x="5927030" y="6681880"/>
                    <a:pt x="5923018" y="6685892"/>
                    <a:pt x="5918069" y="6685892"/>
                  </a:cubicBezTo>
                  <a:cubicBezTo>
                    <a:pt x="5913120" y="6685892"/>
                    <a:pt x="5909109" y="6681880"/>
                    <a:pt x="5909109" y="6676931"/>
                  </a:cubicBezTo>
                  <a:cubicBezTo>
                    <a:pt x="5909109" y="6671982"/>
                    <a:pt x="5913120" y="6667971"/>
                    <a:pt x="5918069" y="6667971"/>
                  </a:cubicBezTo>
                  <a:close/>
                  <a:moveTo>
                    <a:pt x="5749328" y="6667971"/>
                  </a:moveTo>
                  <a:cubicBezTo>
                    <a:pt x="5754277" y="6667971"/>
                    <a:pt x="5758289" y="6671982"/>
                    <a:pt x="5758289" y="6676931"/>
                  </a:cubicBezTo>
                  <a:cubicBezTo>
                    <a:pt x="5758289" y="6681880"/>
                    <a:pt x="5754277" y="6685892"/>
                    <a:pt x="5749328" y="6685892"/>
                  </a:cubicBezTo>
                  <a:cubicBezTo>
                    <a:pt x="5744379" y="6685892"/>
                    <a:pt x="5740368" y="6681880"/>
                    <a:pt x="5740368" y="6676931"/>
                  </a:cubicBezTo>
                  <a:cubicBezTo>
                    <a:pt x="5740368" y="6671982"/>
                    <a:pt x="5744379" y="6667971"/>
                    <a:pt x="5749328" y="6667971"/>
                  </a:cubicBezTo>
                  <a:close/>
                  <a:moveTo>
                    <a:pt x="5580586" y="6667971"/>
                  </a:moveTo>
                  <a:cubicBezTo>
                    <a:pt x="5585535" y="6667971"/>
                    <a:pt x="5589547" y="6671982"/>
                    <a:pt x="5589547" y="6676931"/>
                  </a:cubicBezTo>
                  <a:cubicBezTo>
                    <a:pt x="5589547" y="6681880"/>
                    <a:pt x="5585535" y="6685892"/>
                    <a:pt x="5580586" y="6685892"/>
                  </a:cubicBezTo>
                  <a:cubicBezTo>
                    <a:pt x="5575637" y="6685892"/>
                    <a:pt x="5571626" y="6681880"/>
                    <a:pt x="5571626" y="6676931"/>
                  </a:cubicBezTo>
                  <a:cubicBezTo>
                    <a:pt x="5571626" y="6671982"/>
                    <a:pt x="5575637" y="6667971"/>
                    <a:pt x="5580586" y="6667971"/>
                  </a:cubicBezTo>
                  <a:close/>
                  <a:moveTo>
                    <a:pt x="5411845" y="6667971"/>
                  </a:moveTo>
                  <a:cubicBezTo>
                    <a:pt x="5416794" y="6667971"/>
                    <a:pt x="5420806" y="6671982"/>
                    <a:pt x="5420806" y="6676931"/>
                  </a:cubicBezTo>
                  <a:cubicBezTo>
                    <a:pt x="5420806" y="6681880"/>
                    <a:pt x="5416794" y="6685892"/>
                    <a:pt x="5411845" y="6685892"/>
                  </a:cubicBezTo>
                  <a:cubicBezTo>
                    <a:pt x="5406896" y="6685892"/>
                    <a:pt x="5402885" y="6681880"/>
                    <a:pt x="5402885" y="6676931"/>
                  </a:cubicBezTo>
                  <a:cubicBezTo>
                    <a:pt x="5402885" y="6671982"/>
                    <a:pt x="5406896" y="6667971"/>
                    <a:pt x="5411845" y="6667971"/>
                  </a:cubicBezTo>
                  <a:close/>
                  <a:moveTo>
                    <a:pt x="5243103" y="6667971"/>
                  </a:moveTo>
                  <a:cubicBezTo>
                    <a:pt x="5248052" y="6667971"/>
                    <a:pt x="5252064" y="6671982"/>
                    <a:pt x="5252064" y="6676931"/>
                  </a:cubicBezTo>
                  <a:cubicBezTo>
                    <a:pt x="5252064" y="6681880"/>
                    <a:pt x="5248052" y="6685892"/>
                    <a:pt x="5243103" y="6685892"/>
                  </a:cubicBezTo>
                  <a:cubicBezTo>
                    <a:pt x="5238154" y="6685892"/>
                    <a:pt x="5234143" y="6681880"/>
                    <a:pt x="5234143" y="6676931"/>
                  </a:cubicBezTo>
                  <a:cubicBezTo>
                    <a:pt x="5234143" y="6671982"/>
                    <a:pt x="5238154" y="6667971"/>
                    <a:pt x="5243103" y="6667971"/>
                  </a:cubicBezTo>
                  <a:close/>
                  <a:moveTo>
                    <a:pt x="5074362" y="6667971"/>
                  </a:moveTo>
                  <a:cubicBezTo>
                    <a:pt x="5079311" y="6667971"/>
                    <a:pt x="5083323" y="6671982"/>
                    <a:pt x="5083323" y="6676931"/>
                  </a:cubicBezTo>
                  <a:cubicBezTo>
                    <a:pt x="5083323" y="6681880"/>
                    <a:pt x="5079311" y="6685892"/>
                    <a:pt x="5074362" y="6685892"/>
                  </a:cubicBezTo>
                  <a:cubicBezTo>
                    <a:pt x="5069413" y="6685892"/>
                    <a:pt x="5065402" y="6681880"/>
                    <a:pt x="5065402" y="6676931"/>
                  </a:cubicBezTo>
                  <a:cubicBezTo>
                    <a:pt x="5065402" y="6671982"/>
                    <a:pt x="5069413" y="6667971"/>
                    <a:pt x="5074362" y="6667971"/>
                  </a:cubicBezTo>
                  <a:close/>
                  <a:moveTo>
                    <a:pt x="4905620" y="6667971"/>
                  </a:moveTo>
                  <a:cubicBezTo>
                    <a:pt x="4910569" y="6667971"/>
                    <a:pt x="4914581" y="6671982"/>
                    <a:pt x="4914581" y="6676931"/>
                  </a:cubicBezTo>
                  <a:cubicBezTo>
                    <a:pt x="4914581" y="6681880"/>
                    <a:pt x="4910569" y="6685892"/>
                    <a:pt x="4905620" y="6685892"/>
                  </a:cubicBezTo>
                  <a:cubicBezTo>
                    <a:pt x="4900671" y="6685892"/>
                    <a:pt x="4896660" y="6681880"/>
                    <a:pt x="4896660" y="6676931"/>
                  </a:cubicBezTo>
                  <a:cubicBezTo>
                    <a:pt x="4896660" y="6671982"/>
                    <a:pt x="4900671" y="6667971"/>
                    <a:pt x="4905620" y="6667971"/>
                  </a:cubicBezTo>
                  <a:close/>
                  <a:moveTo>
                    <a:pt x="4736878" y="6667971"/>
                  </a:moveTo>
                  <a:cubicBezTo>
                    <a:pt x="4741827" y="6667971"/>
                    <a:pt x="4745839" y="6671982"/>
                    <a:pt x="4745839" y="6676931"/>
                  </a:cubicBezTo>
                  <a:cubicBezTo>
                    <a:pt x="4745839" y="6681880"/>
                    <a:pt x="4741827" y="6685892"/>
                    <a:pt x="4736878" y="6685892"/>
                  </a:cubicBezTo>
                  <a:cubicBezTo>
                    <a:pt x="4731929" y="6685892"/>
                    <a:pt x="4727918" y="6681880"/>
                    <a:pt x="4727918" y="6676931"/>
                  </a:cubicBezTo>
                  <a:cubicBezTo>
                    <a:pt x="4727918" y="6671982"/>
                    <a:pt x="4731929" y="6667971"/>
                    <a:pt x="4736878" y="6667971"/>
                  </a:cubicBezTo>
                  <a:close/>
                  <a:moveTo>
                    <a:pt x="4568137" y="6667971"/>
                  </a:moveTo>
                  <a:cubicBezTo>
                    <a:pt x="4573086" y="6667971"/>
                    <a:pt x="4577098" y="6671982"/>
                    <a:pt x="4577098" y="6676931"/>
                  </a:cubicBezTo>
                  <a:cubicBezTo>
                    <a:pt x="4577098" y="6681880"/>
                    <a:pt x="4573086" y="6685892"/>
                    <a:pt x="4568137" y="6685892"/>
                  </a:cubicBezTo>
                  <a:cubicBezTo>
                    <a:pt x="4563188" y="6685892"/>
                    <a:pt x="4559177" y="6681880"/>
                    <a:pt x="4559177" y="6676931"/>
                  </a:cubicBezTo>
                  <a:cubicBezTo>
                    <a:pt x="4559177" y="6671982"/>
                    <a:pt x="4563188" y="6667971"/>
                    <a:pt x="4568137" y="6667971"/>
                  </a:cubicBezTo>
                  <a:close/>
                  <a:moveTo>
                    <a:pt x="4399396" y="6667971"/>
                  </a:moveTo>
                  <a:cubicBezTo>
                    <a:pt x="4404345" y="6667971"/>
                    <a:pt x="4408357" y="6671982"/>
                    <a:pt x="4408357" y="6676931"/>
                  </a:cubicBezTo>
                  <a:cubicBezTo>
                    <a:pt x="4408357" y="6681880"/>
                    <a:pt x="4404345" y="6685892"/>
                    <a:pt x="4399396" y="6685892"/>
                  </a:cubicBezTo>
                  <a:cubicBezTo>
                    <a:pt x="4394447" y="6685892"/>
                    <a:pt x="4390436" y="6681880"/>
                    <a:pt x="4390436" y="6676931"/>
                  </a:cubicBezTo>
                  <a:cubicBezTo>
                    <a:pt x="4390436" y="6671982"/>
                    <a:pt x="4394447" y="6667971"/>
                    <a:pt x="4399396" y="6667971"/>
                  </a:cubicBezTo>
                  <a:close/>
                  <a:moveTo>
                    <a:pt x="4230654" y="6667971"/>
                  </a:moveTo>
                  <a:cubicBezTo>
                    <a:pt x="4235603" y="6667971"/>
                    <a:pt x="4239615" y="6671982"/>
                    <a:pt x="4239615" y="6676931"/>
                  </a:cubicBezTo>
                  <a:cubicBezTo>
                    <a:pt x="4239615" y="6681880"/>
                    <a:pt x="4235603" y="6685892"/>
                    <a:pt x="4230654" y="6685892"/>
                  </a:cubicBezTo>
                  <a:cubicBezTo>
                    <a:pt x="4225705" y="6685892"/>
                    <a:pt x="4221694" y="6681880"/>
                    <a:pt x="4221694" y="6676931"/>
                  </a:cubicBezTo>
                  <a:cubicBezTo>
                    <a:pt x="4221694" y="6671982"/>
                    <a:pt x="4225705" y="6667971"/>
                    <a:pt x="4230654" y="6667971"/>
                  </a:cubicBezTo>
                  <a:close/>
                  <a:moveTo>
                    <a:pt x="4061912" y="6667971"/>
                  </a:moveTo>
                  <a:cubicBezTo>
                    <a:pt x="4066861" y="6667971"/>
                    <a:pt x="4070873" y="6671982"/>
                    <a:pt x="4070873" y="6676931"/>
                  </a:cubicBezTo>
                  <a:cubicBezTo>
                    <a:pt x="4070873" y="6681880"/>
                    <a:pt x="4066861" y="6685892"/>
                    <a:pt x="4061912" y="6685892"/>
                  </a:cubicBezTo>
                  <a:cubicBezTo>
                    <a:pt x="4056963" y="6685892"/>
                    <a:pt x="4052952" y="6681880"/>
                    <a:pt x="4052952" y="6676931"/>
                  </a:cubicBezTo>
                  <a:cubicBezTo>
                    <a:pt x="4052952" y="6671982"/>
                    <a:pt x="4056963" y="6667971"/>
                    <a:pt x="4061912" y="6667971"/>
                  </a:cubicBezTo>
                  <a:close/>
                  <a:moveTo>
                    <a:pt x="3893170" y="6667971"/>
                  </a:moveTo>
                  <a:cubicBezTo>
                    <a:pt x="3898119" y="6667971"/>
                    <a:pt x="3902131" y="6671982"/>
                    <a:pt x="3902131" y="6676931"/>
                  </a:cubicBezTo>
                  <a:cubicBezTo>
                    <a:pt x="3902131" y="6681880"/>
                    <a:pt x="3898119" y="6685892"/>
                    <a:pt x="3893170" y="6685892"/>
                  </a:cubicBezTo>
                  <a:cubicBezTo>
                    <a:pt x="3888221" y="6685892"/>
                    <a:pt x="3884210" y="6681880"/>
                    <a:pt x="3884210" y="6676931"/>
                  </a:cubicBezTo>
                  <a:cubicBezTo>
                    <a:pt x="3884210" y="6671982"/>
                    <a:pt x="3888221" y="6667971"/>
                    <a:pt x="3893170" y="6667971"/>
                  </a:cubicBezTo>
                  <a:close/>
                  <a:moveTo>
                    <a:pt x="3724429" y="6667971"/>
                  </a:moveTo>
                  <a:cubicBezTo>
                    <a:pt x="3729378" y="6667971"/>
                    <a:pt x="3733390" y="6671982"/>
                    <a:pt x="3733390" y="6676931"/>
                  </a:cubicBezTo>
                  <a:cubicBezTo>
                    <a:pt x="3733390" y="6681880"/>
                    <a:pt x="3729378" y="6685892"/>
                    <a:pt x="3724429" y="6685892"/>
                  </a:cubicBezTo>
                  <a:cubicBezTo>
                    <a:pt x="3719481" y="6685892"/>
                    <a:pt x="3715469" y="6681880"/>
                    <a:pt x="3715469" y="6676931"/>
                  </a:cubicBezTo>
                  <a:cubicBezTo>
                    <a:pt x="3715469" y="6671982"/>
                    <a:pt x="3719481" y="6667971"/>
                    <a:pt x="3724429" y="6667971"/>
                  </a:cubicBezTo>
                  <a:close/>
                  <a:moveTo>
                    <a:pt x="3555688" y="6667971"/>
                  </a:moveTo>
                  <a:cubicBezTo>
                    <a:pt x="3560637" y="6667971"/>
                    <a:pt x="3564649" y="6671982"/>
                    <a:pt x="3564649" y="6676931"/>
                  </a:cubicBezTo>
                  <a:cubicBezTo>
                    <a:pt x="3564649" y="6681880"/>
                    <a:pt x="3560637" y="6685892"/>
                    <a:pt x="3555688" y="6685892"/>
                  </a:cubicBezTo>
                  <a:cubicBezTo>
                    <a:pt x="3550740" y="6685892"/>
                    <a:pt x="3546728" y="6681880"/>
                    <a:pt x="3546728" y="6676931"/>
                  </a:cubicBezTo>
                  <a:cubicBezTo>
                    <a:pt x="3546728" y="6671982"/>
                    <a:pt x="3550740" y="6667971"/>
                    <a:pt x="3555688" y="6667971"/>
                  </a:cubicBezTo>
                  <a:close/>
                  <a:moveTo>
                    <a:pt x="3386993" y="6667971"/>
                  </a:moveTo>
                  <a:cubicBezTo>
                    <a:pt x="3391941" y="6667971"/>
                    <a:pt x="3395953" y="6671982"/>
                    <a:pt x="3395953" y="6676931"/>
                  </a:cubicBezTo>
                  <a:cubicBezTo>
                    <a:pt x="3395953" y="6681880"/>
                    <a:pt x="3391941" y="6685892"/>
                    <a:pt x="3386993" y="6685892"/>
                  </a:cubicBezTo>
                  <a:cubicBezTo>
                    <a:pt x="3382022" y="6685892"/>
                    <a:pt x="3378009" y="6681880"/>
                    <a:pt x="3378009" y="6676931"/>
                  </a:cubicBezTo>
                  <a:cubicBezTo>
                    <a:pt x="3378009" y="6671982"/>
                    <a:pt x="3382022" y="6667971"/>
                    <a:pt x="3386993" y="6667971"/>
                  </a:cubicBezTo>
                  <a:close/>
                  <a:moveTo>
                    <a:pt x="3218236" y="6667971"/>
                  </a:moveTo>
                  <a:cubicBezTo>
                    <a:pt x="3223197" y="6667971"/>
                    <a:pt x="3227210" y="6671982"/>
                    <a:pt x="3227210" y="6676931"/>
                  </a:cubicBezTo>
                  <a:cubicBezTo>
                    <a:pt x="3227210" y="6681880"/>
                    <a:pt x="3223197" y="6685892"/>
                    <a:pt x="3218236" y="6685892"/>
                  </a:cubicBezTo>
                  <a:cubicBezTo>
                    <a:pt x="3213292" y="6685892"/>
                    <a:pt x="3209281" y="6681880"/>
                    <a:pt x="3209281" y="6676931"/>
                  </a:cubicBezTo>
                  <a:cubicBezTo>
                    <a:pt x="3209281" y="6671982"/>
                    <a:pt x="3213292" y="6667971"/>
                    <a:pt x="3218236" y="6667971"/>
                  </a:cubicBezTo>
                  <a:close/>
                  <a:moveTo>
                    <a:pt x="3049525" y="6667971"/>
                  </a:moveTo>
                  <a:cubicBezTo>
                    <a:pt x="3054459" y="6667971"/>
                    <a:pt x="3058472" y="6671982"/>
                    <a:pt x="3058472" y="6676931"/>
                  </a:cubicBezTo>
                  <a:cubicBezTo>
                    <a:pt x="3058472" y="6681880"/>
                    <a:pt x="3054459" y="6685892"/>
                    <a:pt x="3049525" y="6685892"/>
                  </a:cubicBezTo>
                  <a:cubicBezTo>
                    <a:pt x="3044562" y="6685892"/>
                    <a:pt x="3040550" y="6681880"/>
                    <a:pt x="3040550" y="6676931"/>
                  </a:cubicBezTo>
                  <a:cubicBezTo>
                    <a:pt x="3040550" y="6671982"/>
                    <a:pt x="3044562" y="6667971"/>
                    <a:pt x="3049525" y="6667971"/>
                  </a:cubicBezTo>
                  <a:close/>
                  <a:moveTo>
                    <a:pt x="2880784" y="6667971"/>
                  </a:moveTo>
                  <a:cubicBezTo>
                    <a:pt x="2885729" y="6667971"/>
                    <a:pt x="2889741" y="6671982"/>
                    <a:pt x="2889741" y="6676931"/>
                  </a:cubicBezTo>
                  <a:cubicBezTo>
                    <a:pt x="2889741" y="6681880"/>
                    <a:pt x="2885729" y="6685892"/>
                    <a:pt x="2880784" y="6685892"/>
                  </a:cubicBezTo>
                  <a:cubicBezTo>
                    <a:pt x="2875830" y="6685892"/>
                    <a:pt x="2871821" y="6681880"/>
                    <a:pt x="2871821" y="6676931"/>
                  </a:cubicBezTo>
                  <a:cubicBezTo>
                    <a:pt x="2871821" y="6671982"/>
                    <a:pt x="2875830" y="6667971"/>
                    <a:pt x="2880784" y="6667971"/>
                  </a:cubicBezTo>
                  <a:close/>
                  <a:moveTo>
                    <a:pt x="2712030" y="6667971"/>
                  </a:moveTo>
                  <a:cubicBezTo>
                    <a:pt x="2716992" y="6667971"/>
                    <a:pt x="2721010" y="6671982"/>
                    <a:pt x="2721010" y="6676931"/>
                  </a:cubicBezTo>
                  <a:cubicBezTo>
                    <a:pt x="2721010" y="6681880"/>
                    <a:pt x="2716992" y="6685892"/>
                    <a:pt x="2712030" y="6685892"/>
                  </a:cubicBezTo>
                  <a:cubicBezTo>
                    <a:pt x="2707084" y="6685892"/>
                    <a:pt x="2703074" y="6681880"/>
                    <a:pt x="2703074" y="6676931"/>
                  </a:cubicBezTo>
                  <a:cubicBezTo>
                    <a:pt x="2703074" y="6671982"/>
                    <a:pt x="2707084" y="6667971"/>
                    <a:pt x="2712030" y="6667971"/>
                  </a:cubicBezTo>
                  <a:close/>
                  <a:moveTo>
                    <a:pt x="2543307" y="6667971"/>
                  </a:moveTo>
                  <a:cubicBezTo>
                    <a:pt x="2548262" y="6667971"/>
                    <a:pt x="2552272" y="6671982"/>
                    <a:pt x="2552272" y="6676931"/>
                  </a:cubicBezTo>
                  <a:cubicBezTo>
                    <a:pt x="2552272" y="6681880"/>
                    <a:pt x="2548262" y="6685892"/>
                    <a:pt x="2543307" y="6685892"/>
                  </a:cubicBezTo>
                  <a:cubicBezTo>
                    <a:pt x="2538358" y="6685892"/>
                    <a:pt x="2534346" y="6681880"/>
                    <a:pt x="2534346" y="6676931"/>
                  </a:cubicBezTo>
                  <a:cubicBezTo>
                    <a:pt x="2534346" y="6671982"/>
                    <a:pt x="2538358" y="6667971"/>
                    <a:pt x="2543307" y="6667971"/>
                  </a:cubicBezTo>
                  <a:close/>
                  <a:moveTo>
                    <a:pt x="2374547" y="6667971"/>
                  </a:moveTo>
                  <a:cubicBezTo>
                    <a:pt x="2379501" y="6667971"/>
                    <a:pt x="2383528" y="6671982"/>
                    <a:pt x="2383528" y="6676931"/>
                  </a:cubicBezTo>
                  <a:cubicBezTo>
                    <a:pt x="2383528" y="6681880"/>
                    <a:pt x="2379501" y="6685892"/>
                    <a:pt x="2374547" y="6685892"/>
                  </a:cubicBezTo>
                  <a:cubicBezTo>
                    <a:pt x="2369597" y="6685892"/>
                    <a:pt x="2365584" y="6681880"/>
                    <a:pt x="2365584" y="6676931"/>
                  </a:cubicBezTo>
                  <a:cubicBezTo>
                    <a:pt x="2365584" y="6671982"/>
                    <a:pt x="2369597" y="6667971"/>
                    <a:pt x="2374547" y="6667971"/>
                  </a:cubicBezTo>
                  <a:close/>
                  <a:moveTo>
                    <a:pt x="2205822" y="6667971"/>
                  </a:moveTo>
                  <a:cubicBezTo>
                    <a:pt x="2210769" y="6667971"/>
                    <a:pt x="2214780" y="6671982"/>
                    <a:pt x="2214780" y="6676931"/>
                  </a:cubicBezTo>
                  <a:cubicBezTo>
                    <a:pt x="2214780" y="6681880"/>
                    <a:pt x="2210769" y="6685892"/>
                    <a:pt x="2205822" y="6685892"/>
                  </a:cubicBezTo>
                  <a:cubicBezTo>
                    <a:pt x="2200862" y="6685892"/>
                    <a:pt x="2196853" y="6681880"/>
                    <a:pt x="2196853" y="6676931"/>
                  </a:cubicBezTo>
                  <a:cubicBezTo>
                    <a:pt x="2196853" y="6671982"/>
                    <a:pt x="2200862" y="6667971"/>
                    <a:pt x="2205822" y="6667971"/>
                  </a:cubicBezTo>
                  <a:close/>
                  <a:moveTo>
                    <a:pt x="2037078" y="6667971"/>
                  </a:moveTo>
                  <a:cubicBezTo>
                    <a:pt x="2042031" y="6667971"/>
                    <a:pt x="2046037" y="6671982"/>
                    <a:pt x="2046037" y="6676931"/>
                  </a:cubicBezTo>
                  <a:cubicBezTo>
                    <a:pt x="2046037" y="6681880"/>
                    <a:pt x="2042031" y="6685892"/>
                    <a:pt x="2037078" y="6685892"/>
                  </a:cubicBezTo>
                  <a:cubicBezTo>
                    <a:pt x="2032132" y="6685892"/>
                    <a:pt x="2028128" y="6681880"/>
                    <a:pt x="2028128" y="6676931"/>
                  </a:cubicBezTo>
                  <a:cubicBezTo>
                    <a:pt x="2028128" y="6671982"/>
                    <a:pt x="2032132" y="6667971"/>
                    <a:pt x="2037078" y="6667971"/>
                  </a:cubicBezTo>
                  <a:close/>
                  <a:moveTo>
                    <a:pt x="1868352" y="6667971"/>
                  </a:moveTo>
                  <a:cubicBezTo>
                    <a:pt x="1873295" y="6667971"/>
                    <a:pt x="1877307" y="6671982"/>
                    <a:pt x="1877307" y="6676931"/>
                  </a:cubicBezTo>
                  <a:cubicBezTo>
                    <a:pt x="1877307" y="6681880"/>
                    <a:pt x="1873295" y="6685892"/>
                    <a:pt x="1868352" y="6685892"/>
                  </a:cubicBezTo>
                  <a:cubicBezTo>
                    <a:pt x="1863400" y="6685892"/>
                    <a:pt x="1859384" y="6681880"/>
                    <a:pt x="1859384" y="6676931"/>
                  </a:cubicBezTo>
                  <a:cubicBezTo>
                    <a:pt x="1859384" y="6671982"/>
                    <a:pt x="1863400" y="6667971"/>
                    <a:pt x="1868352" y="6667971"/>
                  </a:cubicBezTo>
                  <a:close/>
                  <a:moveTo>
                    <a:pt x="1699606" y="6667971"/>
                  </a:moveTo>
                  <a:cubicBezTo>
                    <a:pt x="1704559" y="6667971"/>
                    <a:pt x="1708570" y="6671982"/>
                    <a:pt x="1708570" y="6676931"/>
                  </a:cubicBezTo>
                  <a:cubicBezTo>
                    <a:pt x="1708570" y="6681880"/>
                    <a:pt x="1704559" y="6685892"/>
                    <a:pt x="1699606" y="6685892"/>
                  </a:cubicBezTo>
                  <a:cubicBezTo>
                    <a:pt x="1694656" y="6685892"/>
                    <a:pt x="1690643" y="6681880"/>
                    <a:pt x="1690643" y="6676931"/>
                  </a:cubicBezTo>
                  <a:cubicBezTo>
                    <a:pt x="1690643" y="6671982"/>
                    <a:pt x="1694656" y="6667971"/>
                    <a:pt x="1699606" y="6667971"/>
                  </a:cubicBezTo>
                  <a:close/>
                  <a:moveTo>
                    <a:pt x="1530865" y="6667971"/>
                  </a:moveTo>
                  <a:cubicBezTo>
                    <a:pt x="1535814" y="6667971"/>
                    <a:pt x="1539826" y="6671982"/>
                    <a:pt x="1539826" y="6676931"/>
                  </a:cubicBezTo>
                  <a:cubicBezTo>
                    <a:pt x="1539826" y="6681880"/>
                    <a:pt x="1535814" y="6685892"/>
                    <a:pt x="1530865" y="6685892"/>
                  </a:cubicBezTo>
                  <a:cubicBezTo>
                    <a:pt x="1525915" y="6685892"/>
                    <a:pt x="1521903" y="6681880"/>
                    <a:pt x="1521903" y="6676931"/>
                  </a:cubicBezTo>
                  <a:cubicBezTo>
                    <a:pt x="1521903" y="6671982"/>
                    <a:pt x="1525915" y="6667971"/>
                    <a:pt x="1530865" y="6667971"/>
                  </a:cubicBezTo>
                  <a:close/>
                  <a:moveTo>
                    <a:pt x="1362118" y="6667971"/>
                  </a:moveTo>
                  <a:cubicBezTo>
                    <a:pt x="1367070" y="6667971"/>
                    <a:pt x="1371078" y="6671982"/>
                    <a:pt x="1371078" y="6676931"/>
                  </a:cubicBezTo>
                  <a:cubicBezTo>
                    <a:pt x="1371078" y="6681880"/>
                    <a:pt x="1367070" y="6685892"/>
                    <a:pt x="1362118" y="6685892"/>
                  </a:cubicBezTo>
                  <a:cubicBezTo>
                    <a:pt x="1357169" y="6685892"/>
                    <a:pt x="1353158" y="6681880"/>
                    <a:pt x="1353158" y="6676931"/>
                  </a:cubicBezTo>
                  <a:cubicBezTo>
                    <a:pt x="1353158" y="6671982"/>
                    <a:pt x="1357169" y="6667971"/>
                    <a:pt x="1362118" y="6667971"/>
                  </a:cubicBezTo>
                  <a:close/>
                  <a:moveTo>
                    <a:pt x="1193377" y="6667971"/>
                  </a:moveTo>
                  <a:cubicBezTo>
                    <a:pt x="1198326" y="6667971"/>
                    <a:pt x="1202338" y="6671982"/>
                    <a:pt x="1202338" y="6676931"/>
                  </a:cubicBezTo>
                  <a:cubicBezTo>
                    <a:pt x="1202338" y="6681880"/>
                    <a:pt x="1198326" y="6685892"/>
                    <a:pt x="1193377" y="6685892"/>
                  </a:cubicBezTo>
                  <a:cubicBezTo>
                    <a:pt x="1188429" y="6685892"/>
                    <a:pt x="1184418" y="6681880"/>
                    <a:pt x="1184418" y="6676931"/>
                  </a:cubicBezTo>
                  <a:cubicBezTo>
                    <a:pt x="1184418" y="6671982"/>
                    <a:pt x="1188429" y="6667971"/>
                    <a:pt x="1193377" y="6667971"/>
                  </a:cubicBezTo>
                  <a:close/>
                  <a:moveTo>
                    <a:pt x="1024630" y="6667971"/>
                  </a:moveTo>
                  <a:cubicBezTo>
                    <a:pt x="1029581" y="6667971"/>
                    <a:pt x="1033594" y="6671982"/>
                    <a:pt x="1033594" y="6676931"/>
                  </a:cubicBezTo>
                  <a:cubicBezTo>
                    <a:pt x="1033594" y="6681880"/>
                    <a:pt x="1029581" y="6685892"/>
                    <a:pt x="1024630" y="6685892"/>
                  </a:cubicBezTo>
                  <a:cubicBezTo>
                    <a:pt x="1019682" y="6685892"/>
                    <a:pt x="1015671" y="6681880"/>
                    <a:pt x="1015671" y="6676931"/>
                  </a:cubicBezTo>
                  <a:cubicBezTo>
                    <a:pt x="1015671" y="6671982"/>
                    <a:pt x="1019682" y="6667971"/>
                    <a:pt x="1024630" y="6667971"/>
                  </a:cubicBezTo>
                  <a:close/>
                  <a:moveTo>
                    <a:pt x="855896" y="6667971"/>
                  </a:moveTo>
                  <a:cubicBezTo>
                    <a:pt x="860844" y="6667971"/>
                    <a:pt x="864855" y="6671982"/>
                    <a:pt x="864855" y="6676931"/>
                  </a:cubicBezTo>
                  <a:cubicBezTo>
                    <a:pt x="864855" y="6681880"/>
                    <a:pt x="860844" y="6685892"/>
                    <a:pt x="855896" y="6685892"/>
                  </a:cubicBezTo>
                  <a:cubicBezTo>
                    <a:pt x="850947" y="6685892"/>
                    <a:pt x="846936" y="6681880"/>
                    <a:pt x="846936" y="6676931"/>
                  </a:cubicBezTo>
                  <a:cubicBezTo>
                    <a:pt x="846936" y="6671982"/>
                    <a:pt x="850947" y="6667971"/>
                    <a:pt x="855896" y="6667971"/>
                  </a:cubicBezTo>
                  <a:close/>
                  <a:moveTo>
                    <a:pt x="687155" y="6667971"/>
                  </a:moveTo>
                  <a:cubicBezTo>
                    <a:pt x="692103" y="6667971"/>
                    <a:pt x="696115" y="6671982"/>
                    <a:pt x="696115" y="6676931"/>
                  </a:cubicBezTo>
                  <a:cubicBezTo>
                    <a:pt x="696115" y="6681880"/>
                    <a:pt x="692103" y="6685892"/>
                    <a:pt x="687155" y="6685892"/>
                  </a:cubicBezTo>
                  <a:cubicBezTo>
                    <a:pt x="682206" y="6685892"/>
                    <a:pt x="678195" y="6681880"/>
                    <a:pt x="678195" y="6676931"/>
                  </a:cubicBezTo>
                  <a:cubicBezTo>
                    <a:pt x="678195" y="6671982"/>
                    <a:pt x="682206" y="6667971"/>
                    <a:pt x="687155" y="6667971"/>
                  </a:cubicBezTo>
                  <a:close/>
                  <a:moveTo>
                    <a:pt x="518400" y="6667971"/>
                  </a:moveTo>
                  <a:cubicBezTo>
                    <a:pt x="523349" y="6667971"/>
                    <a:pt x="527361" y="6671982"/>
                    <a:pt x="527361" y="6676931"/>
                  </a:cubicBezTo>
                  <a:cubicBezTo>
                    <a:pt x="527361" y="6681880"/>
                    <a:pt x="523349" y="6685892"/>
                    <a:pt x="518400" y="6685892"/>
                  </a:cubicBezTo>
                  <a:cubicBezTo>
                    <a:pt x="513452" y="6685892"/>
                    <a:pt x="509440" y="6681880"/>
                    <a:pt x="509440" y="6676931"/>
                  </a:cubicBezTo>
                  <a:cubicBezTo>
                    <a:pt x="509440" y="6671982"/>
                    <a:pt x="513452" y="6667971"/>
                    <a:pt x="518400" y="6667971"/>
                  </a:cubicBezTo>
                  <a:close/>
                  <a:moveTo>
                    <a:pt x="349661" y="6667971"/>
                  </a:moveTo>
                  <a:cubicBezTo>
                    <a:pt x="354610" y="6667971"/>
                    <a:pt x="358621" y="6671982"/>
                    <a:pt x="358621" y="6676931"/>
                  </a:cubicBezTo>
                  <a:cubicBezTo>
                    <a:pt x="358621" y="6681880"/>
                    <a:pt x="354610" y="6685892"/>
                    <a:pt x="349661" y="6685892"/>
                  </a:cubicBezTo>
                  <a:cubicBezTo>
                    <a:pt x="344713" y="6685892"/>
                    <a:pt x="340701" y="6681880"/>
                    <a:pt x="340701" y="6676931"/>
                  </a:cubicBezTo>
                  <a:cubicBezTo>
                    <a:pt x="340701" y="6671982"/>
                    <a:pt x="344713" y="6667971"/>
                    <a:pt x="349661" y="6667971"/>
                  </a:cubicBezTo>
                  <a:close/>
                  <a:moveTo>
                    <a:pt x="179341" y="6667971"/>
                  </a:moveTo>
                  <a:cubicBezTo>
                    <a:pt x="184290" y="6667971"/>
                    <a:pt x="188302" y="6671982"/>
                    <a:pt x="188302" y="6676931"/>
                  </a:cubicBezTo>
                  <a:cubicBezTo>
                    <a:pt x="188302" y="6681880"/>
                    <a:pt x="184290" y="6685892"/>
                    <a:pt x="179341" y="6685892"/>
                  </a:cubicBezTo>
                  <a:cubicBezTo>
                    <a:pt x="174393" y="6685892"/>
                    <a:pt x="170381" y="6681880"/>
                    <a:pt x="170381" y="6676931"/>
                  </a:cubicBezTo>
                  <a:cubicBezTo>
                    <a:pt x="170381" y="6671982"/>
                    <a:pt x="174393" y="6667971"/>
                    <a:pt x="179341" y="6667971"/>
                  </a:cubicBezTo>
                  <a:close/>
                  <a:moveTo>
                    <a:pt x="9022" y="6667971"/>
                  </a:moveTo>
                  <a:cubicBezTo>
                    <a:pt x="13971" y="6667971"/>
                    <a:pt x="17982" y="6671982"/>
                    <a:pt x="17982" y="6676931"/>
                  </a:cubicBezTo>
                  <a:cubicBezTo>
                    <a:pt x="17982" y="6681880"/>
                    <a:pt x="13971" y="6685892"/>
                    <a:pt x="9022" y="6685892"/>
                  </a:cubicBezTo>
                  <a:cubicBezTo>
                    <a:pt x="4074" y="6685892"/>
                    <a:pt x="62" y="6681880"/>
                    <a:pt x="62" y="6676931"/>
                  </a:cubicBezTo>
                  <a:cubicBezTo>
                    <a:pt x="62" y="6671982"/>
                    <a:pt x="4074" y="6667971"/>
                    <a:pt x="9022" y="6667971"/>
                  </a:cubicBezTo>
                  <a:close/>
                  <a:moveTo>
                    <a:pt x="6933679" y="6496990"/>
                  </a:moveTo>
                  <a:cubicBezTo>
                    <a:pt x="6938628" y="6496990"/>
                    <a:pt x="6942639" y="6501001"/>
                    <a:pt x="6942639" y="6505950"/>
                  </a:cubicBezTo>
                  <a:cubicBezTo>
                    <a:pt x="6942639" y="6510899"/>
                    <a:pt x="6938628" y="6514911"/>
                    <a:pt x="6933679" y="6514911"/>
                  </a:cubicBezTo>
                  <a:cubicBezTo>
                    <a:pt x="6928730" y="6514911"/>
                    <a:pt x="6924718" y="6510899"/>
                    <a:pt x="6924718" y="6505950"/>
                  </a:cubicBezTo>
                  <a:cubicBezTo>
                    <a:pt x="6924718" y="6501001"/>
                    <a:pt x="6928730" y="6496990"/>
                    <a:pt x="6933679" y="6496990"/>
                  </a:cubicBezTo>
                  <a:close/>
                  <a:moveTo>
                    <a:pt x="6763357" y="6496990"/>
                  </a:moveTo>
                  <a:cubicBezTo>
                    <a:pt x="6768306" y="6496990"/>
                    <a:pt x="6772318" y="6501001"/>
                    <a:pt x="6772318" y="6505950"/>
                  </a:cubicBezTo>
                  <a:cubicBezTo>
                    <a:pt x="6772318" y="6510899"/>
                    <a:pt x="6768306" y="6514911"/>
                    <a:pt x="6763357" y="6514911"/>
                  </a:cubicBezTo>
                  <a:cubicBezTo>
                    <a:pt x="6758408" y="6514911"/>
                    <a:pt x="6754397" y="6510899"/>
                    <a:pt x="6754397" y="6505950"/>
                  </a:cubicBezTo>
                  <a:cubicBezTo>
                    <a:pt x="6754397" y="6501001"/>
                    <a:pt x="6758408" y="6496990"/>
                    <a:pt x="6763357" y="6496990"/>
                  </a:cubicBezTo>
                  <a:close/>
                  <a:moveTo>
                    <a:pt x="6593035" y="6496990"/>
                  </a:moveTo>
                  <a:cubicBezTo>
                    <a:pt x="6597984" y="6496990"/>
                    <a:pt x="6601996" y="6501001"/>
                    <a:pt x="6601996" y="6505950"/>
                  </a:cubicBezTo>
                  <a:cubicBezTo>
                    <a:pt x="6601996" y="6510899"/>
                    <a:pt x="6597984" y="6514911"/>
                    <a:pt x="6593035" y="6514911"/>
                  </a:cubicBezTo>
                  <a:cubicBezTo>
                    <a:pt x="6588086" y="6514911"/>
                    <a:pt x="6584075" y="6510899"/>
                    <a:pt x="6584075" y="6505950"/>
                  </a:cubicBezTo>
                  <a:cubicBezTo>
                    <a:pt x="6584075" y="6501001"/>
                    <a:pt x="6588086" y="6496990"/>
                    <a:pt x="6593035" y="6496990"/>
                  </a:cubicBezTo>
                  <a:close/>
                  <a:moveTo>
                    <a:pt x="6424294" y="6496990"/>
                  </a:moveTo>
                  <a:cubicBezTo>
                    <a:pt x="6429243" y="6496990"/>
                    <a:pt x="6433255" y="6501001"/>
                    <a:pt x="6433255" y="6505950"/>
                  </a:cubicBezTo>
                  <a:cubicBezTo>
                    <a:pt x="6433255" y="6510899"/>
                    <a:pt x="6429243" y="6514911"/>
                    <a:pt x="6424294" y="6514911"/>
                  </a:cubicBezTo>
                  <a:cubicBezTo>
                    <a:pt x="6419345" y="6514911"/>
                    <a:pt x="6415334" y="6510899"/>
                    <a:pt x="6415334" y="6505950"/>
                  </a:cubicBezTo>
                  <a:cubicBezTo>
                    <a:pt x="6415334" y="6501001"/>
                    <a:pt x="6419345" y="6496990"/>
                    <a:pt x="6424294" y="6496990"/>
                  </a:cubicBezTo>
                  <a:close/>
                  <a:moveTo>
                    <a:pt x="6255553" y="6496990"/>
                  </a:moveTo>
                  <a:cubicBezTo>
                    <a:pt x="6260502" y="6496990"/>
                    <a:pt x="6264514" y="6501001"/>
                    <a:pt x="6264514" y="6505950"/>
                  </a:cubicBezTo>
                  <a:cubicBezTo>
                    <a:pt x="6264514" y="6510899"/>
                    <a:pt x="6260502" y="6514911"/>
                    <a:pt x="6255553" y="6514911"/>
                  </a:cubicBezTo>
                  <a:cubicBezTo>
                    <a:pt x="6250604" y="6514911"/>
                    <a:pt x="6246593" y="6510899"/>
                    <a:pt x="6246593" y="6505950"/>
                  </a:cubicBezTo>
                  <a:cubicBezTo>
                    <a:pt x="6246593" y="6501001"/>
                    <a:pt x="6250604" y="6496990"/>
                    <a:pt x="6255553" y="6496990"/>
                  </a:cubicBezTo>
                  <a:close/>
                  <a:moveTo>
                    <a:pt x="6086811" y="6496990"/>
                  </a:moveTo>
                  <a:cubicBezTo>
                    <a:pt x="6091760" y="6496990"/>
                    <a:pt x="6095772" y="6501001"/>
                    <a:pt x="6095772" y="6505950"/>
                  </a:cubicBezTo>
                  <a:cubicBezTo>
                    <a:pt x="6095772" y="6510899"/>
                    <a:pt x="6091760" y="6514911"/>
                    <a:pt x="6086811" y="6514911"/>
                  </a:cubicBezTo>
                  <a:cubicBezTo>
                    <a:pt x="6081862" y="6514911"/>
                    <a:pt x="6077851" y="6510899"/>
                    <a:pt x="6077851" y="6505950"/>
                  </a:cubicBezTo>
                  <a:cubicBezTo>
                    <a:pt x="6077851" y="6501001"/>
                    <a:pt x="6081862" y="6496990"/>
                    <a:pt x="6086811" y="6496990"/>
                  </a:cubicBezTo>
                  <a:close/>
                  <a:moveTo>
                    <a:pt x="5918069" y="6496990"/>
                  </a:moveTo>
                  <a:cubicBezTo>
                    <a:pt x="5923018" y="6496990"/>
                    <a:pt x="5927030" y="6501001"/>
                    <a:pt x="5927030" y="6505950"/>
                  </a:cubicBezTo>
                  <a:cubicBezTo>
                    <a:pt x="5927030" y="6510899"/>
                    <a:pt x="5923018" y="6514911"/>
                    <a:pt x="5918069" y="6514911"/>
                  </a:cubicBezTo>
                  <a:cubicBezTo>
                    <a:pt x="5913120" y="6514911"/>
                    <a:pt x="5909109" y="6510899"/>
                    <a:pt x="5909109" y="6505950"/>
                  </a:cubicBezTo>
                  <a:cubicBezTo>
                    <a:pt x="5909109" y="6501001"/>
                    <a:pt x="5913120" y="6496990"/>
                    <a:pt x="5918069" y="6496990"/>
                  </a:cubicBezTo>
                  <a:close/>
                  <a:moveTo>
                    <a:pt x="5749328" y="6496990"/>
                  </a:moveTo>
                  <a:cubicBezTo>
                    <a:pt x="5754277" y="6496990"/>
                    <a:pt x="5758289" y="6501001"/>
                    <a:pt x="5758289" y="6505950"/>
                  </a:cubicBezTo>
                  <a:cubicBezTo>
                    <a:pt x="5758289" y="6510899"/>
                    <a:pt x="5754277" y="6514911"/>
                    <a:pt x="5749328" y="6514911"/>
                  </a:cubicBezTo>
                  <a:cubicBezTo>
                    <a:pt x="5744379" y="6514911"/>
                    <a:pt x="5740368" y="6510899"/>
                    <a:pt x="5740368" y="6505950"/>
                  </a:cubicBezTo>
                  <a:cubicBezTo>
                    <a:pt x="5740368" y="6501001"/>
                    <a:pt x="5744379" y="6496990"/>
                    <a:pt x="5749328" y="6496990"/>
                  </a:cubicBezTo>
                  <a:close/>
                  <a:moveTo>
                    <a:pt x="5580586" y="6496990"/>
                  </a:moveTo>
                  <a:cubicBezTo>
                    <a:pt x="5585535" y="6496990"/>
                    <a:pt x="5589547" y="6501001"/>
                    <a:pt x="5589547" y="6505950"/>
                  </a:cubicBezTo>
                  <a:cubicBezTo>
                    <a:pt x="5589547" y="6510899"/>
                    <a:pt x="5585535" y="6514911"/>
                    <a:pt x="5580586" y="6514911"/>
                  </a:cubicBezTo>
                  <a:cubicBezTo>
                    <a:pt x="5575637" y="6514911"/>
                    <a:pt x="5571626" y="6510899"/>
                    <a:pt x="5571626" y="6505950"/>
                  </a:cubicBezTo>
                  <a:cubicBezTo>
                    <a:pt x="5571626" y="6501001"/>
                    <a:pt x="5575637" y="6496990"/>
                    <a:pt x="5580586" y="6496990"/>
                  </a:cubicBezTo>
                  <a:close/>
                  <a:moveTo>
                    <a:pt x="5411845" y="6496990"/>
                  </a:moveTo>
                  <a:cubicBezTo>
                    <a:pt x="5416794" y="6496990"/>
                    <a:pt x="5420806" y="6501001"/>
                    <a:pt x="5420806" y="6505950"/>
                  </a:cubicBezTo>
                  <a:cubicBezTo>
                    <a:pt x="5420806" y="6510899"/>
                    <a:pt x="5416794" y="6514911"/>
                    <a:pt x="5411845" y="6514911"/>
                  </a:cubicBezTo>
                  <a:cubicBezTo>
                    <a:pt x="5406896" y="6514911"/>
                    <a:pt x="5402885" y="6510899"/>
                    <a:pt x="5402885" y="6505950"/>
                  </a:cubicBezTo>
                  <a:cubicBezTo>
                    <a:pt x="5402885" y="6501001"/>
                    <a:pt x="5406896" y="6496990"/>
                    <a:pt x="5411845" y="6496990"/>
                  </a:cubicBezTo>
                  <a:close/>
                  <a:moveTo>
                    <a:pt x="5243103" y="6496990"/>
                  </a:moveTo>
                  <a:cubicBezTo>
                    <a:pt x="5248052" y="6496990"/>
                    <a:pt x="5252064" y="6501001"/>
                    <a:pt x="5252064" y="6505950"/>
                  </a:cubicBezTo>
                  <a:cubicBezTo>
                    <a:pt x="5252064" y="6510899"/>
                    <a:pt x="5248052" y="6514911"/>
                    <a:pt x="5243103" y="6514911"/>
                  </a:cubicBezTo>
                  <a:cubicBezTo>
                    <a:pt x="5238154" y="6514911"/>
                    <a:pt x="5234143" y="6510899"/>
                    <a:pt x="5234143" y="6505950"/>
                  </a:cubicBezTo>
                  <a:cubicBezTo>
                    <a:pt x="5234143" y="6501001"/>
                    <a:pt x="5238154" y="6496990"/>
                    <a:pt x="5243103" y="6496990"/>
                  </a:cubicBezTo>
                  <a:close/>
                  <a:moveTo>
                    <a:pt x="5074362" y="6496990"/>
                  </a:moveTo>
                  <a:cubicBezTo>
                    <a:pt x="5079311" y="6496990"/>
                    <a:pt x="5083323" y="6501001"/>
                    <a:pt x="5083323" y="6505950"/>
                  </a:cubicBezTo>
                  <a:cubicBezTo>
                    <a:pt x="5083323" y="6510899"/>
                    <a:pt x="5079311" y="6514911"/>
                    <a:pt x="5074362" y="6514911"/>
                  </a:cubicBezTo>
                  <a:cubicBezTo>
                    <a:pt x="5069413" y="6514911"/>
                    <a:pt x="5065402" y="6510899"/>
                    <a:pt x="5065402" y="6505950"/>
                  </a:cubicBezTo>
                  <a:cubicBezTo>
                    <a:pt x="5065402" y="6501001"/>
                    <a:pt x="5069413" y="6496990"/>
                    <a:pt x="5074362" y="6496990"/>
                  </a:cubicBezTo>
                  <a:close/>
                  <a:moveTo>
                    <a:pt x="4905620" y="6496990"/>
                  </a:moveTo>
                  <a:cubicBezTo>
                    <a:pt x="4910569" y="6496990"/>
                    <a:pt x="4914581" y="6501001"/>
                    <a:pt x="4914581" y="6505950"/>
                  </a:cubicBezTo>
                  <a:cubicBezTo>
                    <a:pt x="4914581" y="6510899"/>
                    <a:pt x="4910569" y="6514911"/>
                    <a:pt x="4905620" y="6514911"/>
                  </a:cubicBezTo>
                  <a:cubicBezTo>
                    <a:pt x="4900671" y="6514911"/>
                    <a:pt x="4896660" y="6510899"/>
                    <a:pt x="4896660" y="6505950"/>
                  </a:cubicBezTo>
                  <a:cubicBezTo>
                    <a:pt x="4896660" y="6501001"/>
                    <a:pt x="4900671" y="6496990"/>
                    <a:pt x="4905620" y="6496990"/>
                  </a:cubicBezTo>
                  <a:close/>
                  <a:moveTo>
                    <a:pt x="4736878" y="6496990"/>
                  </a:moveTo>
                  <a:cubicBezTo>
                    <a:pt x="4741827" y="6496990"/>
                    <a:pt x="4745839" y="6501001"/>
                    <a:pt x="4745839" y="6505950"/>
                  </a:cubicBezTo>
                  <a:cubicBezTo>
                    <a:pt x="4745839" y="6510899"/>
                    <a:pt x="4741827" y="6514911"/>
                    <a:pt x="4736878" y="6514911"/>
                  </a:cubicBezTo>
                  <a:cubicBezTo>
                    <a:pt x="4731929" y="6514911"/>
                    <a:pt x="4727918" y="6510899"/>
                    <a:pt x="4727918" y="6505950"/>
                  </a:cubicBezTo>
                  <a:cubicBezTo>
                    <a:pt x="4727918" y="6501001"/>
                    <a:pt x="4731929" y="6496990"/>
                    <a:pt x="4736878" y="6496990"/>
                  </a:cubicBezTo>
                  <a:close/>
                  <a:moveTo>
                    <a:pt x="4568137" y="6496990"/>
                  </a:moveTo>
                  <a:cubicBezTo>
                    <a:pt x="4573086" y="6496990"/>
                    <a:pt x="4577098" y="6501001"/>
                    <a:pt x="4577098" y="6505950"/>
                  </a:cubicBezTo>
                  <a:cubicBezTo>
                    <a:pt x="4577098" y="6510899"/>
                    <a:pt x="4573086" y="6514911"/>
                    <a:pt x="4568137" y="6514911"/>
                  </a:cubicBezTo>
                  <a:cubicBezTo>
                    <a:pt x="4563188" y="6514911"/>
                    <a:pt x="4559177" y="6510899"/>
                    <a:pt x="4559177" y="6505950"/>
                  </a:cubicBezTo>
                  <a:cubicBezTo>
                    <a:pt x="4559177" y="6501001"/>
                    <a:pt x="4563188" y="6496990"/>
                    <a:pt x="4568137" y="6496990"/>
                  </a:cubicBezTo>
                  <a:close/>
                  <a:moveTo>
                    <a:pt x="4399396" y="6496990"/>
                  </a:moveTo>
                  <a:cubicBezTo>
                    <a:pt x="4404345" y="6496990"/>
                    <a:pt x="4408357" y="6501001"/>
                    <a:pt x="4408357" y="6505950"/>
                  </a:cubicBezTo>
                  <a:cubicBezTo>
                    <a:pt x="4408357" y="6510899"/>
                    <a:pt x="4404345" y="6514911"/>
                    <a:pt x="4399396" y="6514911"/>
                  </a:cubicBezTo>
                  <a:cubicBezTo>
                    <a:pt x="4394447" y="6514911"/>
                    <a:pt x="4390436" y="6510899"/>
                    <a:pt x="4390436" y="6505950"/>
                  </a:cubicBezTo>
                  <a:cubicBezTo>
                    <a:pt x="4390436" y="6501001"/>
                    <a:pt x="4394447" y="6496990"/>
                    <a:pt x="4399396" y="6496990"/>
                  </a:cubicBezTo>
                  <a:close/>
                  <a:moveTo>
                    <a:pt x="4230654" y="6496990"/>
                  </a:moveTo>
                  <a:cubicBezTo>
                    <a:pt x="4235603" y="6496990"/>
                    <a:pt x="4239615" y="6501001"/>
                    <a:pt x="4239615" y="6505950"/>
                  </a:cubicBezTo>
                  <a:cubicBezTo>
                    <a:pt x="4239615" y="6510899"/>
                    <a:pt x="4235603" y="6514911"/>
                    <a:pt x="4230654" y="6514911"/>
                  </a:cubicBezTo>
                  <a:cubicBezTo>
                    <a:pt x="4225705" y="6514911"/>
                    <a:pt x="4221694" y="6510899"/>
                    <a:pt x="4221694" y="6505950"/>
                  </a:cubicBezTo>
                  <a:cubicBezTo>
                    <a:pt x="4221694" y="6501001"/>
                    <a:pt x="4225705" y="6496990"/>
                    <a:pt x="4230654" y="6496990"/>
                  </a:cubicBezTo>
                  <a:close/>
                  <a:moveTo>
                    <a:pt x="4061912" y="6496990"/>
                  </a:moveTo>
                  <a:cubicBezTo>
                    <a:pt x="4066861" y="6496990"/>
                    <a:pt x="4070873" y="6501001"/>
                    <a:pt x="4070873" y="6505950"/>
                  </a:cubicBezTo>
                  <a:cubicBezTo>
                    <a:pt x="4070873" y="6510899"/>
                    <a:pt x="4066861" y="6514911"/>
                    <a:pt x="4061912" y="6514911"/>
                  </a:cubicBezTo>
                  <a:cubicBezTo>
                    <a:pt x="4056963" y="6514911"/>
                    <a:pt x="4052952" y="6510899"/>
                    <a:pt x="4052952" y="6505950"/>
                  </a:cubicBezTo>
                  <a:cubicBezTo>
                    <a:pt x="4052952" y="6501001"/>
                    <a:pt x="4056963" y="6496990"/>
                    <a:pt x="4061912" y="6496990"/>
                  </a:cubicBezTo>
                  <a:close/>
                  <a:moveTo>
                    <a:pt x="3893170" y="6496990"/>
                  </a:moveTo>
                  <a:cubicBezTo>
                    <a:pt x="3898119" y="6496990"/>
                    <a:pt x="3902131" y="6501001"/>
                    <a:pt x="3902131" y="6505950"/>
                  </a:cubicBezTo>
                  <a:cubicBezTo>
                    <a:pt x="3902131" y="6510899"/>
                    <a:pt x="3898119" y="6514911"/>
                    <a:pt x="3893170" y="6514911"/>
                  </a:cubicBezTo>
                  <a:cubicBezTo>
                    <a:pt x="3888221" y="6514911"/>
                    <a:pt x="3884210" y="6510899"/>
                    <a:pt x="3884210" y="6505950"/>
                  </a:cubicBezTo>
                  <a:cubicBezTo>
                    <a:pt x="3884210" y="6501001"/>
                    <a:pt x="3888221" y="6496990"/>
                    <a:pt x="3893170" y="6496990"/>
                  </a:cubicBezTo>
                  <a:close/>
                  <a:moveTo>
                    <a:pt x="3724429" y="6496990"/>
                  </a:moveTo>
                  <a:cubicBezTo>
                    <a:pt x="3729378" y="6496990"/>
                    <a:pt x="3733390" y="6501001"/>
                    <a:pt x="3733390" y="6505950"/>
                  </a:cubicBezTo>
                  <a:cubicBezTo>
                    <a:pt x="3733390" y="6510899"/>
                    <a:pt x="3729378" y="6514911"/>
                    <a:pt x="3724429" y="6514911"/>
                  </a:cubicBezTo>
                  <a:cubicBezTo>
                    <a:pt x="3719481" y="6514911"/>
                    <a:pt x="3715469" y="6510899"/>
                    <a:pt x="3715469" y="6505950"/>
                  </a:cubicBezTo>
                  <a:cubicBezTo>
                    <a:pt x="3715469" y="6501001"/>
                    <a:pt x="3719481" y="6496990"/>
                    <a:pt x="3724429" y="6496990"/>
                  </a:cubicBezTo>
                  <a:close/>
                  <a:moveTo>
                    <a:pt x="3555688" y="6496990"/>
                  </a:moveTo>
                  <a:cubicBezTo>
                    <a:pt x="3560637" y="6496990"/>
                    <a:pt x="3564649" y="6501001"/>
                    <a:pt x="3564649" y="6505950"/>
                  </a:cubicBezTo>
                  <a:cubicBezTo>
                    <a:pt x="3564649" y="6510899"/>
                    <a:pt x="3560637" y="6514911"/>
                    <a:pt x="3555688" y="6514911"/>
                  </a:cubicBezTo>
                  <a:cubicBezTo>
                    <a:pt x="3550740" y="6514911"/>
                    <a:pt x="3546728" y="6510899"/>
                    <a:pt x="3546728" y="6505950"/>
                  </a:cubicBezTo>
                  <a:cubicBezTo>
                    <a:pt x="3546728" y="6501001"/>
                    <a:pt x="3550740" y="6496990"/>
                    <a:pt x="3555688" y="6496990"/>
                  </a:cubicBezTo>
                  <a:close/>
                  <a:moveTo>
                    <a:pt x="3386996" y="6496990"/>
                  </a:moveTo>
                  <a:cubicBezTo>
                    <a:pt x="3391944" y="6496990"/>
                    <a:pt x="3395956" y="6501001"/>
                    <a:pt x="3395956" y="6505950"/>
                  </a:cubicBezTo>
                  <a:cubicBezTo>
                    <a:pt x="3395956" y="6510899"/>
                    <a:pt x="3391944" y="6514911"/>
                    <a:pt x="3386996" y="6514911"/>
                  </a:cubicBezTo>
                  <a:cubicBezTo>
                    <a:pt x="3382023" y="6514911"/>
                    <a:pt x="3378011" y="6510899"/>
                    <a:pt x="3378011" y="6505950"/>
                  </a:cubicBezTo>
                  <a:cubicBezTo>
                    <a:pt x="3378011" y="6501001"/>
                    <a:pt x="3382023" y="6496990"/>
                    <a:pt x="3386996" y="6496990"/>
                  </a:cubicBezTo>
                  <a:close/>
                  <a:moveTo>
                    <a:pt x="3218238" y="6496990"/>
                  </a:moveTo>
                  <a:cubicBezTo>
                    <a:pt x="3223200" y="6496990"/>
                    <a:pt x="3227213" y="6501001"/>
                    <a:pt x="3227213" y="6505950"/>
                  </a:cubicBezTo>
                  <a:cubicBezTo>
                    <a:pt x="3227213" y="6510899"/>
                    <a:pt x="3223200" y="6514911"/>
                    <a:pt x="3218238" y="6514911"/>
                  </a:cubicBezTo>
                  <a:cubicBezTo>
                    <a:pt x="3213295" y="6514911"/>
                    <a:pt x="3209284" y="6510899"/>
                    <a:pt x="3209284" y="6505950"/>
                  </a:cubicBezTo>
                  <a:cubicBezTo>
                    <a:pt x="3209284" y="6501001"/>
                    <a:pt x="3213295" y="6496990"/>
                    <a:pt x="3218238" y="6496990"/>
                  </a:cubicBezTo>
                  <a:close/>
                  <a:moveTo>
                    <a:pt x="3049528" y="6496990"/>
                  </a:moveTo>
                  <a:cubicBezTo>
                    <a:pt x="3054462" y="6496990"/>
                    <a:pt x="3058475" y="6501001"/>
                    <a:pt x="3058475" y="6505950"/>
                  </a:cubicBezTo>
                  <a:cubicBezTo>
                    <a:pt x="3058475" y="6510899"/>
                    <a:pt x="3054462" y="6514911"/>
                    <a:pt x="3049528" y="6514911"/>
                  </a:cubicBezTo>
                  <a:cubicBezTo>
                    <a:pt x="3044565" y="6514911"/>
                    <a:pt x="3040553" y="6510899"/>
                    <a:pt x="3040553" y="6505950"/>
                  </a:cubicBezTo>
                  <a:cubicBezTo>
                    <a:pt x="3040553" y="6501001"/>
                    <a:pt x="3044565" y="6496990"/>
                    <a:pt x="3049528" y="6496990"/>
                  </a:cubicBezTo>
                  <a:close/>
                  <a:moveTo>
                    <a:pt x="2880787" y="6496990"/>
                  </a:moveTo>
                  <a:cubicBezTo>
                    <a:pt x="2885733" y="6496990"/>
                    <a:pt x="2889744" y="6501001"/>
                    <a:pt x="2889744" y="6505950"/>
                  </a:cubicBezTo>
                  <a:cubicBezTo>
                    <a:pt x="2889744" y="6510899"/>
                    <a:pt x="2885733" y="6514911"/>
                    <a:pt x="2880787" y="6514911"/>
                  </a:cubicBezTo>
                  <a:cubicBezTo>
                    <a:pt x="2875834" y="6514911"/>
                    <a:pt x="2871825" y="6510899"/>
                    <a:pt x="2871825" y="6505950"/>
                  </a:cubicBezTo>
                  <a:cubicBezTo>
                    <a:pt x="2871825" y="6501001"/>
                    <a:pt x="2875834" y="6496990"/>
                    <a:pt x="2880787" y="6496990"/>
                  </a:cubicBezTo>
                  <a:close/>
                  <a:moveTo>
                    <a:pt x="2712033" y="6496990"/>
                  </a:moveTo>
                  <a:cubicBezTo>
                    <a:pt x="2716997" y="6496990"/>
                    <a:pt x="2721014" y="6501001"/>
                    <a:pt x="2721014" y="6505950"/>
                  </a:cubicBezTo>
                  <a:cubicBezTo>
                    <a:pt x="2721014" y="6510899"/>
                    <a:pt x="2716997" y="6514911"/>
                    <a:pt x="2712033" y="6514911"/>
                  </a:cubicBezTo>
                  <a:cubicBezTo>
                    <a:pt x="2707087" y="6514911"/>
                    <a:pt x="2703077" y="6510899"/>
                    <a:pt x="2703077" y="6505950"/>
                  </a:cubicBezTo>
                  <a:cubicBezTo>
                    <a:pt x="2703077" y="6501001"/>
                    <a:pt x="2707087" y="6496990"/>
                    <a:pt x="2712033" y="6496990"/>
                  </a:cubicBezTo>
                  <a:close/>
                  <a:moveTo>
                    <a:pt x="2543312" y="6496990"/>
                  </a:moveTo>
                  <a:cubicBezTo>
                    <a:pt x="2548267" y="6496990"/>
                    <a:pt x="2552276" y="6501001"/>
                    <a:pt x="2552276" y="6505950"/>
                  </a:cubicBezTo>
                  <a:cubicBezTo>
                    <a:pt x="2552276" y="6510899"/>
                    <a:pt x="2548267" y="6514911"/>
                    <a:pt x="2543312" y="6514911"/>
                  </a:cubicBezTo>
                  <a:cubicBezTo>
                    <a:pt x="2538363" y="6514911"/>
                    <a:pt x="2534349" y="6510899"/>
                    <a:pt x="2534349" y="6505950"/>
                  </a:cubicBezTo>
                  <a:cubicBezTo>
                    <a:pt x="2534349" y="6501001"/>
                    <a:pt x="2538363" y="6496990"/>
                    <a:pt x="2543312" y="6496990"/>
                  </a:cubicBezTo>
                  <a:close/>
                  <a:moveTo>
                    <a:pt x="2374550" y="6496990"/>
                  </a:moveTo>
                  <a:cubicBezTo>
                    <a:pt x="2379504" y="6496990"/>
                    <a:pt x="2383532" y="6501001"/>
                    <a:pt x="2383532" y="6505950"/>
                  </a:cubicBezTo>
                  <a:cubicBezTo>
                    <a:pt x="2383532" y="6510899"/>
                    <a:pt x="2379504" y="6514911"/>
                    <a:pt x="2374550" y="6514911"/>
                  </a:cubicBezTo>
                  <a:cubicBezTo>
                    <a:pt x="2369600" y="6514911"/>
                    <a:pt x="2365587" y="6510899"/>
                    <a:pt x="2365587" y="6505950"/>
                  </a:cubicBezTo>
                  <a:cubicBezTo>
                    <a:pt x="2365587" y="6501001"/>
                    <a:pt x="2369600" y="6496990"/>
                    <a:pt x="2374550" y="6496990"/>
                  </a:cubicBezTo>
                  <a:close/>
                  <a:moveTo>
                    <a:pt x="2205827" y="6496990"/>
                  </a:moveTo>
                  <a:cubicBezTo>
                    <a:pt x="2210773" y="6496990"/>
                    <a:pt x="2214785" y="6501001"/>
                    <a:pt x="2214785" y="6505950"/>
                  </a:cubicBezTo>
                  <a:cubicBezTo>
                    <a:pt x="2214785" y="6510899"/>
                    <a:pt x="2210773" y="6514911"/>
                    <a:pt x="2205827" y="6514911"/>
                  </a:cubicBezTo>
                  <a:cubicBezTo>
                    <a:pt x="2200865" y="6514911"/>
                    <a:pt x="2196856" y="6510899"/>
                    <a:pt x="2196856" y="6505950"/>
                  </a:cubicBezTo>
                  <a:cubicBezTo>
                    <a:pt x="2196856" y="6501001"/>
                    <a:pt x="2200865" y="6496990"/>
                    <a:pt x="2205827" y="6496990"/>
                  </a:cubicBezTo>
                  <a:close/>
                  <a:moveTo>
                    <a:pt x="2037081" y="6496990"/>
                  </a:moveTo>
                  <a:cubicBezTo>
                    <a:pt x="2042036" y="6496990"/>
                    <a:pt x="2046040" y="6501001"/>
                    <a:pt x="2046040" y="6505950"/>
                  </a:cubicBezTo>
                  <a:cubicBezTo>
                    <a:pt x="2046040" y="6510899"/>
                    <a:pt x="2042036" y="6514911"/>
                    <a:pt x="2037081" y="6514911"/>
                  </a:cubicBezTo>
                  <a:cubicBezTo>
                    <a:pt x="2032137" y="6514911"/>
                    <a:pt x="2028134" y="6510899"/>
                    <a:pt x="2028134" y="6505950"/>
                  </a:cubicBezTo>
                  <a:cubicBezTo>
                    <a:pt x="2028134" y="6501001"/>
                    <a:pt x="2032137" y="6496990"/>
                    <a:pt x="2037081" y="6496990"/>
                  </a:cubicBezTo>
                  <a:close/>
                  <a:moveTo>
                    <a:pt x="1868358" y="6496990"/>
                  </a:moveTo>
                  <a:cubicBezTo>
                    <a:pt x="1873301" y="6496990"/>
                    <a:pt x="1877312" y="6501001"/>
                    <a:pt x="1877312" y="6505950"/>
                  </a:cubicBezTo>
                  <a:cubicBezTo>
                    <a:pt x="1877312" y="6510899"/>
                    <a:pt x="1873301" y="6514911"/>
                    <a:pt x="1868358" y="6514911"/>
                  </a:cubicBezTo>
                  <a:cubicBezTo>
                    <a:pt x="1863404" y="6514911"/>
                    <a:pt x="1859389" y="6510899"/>
                    <a:pt x="1859389" y="6505950"/>
                  </a:cubicBezTo>
                  <a:cubicBezTo>
                    <a:pt x="1859389" y="6501001"/>
                    <a:pt x="1863404" y="6496990"/>
                    <a:pt x="1868358" y="6496990"/>
                  </a:cubicBezTo>
                  <a:close/>
                  <a:moveTo>
                    <a:pt x="1699610" y="6496990"/>
                  </a:moveTo>
                  <a:cubicBezTo>
                    <a:pt x="1704564" y="6496990"/>
                    <a:pt x="1708575" y="6501001"/>
                    <a:pt x="1708575" y="6505950"/>
                  </a:cubicBezTo>
                  <a:cubicBezTo>
                    <a:pt x="1708575" y="6510899"/>
                    <a:pt x="1704564" y="6514911"/>
                    <a:pt x="1699610" y="6514911"/>
                  </a:cubicBezTo>
                  <a:cubicBezTo>
                    <a:pt x="1694661" y="6514911"/>
                    <a:pt x="1690647" y="6510899"/>
                    <a:pt x="1690647" y="6505950"/>
                  </a:cubicBezTo>
                  <a:cubicBezTo>
                    <a:pt x="1690647" y="6501001"/>
                    <a:pt x="1694661" y="6496990"/>
                    <a:pt x="1699610" y="6496990"/>
                  </a:cubicBezTo>
                  <a:close/>
                  <a:moveTo>
                    <a:pt x="1530869" y="6496990"/>
                  </a:moveTo>
                  <a:cubicBezTo>
                    <a:pt x="1535819" y="6496990"/>
                    <a:pt x="1539830" y="6501001"/>
                    <a:pt x="1539830" y="6505950"/>
                  </a:cubicBezTo>
                  <a:cubicBezTo>
                    <a:pt x="1539830" y="6510899"/>
                    <a:pt x="1535819" y="6514911"/>
                    <a:pt x="1530869" y="6514911"/>
                  </a:cubicBezTo>
                  <a:cubicBezTo>
                    <a:pt x="1525920" y="6514911"/>
                    <a:pt x="1521908" y="6510899"/>
                    <a:pt x="1521908" y="6505950"/>
                  </a:cubicBezTo>
                  <a:cubicBezTo>
                    <a:pt x="1521908" y="6501001"/>
                    <a:pt x="1525920" y="6496990"/>
                    <a:pt x="1530869" y="6496990"/>
                  </a:cubicBezTo>
                  <a:close/>
                  <a:moveTo>
                    <a:pt x="1362123" y="6496990"/>
                  </a:moveTo>
                  <a:cubicBezTo>
                    <a:pt x="1367074" y="6496990"/>
                    <a:pt x="1371083" y="6501001"/>
                    <a:pt x="1371083" y="6505950"/>
                  </a:cubicBezTo>
                  <a:cubicBezTo>
                    <a:pt x="1371083" y="6510899"/>
                    <a:pt x="1367074" y="6514911"/>
                    <a:pt x="1362123" y="6514911"/>
                  </a:cubicBezTo>
                  <a:cubicBezTo>
                    <a:pt x="1357174" y="6514911"/>
                    <a:pt x="1353162" y="6510899"/>
                    <a:pt x="1353162" y="6505950"/>
                  </a:cubicBezTo>
                  <a:cubicBezTo>
                    <a:pt x="1353162" y="6501001"/>
                    <a:pt x="1357174" y="6496990"/>
                    <a:pt x="1362123" y="6496990"/>
                  </a:cubicBezTo>
                  <a:close/>
                  <a:moveTo>
                    <a:pt x="1193382" y="6496990"/>
                  </a:moveTo>
                  <a:cubicBezTo>
                    <a:pt x="1198330" y="6496990"/>
                    <a:pt x="1202342" y="6501001"/>
                    <a:pt x="1202342" y="6505950"/>
                  </a:cubicBezTo>
                  <a:cubicBezTo>
                    <a:pt x="1202342" y="6510899"/>
                    <a:pt x="1198330" y="6514911"/>
                    <a:pt x="1193382" y="6514911"/>
                  </a:cubicBezTo>
                  <a:cubicBezTo>
                    <a:pt x="1188433" y="6514911"/>
                    <a:pt x="1184423" y="6510899"/>
                    <a:pt x="1184423" y="6505950"/>
                  </a:cubicBezTo>
                  <a:cubicBezTo>
                    <a:pt x="1184423" y="6501001"/>
                    <a:pt x="1188433" y="6496990"/>
                    <a:pt x="1193382" y="6496990"/>
                  </a:cubicBezTo>
                  <a:close/>
                  <a:moveTo>
                    <a:pt x="1024634" y="6496990"/>
                  </a:moveTo>
                  <a:cubicBezTo>
                    <a:pt x="1029585" y="6496990"/>
                    <a:pt x="1033598" y="6501001"/>
                    <a:pt x="1033598" y="6505950"/>
                  </a:cubicBezTo>
                  <a:cubicBezTo>
                    <a:pt x="1033598" y="6510899"/>
                    <a:pt x="1029585" y="6514911"/>
                    <a:pt x="1024634" y="6514911"/>
                  </a:cubicBezTo>
                  <a:cubicBezTo>
                    <a:pt x="1019685" y="6514911"/>
                    <a:pt x="1015675" y="6510899"/>
                    <a:pt x="1015675" y="6505950"/>
                  </a:cubicBezTo>
                  <a:cubicBezTo>
                    <a:pt x="1015675" y="6501001"/>
                    <a:pt x="1019685" y="6496990"/>
                    <a:pt x="1024634" y="6496990"/>
                  </a:cubicBezTo>
                  <a:close/>
                  <a:moveTo>
                    <a:pt x="855900" y="6496990"/>
                  </a:moveTo>
                  <a:cubicBezTo>
                    <a:pt x="860848" y="6496990"/>
                    <a:pt x="864860" y="6501001"/>
                    <a:pt x="864860" y="6505950"/>
                  </a:cubicBezTo>
                  <a:cubicBezTo>
                    <a:pt x="864860" y="6510899"/>
                    <a:pt x="860848" y="6514911"/>
                    <a:pt x="855900" y="6514911"/>
                  </a:cubicBezTo>
                  <a:cubicBezTo>
                    <a:pt x="850951" y="6514911"/>
                    <a:pt x="846941" y="6510899"/>
                    <a:pt x="846941" y="6505950"/>
                  </a:cubicBezTo>
                  <a:cubicBezTo>
                    <a:pt x="846941" y="6501001"/>
                    <a:pt x="850951" y="6496990"/>
                    <a:pt x="855900" y="6496990"/>
                  </a:cubicBezTo>
                  <a:close/>
                  <a:moveTo>
                    <a:pt x="687159" y="6496990"/>
                  </a:moveTo>
                  <a:cubicBezTo>
                    <a:pt x="692108" y="6496990"/>
                    <a:pt x="696120" y="6501001"/>
                    <a:pt x="696120" y="6505950"/>
                  </a:cubicBezTo>
                  <a:cubicBezTo>
                    <a:pt x="696120" y="6510899"/>
                    <a:pt x="692108" y="6514911"/>
                    <a:pt x="687159" y="6514911"/>
                  </a:cubicBezTo>
                  <a:cubicBezTo>
                    <a:pt x="682211" y="6514911"/>
                    <a:pt x="678200" y="6510899"/>
                    <a:pt x="678200" y="6505950"/>
                  </a:cubicBezTo>
                  <a:cubicBezTo>
                    <a:pt x="678200" y="6501001"/>
                    <a:pt x="682211" y="6496990"/>
                    <a:pt x="687159" y="6496990"/>
                  </a:cubicBezTo>
                  <a:close/>
                  <a:moveTo>
                    <a:pt x="518404" y="6496990"/>
                  </a:moveTo>
                  <a:cubicBezTo>
                    <a:pt x="523353" y="6496990"/>
                    <a:pt x="527365" y="6501001"/>
                    <a:pt x="527365" y="6505950"/>
                  </a:cubicBezTo>
                  <a:cubicBezTo>
                    <a:pt x="527365" y="6510899"/>
                    <a:pt x="523353" y="6514911"/>
                    <a:pt x="518404" y="6514911"/>
                  </a:cubicBezTo>
                  <a:cubicBezTo>
                    <a:pt x="513455" y="6514911"/>
                    <a:pt x="509444" y="6510899"/>
                    <a:pt x="509444" y="6505950"/>
                  </a:cubicBezTo>
                  <a:cubicBezTo>
                    <a:pt x="509444" y="6501001"/>
                    <a:pt x="513455" y="6496990"/>
                    <a:pt x="518404" y="6496990"/>
                  </a:cubicBezTo>
                  <a:close/>
                  <a:moveTo>
                    <a:pt x="349665" y="6496990"/>
                  </a:moveTo>
                  <a:cubicBezTo>
                    <a:pt x="354613" y="6496990"/>
                    <a:pt x="358625" y="6501001"/>
                    <a:pt x="358625" y="6505950"/>
                  </a:cubicBezTo>
                  <a:cubicBezTo>
                    <a:pt x="358625" y="6510899"/>
                    <a:pt x="354613" y="6514911"/>
                    <a:pt x="349665" y="6514911"/>
                  </a:cubicBezTo>
                  <a:cubicBezTo>
                    <a:pt x="344716" y="6514911"/>
                    <a:pt x="340705" y="6510899"/>
                    <a:pt x="340705" y="6505950"/>
                  </a:cubicBezTo>
                  <a:cubicBezTo>
                    <a:pt x="340705" y="6501001"/>
                    <a:pt x="344716" y="6496990"/>
                    <a:pt x="349665" y="6496990"/>
                  </a:cubicBezTo>
                  <a:close/>
                  <a:moveTo>
                    <a:pt x="179345" y="6496990"/>
                  </a:moveTo>
                  <a:cubicBezTo>
                    <a:pt x="184294" y="6496990"/>
                    <a:pt x="188306" y="6501001"/>
                    <a:pt x="188306" y="6505950"/>
                  </a:cubicBezTo>
                  <a:cubicBezTo>
                    <a:pt x="188306" y="6510899"/>
                    <a:pt x="184294" y="6514911"/>
                    <a:pt x="179345" y="6514911"/>
                  </a:cubicBezTo>
                  <a:cubicBezTo>
                    <a:pt x="174397" y="6514911"/>
                    <a:pt x="170385" y="6510899"/>
                    <a:pt x="170385" y="6505950"/>
                  </a:cubicBezTo>
                  <a:cubicBezTo>
                    <a:pt x="170385" y="6501001"/>
                    <a:pt x="174397" y="6496990"/>
                    <a:pt x="179345" y="6496990"/>
                  </a:cubicBezTo>
                  <a:close/>
                  <a:moveTo>
                    <a:pt x="9026" y="6496990"/>
                  </a:moveTo>
                  <a:cubicBezTo>
                    <a:pt x="13975" y="6496990"/>
                    <a:pt x="17986" y="6501001"/>
                    <a:pt x="17986" y="6505950"/>
                  </a:cubicBezTo>
                  <a:cubicBezTo>
                    <a:pt x="17986" y="6510899"/>
                    <a:pt x="13975" y="6514911"/>
                    <a:pt x="9026" y="6514911"/>
                  </a:cubicBezTo>
                  <a:cubicBezTo>
                    <a:pt x="4078" y="6514911"/>
                    <a:pt x="66" y="6510899"/>
                    <a:pt x="66" y="6505950"/>
                  </a:cubicBezTo>
                  <a:cubicBezTo>
                    <a:pt x="66" y="6501001"/>
                    <a:pt x="4078" y="6496990"/>
                    <a:pt x="9026" y="6496990"/>
                  </a:cubicBezTo>
                  <a:close/>
                  <a:moveTo>
                    <a:pt x="6933679" y="6326009"/>
                  </a:moveTo>
                  <a:cubicBezTo>
                    <a:pt x="6938628" y="6326009"/>
                    <a:pt x="6942639" y="6330020"/>
                    <a:pt x="6942639" y="6334969"/>
                  </a:cubicBezTo>
                  <a:cubicBezTo>
                    <a:pt x="6942639" y="6339918"/>
                    <a:pt x="6938628" y="6343930"/>
                    <a:pt x="6933679" y="6343930"/>
                  </a:cubicBezTo>
                  <a:cubicBezTo>
                    <a:pt x="6928730" y="6343930"/>
                    <a:pt x="6924718" y="6339918"/>
                    <a:pt x="6924718" y="6334969"/>
                  </a:cubicBezTo>
                  <a:cubicBezTo>
                    <a:pt x="6924718" y="6330020"/>
                    <a:pt x="6928730" y="6326009"/>
                    <a:pt x="6933679" y="6326009"/>
                  </a:cubicBezTo>
                  <a:close/>
                  <a:moveTo>
                    <a:pt x="6763357" y="6326009"/>
                  </a:moveTo>
                  <a:cubicBezTo>
                    <a:pt x="6768306" y="6326009"/>
                    <a:pt x="6772318" y="6330020"/>
                    <a:pt x="6772318" y="6334969"/>
                  </a:cubicBezTo>
                  <a:cubicBezTo>
                    <a:pt x="6772318" y="6339918"/>
                    <a:pt x="6768306" y="6343930"/>
                    <a:pt x="6763357" y="6343930"/>
                  </a:cubicBezTo>
                  <a:cubicBezTo>
                    <a:pt x="6758408" y="6343930"/>
                    <a:pt x="6754397" y="6339918"/>
                    <a:pt x="6754397" y="6334969"/>
                  </a:cubicBezTo>
                  <a:cubicBezTo>
                    <a:pt x="6754397" y="6330020"/>
                    <a:pt x="6758408" y="6326009"/>
                    <a:pt x="6763357" y="6326009"/>
                  </a:cubicBezTo>
                  <a:close/>
                  <a:moveTo>
                    <a:pt x="6593035" y="6326009"/>
                  </a:moveTo>
                  <a:cubicBezTo>
                    <a:pt x="6597984" y="6326009"/>
                    <a:pt x="6601996" y="6330020"/>
                    <a:pt x="6601996" y="6334969"/>
                  </a:cubicBezTo>
                  <a:cubicBezTo>
                    <a:pt x="6601996" y="6339918"/>
                    <a:pt x="6597984" y="6343930"/>
                    <a:pt x="6593035" y="6343930"/>
                  </a:cubicBezTo>
                  <a:cubicBezTo>
                    <a:pt x="6588086" y="6343930"/>
                    <a:pt x="6584075" y="6339918"/>
                    <a:pt x="6584075" y="6334969"/>
                  </a:cubicBezTo>
                  <a:cubicBezTo>
                    <a:pt x="6584075" y="6330020"/>
                    <a:pt x="6588086" y="6326009"/>
                    <a:pt x="6593035" y="6326009"/>
                  </a:cubicBezTo>
                  <a:close/>
                  <a:moveTo>
                    <a:pt x="6424294" y="6326009"/>
                  </a:moveTo>
                  <a:cubicBezTo>
                    <a:pt x="6429243" y="6326009"/>
                    <a:pt x="6433255" y="6330020"/>
                    <a:pt x="6433255" y="6334969"/>
                  </a:cubicBezTo>
                  <a:cubicBezTo>
                    <a:pt x="6433255" y="6339918"/>
                    <a:pt x="6429243" y="6343930"/>
                    <a:pt x="6424294" y="6343930"/>
                  </a:cubicBezTo>
                  <a:cubicBezTo>
                    <a:pt x="6419345" y="6343930"/>
                    <a:pt x="6415334" y="6339918"/>
                    <a:pt x="6415334" y="6334969"/>
                  </a:cubicBezTo>
                  <a:cubicBezTo>
                    <a:pt x="6415334" y="6330020"/>
                    <a:pt x="6419345" y="6326009"/>
                    <a:pt x="6424294" y="6326009"/>
                  </a:cubicBezTo>
                  <a:close/>
                  <a:moveTo>
                    <a:pt x="6255553" y="6326009"/>
                  </a:moveTo>
                  <a:cubicBezTo>
                    <a:pt x="6260502" y="6326009"/>
                    <a:pt x="6264514" y="6330020"/>
                    <a:pt x="6264514" y="6334969"/>
                  </a:cubicBezTo>
                  <a:cubicBezTo>
                    <a:pt x="6264514" y="6339918"/>
                    <a:pt x="6260502" y="6343930"/>
                    <a:pt x="6255553" y="6343930"/>
                  </a:cubicBezTo>
                  <a:cubicBezTo>
                    <a:pt x="6250604" y="6343930"/>
                    <a:pt x="6246593" y="6339918"/>
                    <a:pt x="6246593" y="6334969"/>
                  </a:cubicBezTo>
                  <a:cubicBezTo>
                    <a:pt x="6246593" y="6330020"/>
                    <a:pt x="6250604" y="6326009"/>
                    <a:pt x="6255553" y="6326009"/>
                  </a:cubicBezTo>
                  <a:close/>
                  <a:moveTo>
                    <a:pt x="6086811" y="6326009"/>
                  </a:moveTo>
                  <a:cubicBezTo>
                    <a:pt x="6091760" y="6326009"/>
                    <a:pt x="6095772" y="6330020"/>
                    <a:pt x="6095772" y="6334969"/>
                  </a:cubicBezTo>
                  <a:cubicBezTo>
                    <a:pt x="6095772" y="6339918"/>
                    <a:pt x="6091760" y="6343930"/>
                    <a:pt x="6086811" y="6343930"/>
                  </a:cubicBezTo>
                  <a:cubicBezTo>
                    <a:pt x="6081862" y="6343930"/>
                    <a:pt x="6077851" y="6339918"/>
                    <a:pt x="6077851" y="6334969"/>
                  </a:cubicBezTo>
                  <a:cubicBezTo>
                    <a:pt x="6077851" y="6330020"/>
                    <a:pt x="6081862" y="6326009"/>
                    <a:pt x="6086811" y="6326009"/>
                  </a:cubicBezTo>
                  <a:close/>
                  <a:moveTo>
                    <a:pt x="5918069" y="6326009"/>
                  </a:moveTo>
                  <a:cubicBezTo>
                    <a:pt x="5923018" y="6326009"/>
                    <a:pt x="5927030" y="6330020"/>
                    <a:pt x="5927030" y="6334969"/>
                  </a:cubicBezTo>
                  <a:cubicBezTo>
                    <a:pt x="5927030" y="6339918"/>
                    <a:pt x="5923018" y="6343930"/>
                    <a:pt x="5918069" y="6343930"/>
                  </a:cubicBezTo>
                  <a:cubicBezTo>
                    <a:pt x="5913120" y="6343930"/>
                    <a:pt x="5909109" y="6339918"/>
                    <a:pt x="5909109" y="6334969"/>
                  </a:cubicBezTo>
                  <a:cubicBezTo>
                    <a:pt x="5909109" y="6330020"/>
                    <a:pt x="5913120" y="6326009"/>
                    <a:pt x="5918069" y="6326009"/>
                  </a:cubicBezTo>
                  <a:close/>
                  <a:moveTo>
                    <a:pt x="5749328" y="6326009"/>
                  </a:moveTo>
                  <a:cubicBezTo>
                    <a:pt x="5754277" y="6326009"/>
                    <a:pt x="5758289" y="6330020"/>
                    <a:pt x="5758289" y="6334969"/>
                  </a:cubicBezTo>
                  <a:cubicBezTo>
                    <a:pt x="5758289" y="6339918"/>
                    <a:pt x="5754277" y="6343930"/>
                    <a:pt x="5749328" y="6343930"/>
                  </a:cubicBezTo>
                  <a:cubicBezTo>
                    <a:pt x="5744379" y="6343930"/>
                    <a:pt x="5740368" y="6339918"/>
                    <a:pt x="5740368" y="6334969"/>
                  </a:cubicBezTo>
                  <a:cubicBezTo>
                    <a:pt x="5740368" y="6330020"/>
                    <a:pt x="5744379" y="6326009"/>
                    <a:pt x="5749328" y="6326009"/>
                  </a:cubicBezTo>
                  <a:close/>
                  <a:moveTo>
                    <a:pt x="5580586" y="6326009"/>
                  </a:moveTo>
                  <a:cubicBezTo>
                    <a:pt x="5585535" y="6326009"/>
                    <a:pt x="5589547" y="6330020"/>
                    <a:pt x="5589547" y="6334969"/>
                  </a:cubicBezTo>
                  <a:cubicBezTo>
                    <a:pt x="5589547" y="6339918"/>
                    <a:pt x="5585535" y="6343930"/>
                    <a:pt x="5580586" y="6343930"/>
                  </a:cubicBezTo>
                  <a:cubicBezTo>
                    <a:pt x="5575637" y="6343930"/>
                    <a:pt x="5571626" y="6339918"/>
                    <a:pt x="5571626" y="6334969"/>
                  </a:cubicBezTo>
                  <a:cubicBezTo>
                    <a:pt x="5571626" y="6330020"/>
                    <a:pt x="5575637" y="6326009"/>
                    <a:pt x="5580586" y="6326009"/>
                  </a:cubicBezTo>
                  <a:close/>
                  <a:moveTo>
                    <a:pt x="5411845" y="6326009"/>
                  </a:moveTo>
                  <a:cubicBezTo>
                    <a:pt x="5416794" y="6326009"/>
                    <a:pt x="5420806" y="6330020"/>
                    <a:pt x="5420806" y="6334969"/>
                  </a:cubicBezTo>
                  <a:cubicBezTo>
                    <a:pt x="5420806" y="6339918"/>
                    <a:pt x="5416794" y="6343930"/>
                    <a:pt x="5411845" y="6343930"/>
                  </a:cubicBezTo>
                  <a:cubicBezTo>
                    <a:pt x="5406896" y="6343930"/>
                    <a:pt x="5402885" y="6339918"/>
                    <a:pt x="5402885" y="6334969"/>
                  </a:cubicBezTo>
                  <a:cubicBezTo>
                    <a:pt x="5402885" y="6330020"/>
                    <a:pt x="5406896" y="6326009"/>
                    <a:pt x="5411845" y="6326009"/>
                  </a:cubicBezTo>
                  <a:close/>
                  <a:moveTo>
                    <a:pt x="5243103" y="6326009"/>
                  </a:moveTo>
                  <a:cubicBezTo>
                    <a:pt x="5248052" y="6326009"/>
                    <a:pt x="5252064" y="6330020"/>
                    <a:pt x="5252064" y="6334969"/>
                  </a:cubicBezTo>
                  <a:cubicBezTo>
                    <a:pt x="5252064" y="6339918"/>
                    <a:pt x="5248052" y="6343930"/>
                    <a:pt x="5243103" y="6343930"/>
                  </a:cubicBezTo>
                  <a:cubicBezTo>
                    <a:pt x="5238154" y="6343930"/>
                    <a:pt x="5234143" y="6339918"/>
                    <a:pt x="5234143" y="6334969"/>
                  </a:cubicBezTo>
                  <a:cubicBezTo>
                    <a:pt x="5234143" y="6330020"/>
                    <a:pt x="5238154" y="6326009"/>
                    <a:pt x="5243103" y="6326009"/>
                  </a:cubicBezTo>
                  <a:close/>
                  <a:moveTo>
                    <a:pt x="5074362" y="6326009"/>
                  </a:moveTo>
                  <a:cubicBezTo>
                    <a:pt x="5079311" y="6326009"/>
                    <a:pt x="5083323" y="6330020"/>
                    <a:pt x="5083323" y="6334969"/>
                  </a:cubicBezTo>
                  <a:cubicBezTo>
                    <a:pt x="5083323" y="6339918"/>
                    <a:pt x="5079311" y="6343930"/>
                    <a:pt x="5074362" y="6343930"/>
                  </a:cubicBezTo>
                  <a:cubicBezTo>
                    <a:pt x="5069413" y="6343930"/>
                    <a:pt x="5065402" y="6339918"/>
                    <a:pt x="5065402" y="6334969"/>
                  </a:cubicBezTo>
                  <a:cubicBezTo>
                    <a:pt x="5065402" y="6330020"/>
                    <a:pt x="5069413" y="6326009"/>
                    <a:pt x="5074362" y="6326009"/>
                  </a:cubicBezTo>
                  <a:close/>
                  <a:moveTo>
                    <a:pt x="4905620" y="6326009"/>
                  </a:moveTo>
                  <a:cubicBezTo>
                    <a:pt x="4910569" y="6326009"/>
                    <a:pt x="4914581" y="6330020"/>
                    <a:pt x="4914581" y="6334969"/>
                  </a:cubicBezTo>
                  <a:cubicBezTo>
                    <a:pt x="4914581" y="6339918"/>
                    <a:pt x="4910569" y="6343930"/>
                    <a:pt x="4905620" y="6343930"/>
                  </a:cubicBezTo>
                  <a:cubicBezTo>
                    <a:pt x="4900671" y="6343930"/>
                    <a:pt x="4896660" y="6339918"/>
                    <a:pt x="4896660" y="6334969"/>
                  </a:cubicBezTo>
                  <a:cubicBezTo>
                    <a:pt x="4896660" y="6330020"/>
                    <a:pt x="4900671" y="6326009"/>
                    <a:pt x="4905620" y="6326009"/>
                  </a:cubicBezTo>
                  <a:close/>
                  <a:moveTo>
                    <a:pt x="4736878" y="6326009"/>
                  </a:moveTo>
                  <a:cubicBezTo>
                    <a:pt x="4741827" y="6326009"/>
                    <a:pt x="4745839" y="6330020"/>
                    <a:pt x="4745839" y="6334969"/>
                  </a:cubicBezTo>
                  <a:cubicBezTo>
                    <a:pt x="4745839" y="6339918"/>
                    <a:pt x="4741827" y="6343930"/>
                    <a:pt x="4736878" y="6343930"/>
                  </a:cubicBezTo>
                  <a:cubicBezTo>
                    <a:pt x="4731929" y="6343930"/>
                    <a:pt x="4727918" y="6339918"/>
                    <a:pt x="4727918" y="6334969"/>
                  </a:cubicBezTo>
                  <a:cubicBezTo>
                    <a:pt x="4727918" y="6330020"/>
                    <a:pt x="4731929" y="6326009"/>
                    <a:pt x="4736878" y="6326009"/>
                  </a:cubicBezTo>
                  <a:close/>
                  <a:moveTo>
                    <a:pt x="4568137" y="6326009"/>
                  </a:moveTo>
                  <a:cubicBezTo>
                    <a:pt x="4573086" y="6326009"/>
                    <a:pt x="4577098" y="6330020"/>
                    <a:pt x="4577098" y="6334969"/>
                  </a:cubicBezTo>
                  <a:cubicBezTo>
                    <a:pt x="4577098" y="6339918"/>
                    <a:pt x="4573086" y="6343930"/>
                    <a:pt x="4568137" y="6343930"/>
                  </a:cubicBezTo>
                  <a:cubicBezTo>
                    <a:pt x="4563188" y="6343930"/>
                    <a:pt x="4559177" y="6339918"/>
                    <a:pt x="4559177" y="6334969"/>
                  </a:cubicBezTo>
                  <a:cubicBezTo>
                    <a:pt x="4559177" y="6330020"/>
                    <a:pt x="4563188" y="6326009"/>
                    <a:pt x="4568137" y="6326009"/>
                  </a:cubicBezTo>
                  <a:close/>
                  <a:moveTo>
                    <a:pt x="4399396" y="6326009"/>
                  </a:moveTo>
                  <a:cubicBezTo>
                    <a:pt x="4404345" y="6326009"/>
                    <a:pt x="4408357" y="6330020"/>
                    <a:pt x="4408357" y="6334969"/>
                  </a:cubicBezTo>
                  <a:cubicBezTo>
                    <a:pt x="4408357" y="6339918"/>
                    <a:pt x="4404345" y="6343930"/>
                    <a:pt x="4399396" y="6343930"/>
                  </a:cubicBezTo>
                  <a:cubicBezTo>
                    <a:pt x="4394447" y="6343930"/>
                    <a:pt x="4390436" y="6339918"/>
                    <a:pt x="4390436" y="6334969"/>
                  </a:cubicBezTo>
                  <a:cubicBezTo>
                    <a:pt x="4390436" y="6330020"/>
                    <a:pt x="4394447" y="6326009"/>
                    <a:pt x="4399396" y="6326009"/>
                  </a:cubicBezTo>
                  <a:close/>
                  <a:moveTo>
                    <a:pt x="4230654" y="6326009"/>
                  </a:moveTo>
                  <a:cubicBezTo>
                    <a:pt x="4235603" y="6326009"/>
                    <a:pt x="4239615" y="6330020"/>
                    <a:pt x="4239615" y="6334969"/>
                  </a:cubicBezTo>
                  <a:cubicBezTo>
                    <a:pt x="4239615" y="6339918"/>
                    <a:pt x="4235603" y="6343930"/>
                    <a:pt x="4230654" y="6343930"/>
                  </a:cubicBezTo>
                  <a:cubicBezTo>
                    <a:pt x="4225705" y="6343930"/>
                    <a:pt x="4221694" y="6339918"/>
                    <a:pt x="4221694" y="6334969"/>
                  </a:cubicBezTo>
                  <a:cubicBezTo>
                    <a:pt x="4221694" y="6330020"/>
                    <a:pt x="4225705" y="6326009"/>
                    <a:pt x="4230654" y="6326009"/>
                  </a:cubicBezTo>
                  <a:close/>
                  <a:moveTo>
                    <a:pt x="4061912" y="6326009"/>
                  </a:moveTo>
                  <a:cubicBezTo>
                    <a:pt x="4066861" y="6326009"/>
                    <a:pt x="4070873" y="6330020"/>
                    <a:pt x="4070873" y="6334969"/>
                  </a:cubicBezTo>
                  <a:cubicBezTo>
                    <a:pt x="4070873" y="6339918"/>
                    <a:pt x="4066861" y="6343930"/>
                    <a:pt x="4061912" y="6343930"/>
                  </a:cubicBezTo>
                  <a:cubicBezTo>
                    <a:pt x="4056963" y="6343930"/>
                    <a:pt x="4052952" y="6339918"/>
                    <a:pt x="4052952" y="6334969"/>
                  </a:cubicBezTo>
                  <a:cubicBezTo>
                    <a:pt x="4052952" y="6330020"/>
                    <a:pt x="4056963" y="6326009"/>
                    <a:pt x="4061912" y="6326009"/>
                  </a:cubicBezTo>
                  <a:close/>
                  <a:moveTo>
                    <a:pt x="3893170" y="6326009"/>
                  </a:moveTo>
                  <a:cubicBezTo>
                    <a:pt x="3898119" y="6326009"/>
                    <a:pt x="3902131" y="6330020"/>
                    <a:pt x="3902131" y="6334969"/>
                  </a:cubicBezTo>
                  <a:cubicBezTo>
                    <a:pt x="3902131" y="6339918"/>
                    <a:pt x="3898119" y="6343930"/>
                    <a:pt x="3893170" y="6343930"/>
                  </a:cubicBezTo>
                  <a:cubicBezTo>
                    <a:pt x="3888221" y="6343930"/>
                    <a:pt x="3884210" y="6339918"/>
                    <a:pt x="3884210" y="6334969"/>
                  </a:cubicBezTo>
                  <a:cubicBezTo>
                    <a:pt x="3884210" y="6330020"/>
                    <a:pt x="3888221" y="6326009"/>
                    <a:pt x="3893170" y="6326009"/>
                  </a:cubicBezTo>
                  <a:close/>
                  <a:moveTo>
                    <a:pt x="3724429" y="6326009"/>
                  </a:moveTo>
                  <a:cubicBezTo>
                    <a:pt x="3729378" y="6326009"/>
                    <a:pt x="3733390" y="6330020"/>
                    <a:pt x="3733390" y="6334969"/>
                  </a:cubicBezTo>
                  <a:cubicBezTo>
                    <a:pt x="3733390" y="6339918"/>
                    <a:pt x="3729378" y="6343930"/>
                    <a:pt x="3724429" y="6343930"/>
                  </a:cubicBezTo>
                  <a:cubicBezTo>
                    <a:pt x="3719481" y="6343930"/>
                    <a:pt x="3715469" y="6339918"/>
                    <a:pt x="3715469" y="6334969"/>
                  </a:cubicBezTo>
                  <a:cubicBezTo>
                    <a:pt x="3715469" y="6330020"/>
                    <a:pt x="3719481" y="6326009"/>
                    <a:pt x="3724429" y="6326009"/>
                  </a:cubicBezTo>
                  <a:close/>
                  <a:moveTo>
                    <a:pt x="3555688" y="6326009"/>
                  </a:moveTo>
                  <a:cubicBezTo>
                    <a:pt x="3560637" y="6326009"/>
                    <a:pt x="3564649" y="6330020"/>
                    <a:pt x="3564649" y="6334969"/>
                  </a:cubicBezTo>
                  <a:cubicBezTo>
                    <a:pt x="3564649" y="6339918"/>
                    <a:pt x="3560637" y="6343930"/>
                    <a:pt x="3555688" y="6343930"/>
                  </a:cubicBezTo>
                  <a:cubicBezTo>
                    <a:pt x="3550740" y="6343930"/>
                    <a:pt x="3546728" y="6339918"/>
                    <a:pt x="3546728" y="6334969"/>
                  </a:cubicBezTo>
                  <a:cubicBezTo>
                    <a:pt x="3546728" y="6330020"/>
                    <a:pt x="3550740" y="6326009"/>
                    <a:pt x="3555688" y="6326009"/>
                  </a:cubicBezTo>
                  <a:close/>
                  <a:moveTo>
                    <a:pt x="3386999" y="6326009"/>
                  </a:moveTo>
                  <a:cubicBezTo>
                    <a:pt x="3391947" y="6326009"/>
                    <a:pt x="3395959" y="6330020"/>
                    <a:pt x="3395959" y="6334969"/>
                  </a:cubicBezTo>
                  <a:cubicBezTo>
                    <a:pt x="3395959" y="6339918"/>
                    <a:pt x="3391947" y="6343930"/>
                    <a:pt x="3386999" y="6343930"/>
                  </a:cubicBezTo>
                  <a:cubicBezTo>
                    <a:pt x="3382025" y="6343930"/>
                    <a:pt x="3378012" y="6339918"/>
                    <a:pt x="3378012" y="6334969"/>
                  </a:cubicBezTo>
                  <a:cubicBezTo>
                    <a:pt x="3378012" y="6330020"/>
                    <a:pt x="3382025" y="6326009"/>
                    <a:pt x="3386999" y="6326009"/>
                  </a:cubicBezTo>
                  <a:close/>
                  <a:moveTo>
                    <a:pt x="3218241" y="6326009"/>
                  </a:moveTo>
                  <a:cubicBezTo>
                    <a:pt x="3223203" y="6326009"/>
                    <a:pt x="3227216" y="6330020"/>
                    <a:pt x="3227216" y="6334969"/>
                  </a:cubicBezTo>
                  <a:cubicBezTo>
                    <a:pt x="3227216" y="6339918"/>
                    <a:pt x="3223203" y="6343930"/>
                    <a:pt x="3218241" y="6343930"/>
                  </a:cubicBezTo>
                  <a:cubicBezTo>
                    <a:pt x="3213298" y="6343930"/>
                    <a:pt x="3209287" y="6339918"/>
                    <a:pt x="3209287" y="6334969"/>
                  </a:cubicBezTo>
                  <a:cubicBezTo>
                    <a:pt x="3209287" y="6330020"/>
                    <a:pt x="3213298" y="6326009"/>
                    <a:pt x="3218241" y="6326009"/>
                  </a:cubicBezTo>
                  <a:close/>
                  <a:moveTo>
                    <a:pt x="3049531" y="6326009"/>
                  </a:moveTo>
                  <a:cubicBezTo>
                    <a:pt x="3054465" y="6326009"/>
                    <a:pt x="3058478" y="6330020"/>
                    <a:pt x="3058478" y="6334969"/>
                  </a:cubicBezTo>
                  <a:cubicBezTo>
                    <a:pt x="3058478" y="6339918"/>
                    <a:pt x="3054465" y="6343930"/>
                    <a:pt x="3049531" y="6343930"/>
                  </a:cubicBezTo>
                  <a:cubicBezTo>
                    <a:pt x="3044568" y="6343930"/>
                    <a:pt x="3040556" y="6339918"/>
                    <a:pt x="3040556" y="6334969"/>
                  </a:cubicBezTo>
                  <a:cubicBezTo>
                    <a:pt x="3040556" y="6330020"/>
                    <a:pt x="3044568" y="6326009"/>
                    <a:pt x="3049531" y="6326009"/>
                  </a:cubicBezTo>
                  <a:close/>
                  <a:moveTo>
                    <a:pt x="2880791" y="6326009"/>
                  </a:moveTo>
                  <a:cubicBezTo>
                    <a:pt x="2885736" y="6326009"/>
                    <a:pt x="2889748" y="6330020"/>
                    <a:pt x="2889748" y="6334969"/>
                  </a:cubicBezTo>
                  <a:cubicBezTo>
                    <a:pt x="2889748" y="6339918"/>
                    <a:pt x="2885736" y="6343930"/>
                    <a:pt x="2880791" y="6343930"/>
                  </a:cubicBezTo>
                  <a:cubicBezTo>
                    <a:pt x="2875838" y="6343930"/>
                    <a:pt x="2871828" y="6339918"/>
                    <a:pt x="2871828" y="6334969"/>
                  </a:cubicBezTo>
                  <a:cubicBezTo>
                    <a:pt x="2871828" y="6330020"/>
                    <a:pt x="2875838" y="6326009"/>
                    <a:pt x="2880791" y="6326009"/>
                  </a:cubicBezTo>
                  <a:close/>
                  <a:moveTo>
                    <a:pt x="2712036" y="6326009"/>
                  </a:moveTo>
                  <a:cubicBezTo>
                    <a:pt x="2717001" y="6326009"/>
                    <a:pt x="2721018" y="6330020"/>
                    <a:pt x="2721018" y="6334969"/>
                  </a:cubicBezTo>
                  <a:cubicBezTo>
                    <a:pt x="2721018" y="6339918"/>
                    <a:pt x="2717001" y="6343930"/>
                    <a:pt x="2712036" y="6343930"/>
                  </a:cubicBezTo>
                  <a:cubicBezTo>
                    <a:pt x="2707090" y="6343930"/>
                    <a:pt x="2703080" y="6339918"/>
                    <a:pt x="2703080" y="6334969"/>
                  </a:cubicBezTo>
                  <a:cubicBezTo>
                    <a:pt x="2703080" y="6330020"/>
                    <a:pt x="2707090" y="6326009"/>
                    <a:pt x="2712036" y="6326009"/>
                  </a:cubicBezTo>
                  <a:close/>
                  <a:moveTo>
                    <a:pt x="2543316" y="6326009"/>
                  </a:moveTo>
                  <a:cubicBezTo>
                    <a:pt x="2548271" y="6326009"/>
                    <a:pt x="2552281" y="6330020"/>
                    <a:pt x="2552281" y="6334969"/>
                  </a:cubicBezTo>
                  <a:cubicBezTo>
                    <a:pt x="2552281" y="6339918"/>
                    <a:pt x="2548271" y="6343930"/>
                    <a:pt x="2543316" y="6343930"/>
                  </a:cubicBezTo>
                  <a:cubicBezTo>
                    <a:pt x="2538368" y="6343930"/>
                    <a:pt x="2534352" y="6339918"/>
                    <a:pt x="2534352" y="6334969"/>
                  </a:cubicBezTo>
                  <a:cubicBezTo>
                    <a:pt x="2534352" y="6330020"/>
                    <a:pt x="2538368" y="6326009"/>
                    <a:pt x="2543316" y="6326009"/>
                  </a:cubicBezTo>
                  <a:close/>
                  <a:moveTo>
                    <a:pt x="2374553" y="6326009"/>
                  </a:moveTo>
                  <a:cubicBezTo>
                    <a:pt x="2379507" y="6326009"/>
                    <a:pt x="2383537" y="6330020"/>
                    <a:pt x="2383537" y="6334969"/>
                  </a:cubicBezTo>
                  <a:cubicBezTo>
                    <a:pt x="2383537" y="6339918"/>
                    <a:pt x="2379507" y="6343930"/>
                    <a:pt x="2374553" y="6343930"/>
                  </a:cubicBezTo>
                  <a:cubicBezTo>
                    <a:pt x="2369603" y="6343930"/>
                    <a:pt x="2365590" y="6339918"/>
                    <a:pt x="2365590" y="6334969"/>
                  </a:cubicBezTo>
                  <a:cubicBezTo>
                    <a:pt x="2365590" y="6330020"/>
                    <a:pt x="2369603" y="6326009"/>
                    <a:pt x="2374553" y="6326009"/>
                  </a:cubicBezTo>
                  <a:close/>
                  <a:moveTo>
                    <a:pt x="2205831" y="6326009"/>
                  </a:moveTo>
                  <a:cubicBezTo>
                    <a:pt x="2210777" y="6326009"/>
                    <a:pt x="2214789" y="6330020"/>
                    <a:pt x="2214789" y="6334969"/>
                  </a:cubicBezTo>
                  <a:cubicBezTo>
                    <a:pt x="2214789" y="6339918"/>
                    <a:pt x="2210777" y="6343930"/>
                    <a:pt x="2205831" y="6343930"/>
                  </a:cubicBezTo>
                  <a:cubicBezTo>
                    <a:pt x="2200869" y="6343930"/>
                    <a:pt x="2196859" y="6339918"/>
                    <a:pt x="2196859" y="6334969"/>
                  </a:cubicBezTo>
                  <a:cubicBezTo>
                    <a:pt x="2196859" y="6330020"/>
                    <a:pt x="2200869" y="6326009"/>
                    <a:pt x="2205831" y="6326009"/>
                  </a:cubicBezTo>
                  <a:close/>
                  <a:moveTo>
                    <a:pt x="2037085" y="6326009"/>
                  </a:moveTo>
                  <a:cubicBezTo>
                    <a:pt x="2042040" y="6326009"/>
                    <a:pt x="2046044" y="6330020"/>
                    <a:pt x="2046044" y="6334969"/>
                  </a:cubicBezTo>
                  <a:cubicBezTo>
                    <a:pt x="2046044" y="6339918"/>
                    <a:pt x="2042040" y="6343930"/>
                    <a:pt x="2037085" y="6343930"/>
                  </a:cubicBezTo>
                  <a:cubicBezTo>
                    <a:pt x="2032141" y="6343930"/>
                    <a:pt x="2028138" y="6339918"/>
                    <a:pt x="2028138" y="6334969"/>
                  </a:cubicBezTo>
                  <a:cubicBezTo>
                    <a:pt x="2028138" y="6330020"/>
                    <a:pt x="2032141" y="6326009"/>
                    <a:pt x="2037085" y="6326009"/>
                  </a:cubicBezTo>
                  <a:close/>
                  <a:moveTo>
                    <a:pt x="1868362" y="6326009"/>
                  </a:moveTo>
                  <a:cubicBezTo>
                    <a:pt x="1873305" y="6326009"/>
                    <a:pt x="1877318" y="6330020"/>
                    <a:pt x="1877318" y="6334969"/>
                  </a:cubicBezTo>
                  <a:cubicBezTo>
                    <a:pt x="1877318" y="6339918"/>
                    <a:pt x="1873305" y="6343930"/>
                    <a:pt x="1868362" y="6343930"/>
                  </a:cubicBezTo>
                  <a:cubicBezTo>
                    <a:pt x="1863409" y="6343930"/>
                    <a:pt x="1859393" y="6339918"/>
                    <a:pt x="1859393" y="6334969"/>
                  </a:cubicBezTo>
                  <a:cubicBezTo>
                    <a:pt x="1859393" y="6330020"/>
                    <a:pt x="1863409" y="6326009"/>
                    <a:pt x="1868362" y="6326009"/>
                  </a:cubicBezTo>
                  <a:close/>
                  <a:moveTo>
                    <a:pt x="1699615" y="6326009"/>
                  </a:moveTo>
                  <a:cubicBezTo>
                    <a:pt x="1704568" y="6326009"/>
                    <a:pt x="1708580" y="6330020"/>
                    <a:pt x="1708580" y="6334969"/>
                  </a:cubicBezTo>
                  <a:cubicBezTo>
                    <a:pt x="1708580" y="6339918"/>
                    <a:pt x="1704568" y="6343930"/>
                    <a:pt x="1699615" y="6343930"/>
                  </a:cubicBezTo>
                  <a:cubicBezTo>
                    <a:pt x="1694666" y="6343930"/>
                    <a:pt x="1690652" y="6339918"/>
                    <a:pt x="1690652" y="6334969"/>
                  </a:cubicBezTo>
                  <a:cubicBezTo>
                    <a:pt x="1690652" y="6330020"/>
                    <a:pt x="1694666" y="6326009"/>
                    <a:pt x="1699615" y="6326009"/>
                  </a:cubicBezTo>
                  <a:close/>
                  <a:moveTo>
                    <a:pt x="1530874" y="6326009"/>
                  </a:moveTo>
                  <a:cubicBezTo>
                    <a:pt x="1535824" y="6326009"/>
                    <a:pt x="1539835" y="6330020"/>
                    <a:pt x="1539835" y="6334969"/>
                  </a:cubicBezTo>
                  <a:cubicBezTo>
                    <a:pt x="1539835" y="6339918"/>
                    <a:pt x="1535824" y="6343930"/>
                    <a:pt x="1530874" y="6343930"/>
                  </a:cubicBezTo>
                  <a:cubicBezTo>
                    <a:pt x="1525925" y="6343930"/>
                    <a:pt x="1521913" y="6339918"/>
                    <a:pt x="1521913" y="6334969"/>
                  </a:cubicBezTo>
                  <a:cubicBezTo>
                    <a:pt x="1521913" y="6330020"/>
                    <a:pt x="1525925" y="6326009"/>
                    <a:pt x="1530874" y="6326009"/>
                  </a:cubicBezTo>
                  <a:close/>
                  <a:moveTo>
                    <a:pt x="1362127" y="6326009"/>
                  </a:moveTo>
                  <a:cubicBezTo>
                    <a:pt x="1367079" y="6326009"/>
                    <a:pt x="1371088" y="6330020"/>
                    <a:pt x="1371088" y="6334969"/>
                  </a:cubicBezTo>
                  <a:cubicBezTo>
                    <a:pt x="1371088" y="6339918"/>
                    <a:pt x="1367079" y="6343930"/>
                    <a:pt x="1362127" y="6343930"/>
                  </a:cubicBezTo>
                  <a:cubicBezTo>
                    <a:pt x="1357178" y="6343930"/>
                    <a:pt x="1353167" y="6339918"/>
                    <a:pt x="1353167" y="6334969"/>
                  </a:cubicBezTo>
                  <a:cubicBezTo>
                    <a:pt x="1353167" y="6330020"/>
                    <a:pt x="1357178" y="6326009"/>
                    <a:pt x="1362127" y="6326009"/>
                  </a:cubicBezTo>
                  <a:close/>
                  <a:moveTo>
                    <a:pt x="1193386" y="6326009"/>
                  </a:moveTo>
                  <a:cubicBezTo>
                    <a:pt x="1198334" y="6326009"/>
                    <a:pt x="1202347" y="6330020"/>
                    <a:pt x="1202347" y="6334969"/>
                  </a:cubicBezTo>
                  <a:cubicBezTo>
                    <a:pt x="1202347" y="6339918"/>
                    <a:pt x="1198334" y="6343930"/>
                    <a:pt x="1193386" y="6343930"/>
                  </a:cubicBezTo>
                  <a:cubicBezTo>
                    <a:pt x="1188438" y="6343930"/>
                    <a:pt x="1184427" y="6339918"/>
                    <a:pt x="1184427" y="6334969"/>
                  </a:cubicBezTo>
                  <a:cubicBezTo>
                    <a:pt x="1184427" y="6330020"/>
                    <a:pt x="1188438" y="6326009"/>
                    <a:pt x="1193386" y="6326009"/>
                  </a:cubicBezTo>
                  <a:close/>
                  <a:moveTo>
                    <a:pt x="1024638" y="6326009"/>
                  </a:moveTo>
                  <a:cubicBezTo>
                    <a:pt x="1029590" y="6326009"/>
                    <a:pt x="1033603" y="6330020"/>
                    <a:pt x="1033603" y="6334969"/>
                  </a:cubicBezTo>
                  <a:cubicBezTo>
                    <a:pt x="1033603" y="6339918"/>
                    <a:pt x="1029590" y="6343930"/>
                    <a:pt x="1024638" y="6343930"/>
                  </a:cubicBezTo>
                  <a:cubicBezTo>
                    <a:pt x="1019690" y="6343930"/>
                    <a:pt x="1015678" y="6339918"/>
                    <a:pt x="1015678" y="6334969"/>
                  </a:cubicBezTo>
                  <a:cubicBezTo>
                    <a:pt x="1015678" y="6330020"/>
                    <a:pt x="1019690" y="6326009"/>
                    <a:pt x="1024638" y="6326009"/>
                  </a:cubicBezTo>
                  <a:close/>
                  <a:moveTo>
                    <a:pt x="855904" y="6326009"/>
                  </a:moveTo>
                  <a:cubicBezTo>
                    <a:pt x="860853" y="6326009"/>
                    <a:pt x="864864" y="6330020"/>
                    <a:pt x="864864" y="6334969"/>
                  </a:cubicBezTo>
                  <a:cubicBezTo>
                    <a:pt x="864864" y="6339918"/>
                    <a:pt x="860853" y="6343930"/>
                    <a:pt x="855904" y="6343930"/>
                  </a:cubicBezTo>
                  <a:cubicBezTo>
                    <a:pt x="850955" y="6343930"/>
                    <a:pt x="846945" y="6339918"/>
                    <a:pt x="846945" y="6334969"/>
                  </a:cubicBezTo>
                  <a:cubicBezTo>
                    <a:pt x="846945" y="6330020"/>
                    <a:pt x="850955" y="6326009"/>
                    <a:pt x="855904" y="6326009"/>
                  </a:cubicBezTo>
                  <a:close/>
                  <a:moveTo>
                    <a:pt x="687164" y="6326009"/>
                  </a:moveTo>
                  <a:cubicBezTo>
                    <a:pt x="692113" y="6326009"/>
                    <a:pt x="696124" y="6330020"/>
                    <a:pt x="696124" y="6334969"/>
                  </a:cubicBezTo>
                  <a:cubicBezTo>
                    <a:pt x="696124" y="6339918"/>
                    <a:pt x="692113" y="6343930"/>
                    <a:pt x="687164" y="6343930"/>
                  </a:cubicBezTo>
                  <a:cubicBezTo>
                    <a:pt x="682215" y="6343930"/>
                    <a:pt x="678204" y="6339918"/>
                    <a:pt x="678204" y="6334969"/>
                  </a:cubicBezTo>
                  <a:cubicBezTo>
                    <a:pt x="678204" y="6330020"/>
                    <a:pt x="682215" y="6326009"/>
                    <a:pt x="687164" y="6326009"/>
                  </a:cubicBezTo>
                  <a:close/>
                  <a:moveTo>
                    <a:pt x="518408" y="6326009"/>
                  </a:moveTo>
                  <a:cubicBezTo>
                    <a:pt x="523357" y="6326009"/>
                    <a:pt x="527368" y="6330020"/>
                    <a:pt x="527368" y="6334969"/>
                  </a:cubicBezTo>
                  <a:cubicBezTo>
                    <a:pt x="527368" y="6339918"/>
                    <a:pt x="523357" y="6343930"/>
                    <a:pt x="518408" y="6343930"/>
                  </a:cubicBezTo>
                  <a:cubicBezTo>
                    <a:pt x="513459" y="6343930"/>
                    <a:pt x="509447" y="6339918"/>
                    <a:pt x="509447" y="6334969"/>
                  </a:cubicBezTo>
                  <a:cubicBezTo>
                    <a:pt x="509447" y="6330020"/>
                    <a:pt x="513459" y="6326009"/>
                    <a:pt x="518408" y="6326009"/>
                  </a:cubicBezTo>
                  <a:close/>
                  <a:moveTo>
                    <a:pt x="349669" y="6326009"/>
                  </a:moveTo>
                  <a:cubicBezTo>
                    <a:pt x="354617" y="6326009"/>
                    <a:pt x="358629" y="6330020"/>
                    <a:pt x="358629" y="6334969"/>
                  </a:cubicBezTo>
                  <a:cubicBezTo>
                    <a:pt x="358629" y="6339918"/>
                    <a:pt x="354617" y="6343930"/>
                    <a:pt x="349669" y="6343930"/>
                  </a:cubicBezTo>
                  <a:cubicBezTo>
                    <a:pt x="344720" y="6343930"/>
                    <a:pt x="340709" y="6339918"/>
                    <a:pt x="340709" y="6334969"/>
                  </a:cubicBezTo>
                  <a:cubicBezTo>
                    <a:pt x="340709" y="6330020"/>
                    <a:pt x="344720" y="6326009"/>
                    <a:pt x="349669" y="6326009"/>
                  </a:cubicBezTo>
                  <a:close/>
                  <a:moveTo>
                    <a:pt x="179349" y="6326009"/>
                  </a:moveTo>
                  <a:cubicBezTo>
                    <a:pt x="184298" y="6326009"/>
                    <a:pt x="188310" y="6330020"/>
                    <a:pt x="188310" y="6334969"/>
                  </a:cubicBezTo>
                  <a:cubicBezTo>
                    <a:pt x="188310" y="6339918"/>
                    <a:pt x="184298" y="6343930"/>
                    <a:pt x="179349" y="6343930"/>
                  </a:cubicBezTo>
                  <a:cubicBezTo>
                    <a:pt x="174401" y="6343930"/>
                    <a:pt x="170389" y="6339918"/>
                    <a:pt x="170389" y="6334969"/>
                  </a:cubicBezTo>
                  <a:cubicBezTo>
                    <a:pt x="170389" y="6330020"/>
                    <a:pt x="174401" y="6326009"/>
                    <a:pt x="179349" y="6326009"/>
                  </a:cubicBezTo>
                  <a:close/>
                  <a:moveTo>
                    <a:pt x="9031" y="6326009"/>
                  </a:moveTo>
                  <a:cubicBezTo>
                    <a:pt x="13979" y="6326009"/>
                    <a:pt x="17990" y="6330020"/>
                    <a:pt x="17990" y="6334969"/>
                  </a:cubicBezTo>
                  <a:cubicBezTo>
                    <a:pt x="17990" y="6339918"/>
                    <a:pt x="13979" y="6343930"/>
                    <a:pt x="9031" y="6343930"/>
                  </a:cubicBezTo>
                  <a:cubicBezTo>
                    <a:pt x="4082" y="6343930"/>
                    <a:pt x="70" y="6339918"/>
                    <a:pt x="70" y="6334969"/>
                  </a:cubicBezTo>
                  <a:cubicBezTo>
                    <a:pt x="70" y="6330020"/>
                    <a:pt x="4082" y="6326009"/>
                    <a:pt x="9031" y="6326009"/>
                  </a:cubicBezTo>
                  <a:close/>
                  <a:moveTo>
                    <a:pt x="6933679" y="6155027"/>
                  </a:moveTo>
                  <a:cubicBezTo>
                    <a:pt x="6938628" y="6155027"/>
                    <a:pt x="6942639" y="6159038"/>
                    <a:pt x="6942639" y="6163987"/>
                  </a:cubicBezTo>
                  <a:cubicBezTo>
                    <a:pt x="6942639" y="6168936"/>
                    <a:pt x="6938628" y="6172948"/>
                    <a:pt x="6933679" y="6172948"/>
                  </a:cubicBezTo>
                  <a:cubicBezTo>
                    <a:pt x="6928730" y="6172948"/>
                    <a:pt x="6924718" y="6168936"/>
                    <a:pt x="6924718" y="6163987"/>
                  </a:cubicBezTo>
                  <a:cubicBezTo>
                    <a:pt x="6924718" y="6159038"/>
                    <a:pt x="6928730" y="6155027"/>
                    <a:pt x="6933679" y="6155027"/>
                  </a:cubicBezTo>
                  <a:close/>
                  <a:moveTo>
                    <a:pt x="6763357" y="6155027"/>
                  </a:moveTo>
                  <a:cubicBezTo>
                    <a:pt x="6768306" y="6155027"/>
                    <a:pt x="6772318" y="6159038"/>
                    <a:pt x="6772318" y="6163987"/>
                  </a:cubicBezTo>
                  <a:cubicBezTo>
                    <a:pt x="6772318" y="6168936"/>
                    <a:pt x="6768306" y="6172948"/>
                    <a:pt x="6763357" y="6172948"/>
                  </a:cubicBezTo>
                  <a:cubicBezTo>
                    <a:pt x="6758408" y="6172948"/>
                    <a:pt x="6754397" y="6168936"/>
                    <a:pt x="6754397" y="6163987"/>
                  </a:cubicBezTo>
                  <a:cubicBezTo>
                    <a:pt x="6754397" y="6159038"/>
                    <a:pt x="6758408" y="6155027"/>
                    <a:pt x="6763357" y="6155027"/>
                  </a:cubicBezTo>
                  <a:close/>
                  <a:moveTo>
                    <a:pt x="6593035" y="6155027"/>
                  </a:moveTo>
                  <a:cubicBezTo>
                    <a:pt x="6597984" y="6155027"/>
                    <a:pt x="6601996" y="6159038"/>
                    <a:pt x="6601996" y="6163987"/>
                  </a:cubicBezTo>
                  <a:cubicBezTo>
                    <a:pt x="6601996" y="6168936"/>
                    <a:pt x="6597984" y="6172948"/>
                    <a:pt x="6593035" y="6172948"/>
                  </a:cubicBezTo>
                  <a:cubicBezTo>
                    <a:pt x="6588086" y="6172948"/>
                    <a:pt x="6584075" y="6168936"/>
                    <a:pt x="6584075" y="6163987"/>
                  </a:cubicBezTo>
                  <a:cubicBezTo>
                    <a:pt x="6584075" y="6159038"/>
                    <a:pt x="6588086" y="6155027"/>
                    <a:pt x="6593035" y="6155027"/>
                  </a:cubicBezTo>
                  <a:close/>
                  <a:moveTo>
                    <a:pt x="6424294" y="6155027"/>
                  </a:moveTo>
                  <a:cubicBezTo>
                    <a:pt x="6429243" y="6155027"/>
                    <a:pt x="6433255" y="6159038"/>
                    <a:pt x="6433255" y="6163987"/>
                  </a:cubicBezTo>
                  <a:cubicBezTo>
                    <a:pt x="6433255" y="6168936"/>
                    <a:pt x="6429243" y="6172948"/>
                    <a:pt x="6424294" y="6172948"/>
                  </a:cubicBezTo>
                  <a:cubicBezTo>
                    <a:pt x="6419345" y="6172948"/>
                    <a:pt x="6415334" y="6168936"/>
                    <a:pt x="6415334" y="6163987"/>
                  </a:cubicBezTo>
                  <a:cubicBezTo>
                    <a:pt x="6415334" y="6159038"/>
                    <a:pt x="6419345" y="6155027"/>
                    <a:pt x="6424294" y="6155027"/>
                  </a:cubicBezTo>
                  <a:close/>
                  <a:moveTo>
                    <a:pt x="6255553" y="6155027"/>
                  </a:moveTo>
                  <a:cubicBezTo>
                    <a:pt x="6260502" y="6155027"/>
                    <a:pt x="6264514" y="6159038"/>
                    <a:pt x="6264514" y="6163987"/>
                  </a:cubicBezTo>
                  <a:cubicBezTo>
                    <a:pt x="6264514" y="6168936"/>
                    <a:pt x="6260502" y="6172948"/>
                    <a:pt x="6255553" y="6172948"/>
                  </a:cubicBezTo>
                  <a:cubicBezTo>
                    <a:pt x="6250604" y="6172948"/>
                    <a:pt x="6246593" y="6168936"/>
                    <a:pt x="6246593" y="6163987"/>
                  </a:cubicBezTo>
                  <a:cubicBezTo>
                    <a:pt x="6246593" y="6159038"/>
                    <a:pt x="6250604" y="6155027"/>
                    <a:pt x="6255553" y="6155027"/>
                  </a:cubicBezTo>
                  <a:close/>
                  <a:moveTo>
                    <a:pt x="6086811" y="6155027"/>
                  </a:moveTo>
                  <a:cubicBezTo>
                    <a:pt x="6091760" y="6155027"/>
                    <a:pt x="6095772" y="6159038"/>
                    <a:pt x="6095772" y="6163987"/>
                  </a:cubicBezTo>
                  <a:cubicBezTo>
                    <a:pt x="6095772" y="6168936"/>
                    <a:pt x="6091760" y="6172948"/>
                    <a:pt x="6086811" y="6172948"/>
                  </a:cubicBezTo>
                  <a:cubicBezTo>
                    <a:pt x="6081862" y="6172948"/>
                    <a:pt x="6077851" y="6168936"/>
                    <a:pt x="6077851" y="6163987"/>
                  </a:cubicBezTo>
                  <a:cubicBezTo>
                    <a:pt x="6077851" y="6159038"/>
                    <a:pt x="6081862" y="6155027"/>
                    <a:pt x="6086811" y="6155027"/>
                  </a:cubicBezTo>
                  <a:close/>
                  <a:moveTo>
                    <a:pt x="5918069" y="6155027"/>
                  </a:moveTo>
                  <a:cubicBezTo>
                    <a:pt x="5923018" y="6155027"/>
                    <a:pt x="5927030" y="6159038"/>
                    <a:pt x="5927030" y="6163987"/>
                  </a:cubicBezTo>
                  <a:cubicBezTo>
                    <a:pt x="5927030" y="6168936"/>
                    <a:pt x="5923018" y="6172948"/>
                    <a:pt x="5918069" y="6172948"/>
                  </a:cubicBezTo>
                  <a:cubicBezTo>
                    <a:pt x="5913120" y="6172948"/>
                    <a:pt x="5909109" y="6168936"/>
                    <a:pt x="5909109" y="6163987"/>
                  </a:cubicBezTo>
                  <a:cubicBezTo>
                    <a:pt x="5909109" y="6159038"/>
                    <a:pt x="5913120" y="6155027"/>
                    <a:pt x="5918069" y="6155027"/>
                  </a:cubicBezTo>
                  <a:close/>
                  <a:moveTo>
                    <a:pt x="5749328" y="6155027"/>
                  </a:moveTo>
                  <a:cubicBezTo>
                    <a:pt x="5754277" y="6155027"/>
                    <a:pt x="5758289" y="6159038"/>
                    <a:pt x="5758289" y="6163987"/>
                  </a:cubicBezTo>
                  <a:cubicBezTo>
                    <a:pt x="5758289" y="6168936"/>
                    <a:pt x="5754277" y="6172948"/>
                    <a:pt x="5749328" y="6172948"/>
                  </a:cubicBezTo>
                  <a:cubicBezTo>
                    <a:pt x="5744379" y="6172948"/>
                    <a:pt x="5740368" y="6168936"/>
                    <a:pt x="5740368" y="6163987"/>
                  </a:cubicBezTo>
                  <a:cubicBezTo>
                    <a:pt x="5740368" y="6159038"/>
                    <a:pt x="5744379" y="6155027"/>
                    <a:pt x="5749328" y="6155027"/>
                  </a:cubicBezTo>
                  <a:close/>
                  <a:moveTo>
                    <a:pt x="5580586" y="6155027"/>
                  </a:moveTo>
                  <a:cubicBezTo>
                    <a:pt x="5585535" y="6155027"/>
                    <a:pt x="5589547" y="6159038"/>
                    <a:pt x="5589547" y="6163987"/>
                  </a:cubicBezTo>
                  <a:cubicBezTo>
                    <a:pt x="5589547" y="6168936"/>
                    <a:pt x="5585535" y="6172948"/>
                    <a:pt x="5580586" y="6172948"/>
                  </a:cubicBezTo>
                  <a:cubicBezTo>
                    <a:pt x="5575637" y="6172948"/>
                    <a:pt x="5571626" y="6168936"/>
                    <a:pt x="5571626" y="6163987"/>
                  </a:cubicBezTo>
                  <a:cubicBezTo>
                    <a:pt x="5571626" y="6159038"/>
                    <a:pt x="5575637" y="6155027"/>
                    <a:pt x="5580586" y="6155027"/>
                  </a:cubicBezTo>
                  <a:close/>
                  <a:moveTo>
                    <a:pt x="5411845" y="6155027"/>
                  </a:moveTo>
                  <a:cubicBezTo>
                    <a:pt x="5416794" y="6155027"/>
                    <a:pt x="5420806" y="6159038"/>
                    <a:pt x="5420806" y="6163987"/>
                  </a:cubicBezTo>
                  <a:cubicBezTo>
                    <a:pt x="5420806" y="6168936"/>
                    <a:pt x="5416794" y="6172948"/>
                    <a:pt x="5411845" y="6172948"/>
                  </a:cubicBezTo>
                  <a:cubicBezTo>
                    <a:pt x="5406896" y="6172948"/>
                    <a:pt x="5402885" y="6168936"/>
                    <a:pt x="5402885" y="6163987"/>
                  </a:cubicBezTo>
                  <a:cubicBezTo>
                    <a:pt x="5402885" y="6159038"/>
                    <a:pt x="5406896" y="6155027"/>
                    <a:pt x="5411845" y="6155027"/>
                  </a:cubicBezTo>
                  <a:close/>
                  <a:moveTo>
                    <a:pt x="5243103" y="6155027"/>
                  </a:moveTo>
                  <a:cubicBezTo>
                    <a:pt x="5248052" y="6155027"/>
                    <a:pt x="5252064" y="6159038"/>
                    <a:pt x="5252064" y="6163987"/>
                  </a:cubicBezTo>
                  <a:cubicBezTo>
                    <a:pt x="5252064" y="6168936"/>
                    <a:pt x="5248052" y="6172948"/>
                    <a:pt x="5243103" y="6172948"/>
                  </a:cubicBezTo>
                  <a:cubicBezTo>
                    <a:pt x="5238154" y="6172948"/>
                    <a:pt x="5234143" y="6168936"/>
                    <a:pt x="5234143" y="6163987"/>
                  </a:cubicBezTo>
                  <a:cubicBezTo>
                    <a:pt x="5234143" y="6159038"/>
                    <a:pt x="5238154" y="6155027"/>
                    <a:pt x="5243103" y="6155027"/>
                  </a:cubicBezTo>
                  <a:close/>
                  <a:moveTo>
                    <a:pt x="5074362" y="6155027"/>
                  </a:moveTo>
                  <a:cubicBezTo>
                    <a:pt x="5079311" y="6155027"/>
                    <a:pt x="5083323" y="6159038"/>
                    <a:pt x="5083323" y="6163987"/>
                  </a:cubicBezTo>
                  <a:cubicBezTo>
                    <a:pt x="5083323" y="6168936"/>
                    <a:pt x="5079311" y="6172948"/>
                    <a:pt x="5074362" y="6172948"/>
                  </a:cubicBezTo>
                  <a:cubicBezTo>
                    <a:pt x="5069413" y="6172948"/>
                    <a:pt x="5065402" y="6168936"/>
                    <a:pt x="5065402" y="6163987"/>
                  </a:cubicBezTo>
                  <a:cubicBezTo>
                    <a:pt x="5065402" y="6159038"/>
                    <a:pt x="5069413" y="6155027"/>
                    <a:pt x="5074362" y="6155027"/>
                  </a:cubicBezTo>
                  <a:close/>
                  <a:moveTo>
                    <a:pt x="4905620" y="6155027"/>
                  </a:moveTo>
                  <a:cubicBezTo>
                    <a:pt x="4910569" y="6155027"/>
                    <a:pt x="4914581" y="6159038"/>
                    <a:pt x="4914581" y="6163987"/>
                  </a:cubicBezTo>
                  <a:cubicBezTo>
                    <a:pt x="4914581" y="6168936"/>
                    <a:pt x="4910569" y="6172948"/>
                    <a:pt x="4905620" y="6172948"/>
                  </a:cubicBezTo>
                  <a:cubicBezTo>
                    <a:pt x="4900671" y="6172948"/>
                    <a:pt x="4896660" y="6168936"/>
                    <a:pt x="4896660" y="6163987"/>
                  </a:cubicBezTo>
                  <a:cubicBezTo>
                    <a:pt x="4896660" y="6159038"/>
                    <a:pt x="4900671" y="6155027"/>
                    <a:pt x="4905620" y="6155027"/>
                  </a:cubicBezTo>
                  <a:close/>
                  <a:moveTo>
                    <a:pt x="4736878" y="6155027"/>
                  </a:moveTo>
                  <a:cubicBezTo>
                    <a:pt x="4741827" y="6155027"/>
                    <a:pt x="4745839" y="6159038"/>
                    <a:pt x="4745839" y="6163987"/>
                  </a:cubicBezTo>
                  <a:cubicBezTo>
                    <a:pt x="4745839" y="6168936"/>
                    <a:pt x="4741827" y="6172948"/>
                    <a:pt x="4736878" y="6172948"/>
                  </a:cubicBezTo>
                  <a:cubicBezTo>
                    <a:pt x="4731929" y="6172948"/>
                    <a:pt x="4727918" y="6168936"/>
                    <a:pt x="4727918" y="6163987"/>
                  </a:cubicBezTo>
                  <a:cubicBezTo>
                    <a:pt x="4727918" y="6159038"/>
                    <a:pt x="4731929" y="6155027"/>
                    <a:pt x="4736878" y="6155027"/>
                  </a:cubicBezTo>
                  <a:close/>
                  <a:moveTo>
                    <a:pt x="4568137" y="6155027"/>
                  </a:moveTo>
                  <a:cubicBezTo>
                    <a:pt x="4573086" y="6155027"/>
                    <a:pt x="4577098" y="6159038"/>
                    <a:pt x="4577098" y="6163987"/>
                  </a:cubicBezTo>
                  <a:cubicBezTo>
                    <a:pt x="4577098" y="6168936"/>
                    <a:pt x="4573086" y="6172948"/>
                    <a:pt x="4568137" y="6172948"/>
                  </a:cubicBezTo>
                  <a:cubicBezTo>
                    <a:pt x="4563188" y="6172948"/>
                    <a:pt x="4559177" y="6168936"/>
                    <a:pt x="4559177" y="6163987"/>
                  </a:cubicBezTo>
                  <a:cubicBezTo>
                    <a:pt x="4559177" y="6159038"/>
                    <a:pt x="4563188" y="6155027"/>
                    <a:pt x="4568137" y="6155027"/>
                  </a:cubicBezTo>
                  <a:close/>
                  <a:moveTo>
                    <a:pt x="4399396" y="6155027"/>
                  </a:moveTo>
                  <a:cubicBezTo>
                    <a:pt x="4404345" y="6155027"/>
                    <a:pt x="4408357" y="6159038"/>
                    <a:pt x="4408357" y="6163987"/>
                  </a:cubicBezTo>
                  <a:cubicBezTo>
                    <a:pt x="4408357" y="6168936"/>
                    <a:pt x="4404345" y="6172948"/>
                    <a:pt x="4399396" y="6172948"/>
                  </a:cubicBezTo>
                  <a:cubicBezTo>
                    <a:pt x="4394447" y="6172948"/>
                    <a:pt x="4390436" y="6168936"/>
                    <a:pt x="4390436" y="6163987"/>
                  </a:cubicBezTo>
                  <a:cubicBezTo>
                    <a:pt x="4390436" y="6159038"/>
                    <a:pt x="4394447" y="6155027"/>
                    <a:pt x="4399396" y="6155027"/>
                  </a:cubicBezTo>
                  <a:close/>
                  <a:moveTo>
                    <a:pt x="4230654" y="6155027"/>
                  </a:moveTo>
                  <a:cubicBezTo>
                    <a:pt x="4235603" y="6155027"/>
                    <a:pt x="4239615" y="6159038"/>
                    <a:pt x="4239615" y="6163987"/>
                  </a:cubicBezTo>
                  <a:cubicBezTo>
                    <a:pt x="4239615" y="6168936"/>
                    <a:pt x="4235603" y="6172948"/>
                    <a:pt x="4230654" y="6172948"/>
                  </a:cubicBezTo>
                  <a:cubicBezTo>
                    <a:pt x="4225705" y="6172948"/>
                    <a:pt x="4221694" y="6168936"/>
                    <a:pt x="4221694" y="6163987"/>
                  </a:cubicBezTo>
                  <a:cubicBezTo>
                    <a:pt x="4221694" y="6159038"/>
                    <a:pt x="4225705" y="6155027"/>
                    <a:pt x="4230654" y="6155027"/>
                  </a:cubicBezTo>
                  <a:close/>
                  <a:moveTo>
                    <a:pt x="4061912" y="6155027"/>
                  </a:moveTo>
                  <a:cubicBezTo>
                    <a:pt x="4066861" y="6155027"/>
                    <a:pt x="4070873" y="6159038"/>
                    <a:pt x="4070873" y="6163987"/>
                  </a:cubicBezTo>
                  <a:cubicBezTo>
                    <a:pt x="4070873" y="6168936"/>
                    <a:pt x="4066861" y="6172948"/>
                    <a:pt x="4061912" y="6172948"/>
                  </a:cubicBezTo>
                  <a:cubicBezTo>
                    <a:pt x="4056963" y="6172948"/>
                    <a:pt x="4052952" y="6168936"/>
                    <a:pt x="4052952" y="6163987"/>
                  </a:cubicBezTo>
                  <a:cubicBezTo>
                    <a:pt x="4052952" y="6159038"/>
                    <a:pt x="4056963" y="6155027"/>
                    <a:pt x="4061912" y="6155027"/>
                  </a:cubicBezTo>
                  <a:close/>
                  <a:moveTo>
                    <a:pt x="3893170" y="6155027"/>
                  </a:moveTo>
                  <a:cubicBezTo>
                    <a:pt x="3898119" y="6155027"/>
                    <a:pt x="3902131" y="6159038"/>
                    <a:pt x="3902131" y="6163987"/>
                  </a:cubicBezTo>
                  <a:cubicBezTo>
                    <a:pt x="3902131" y="6168936"/>
                    <a:pt x="3898119" y="6172948"/>
                    <a:pt x="3893170" y="6172948"/>
                  </a:cubicBezTo>
                  <a:cubicBezTo>
                    <a:pt x="3888221" y="6172948"/>
                    <a:pt x="3884210" y="6168936"/>
                    <a:pt x="3884210" y="6163987"/>
                  </a:cubicBezTo>
                  <a:cubicBezTo>
                    <a:pt x="3884210" y="6159038"/>
                    <a:pt x="3888221" y="6155027"/>
                    <a:pt x="3893170" y="6155027"/>
                  </a:cubicBezTo>
                  <a:close/>
                  <a:moveTo>
                    <a:pt x="3724429" y="6155027"/>
                  </a:moveTo>
                  <a:cubicBezTo>
                    <a:pt x="3729378" y="6155027"/>
                    <a:pt x="3733390" y="6159038"/>
                    <a:pt x="3733390" y="6163987"/>
                  </a:cubicBezTo>
                  <a:cubicBezTo>
                    <a:pt x="3733390" y="6168936"/>
                    <a:pt x="3729378" y="6172948"/>
                    <a:pt x="3724429" y="6172948"/>
                  </a:cubicBezTo>
                  <a:cubicBezTo>
                    <a:pt x="3719481" y="6172948"/>
                    <a:pt x="3715469" y="6168936"/>
                    <a:pt x="3715469" y="6163987"/>
                  </a:cubicBezTo>
                  <a:cubicBezTo>
                    <a:pt x="3715469" y="6159038"/>
                    <a:pt x="3719481" y="6155027"/>
                    <a:pt x="3724429" y="6155027"/>
                  </a:cubicBezTo>
                  <a:close/>
                  <a:moveTo>
                    <a:pt x="3555688" y="6155027"/>
                  </a:moveTo>
                  <a:cubicBezTo>
                    <a:pt x="3560637" y="6155027"/>
                    <a:pt x="3564649" y="6159038"/>
                    <a:pt x="3564649" y="6163987"/>
                  </a:cubicBezTo>
                  <a:cubicBezTo>
                    <a:pt x="3564649" y="6168936"/>
                    <a:pt x="3560637" y="6172948"/>
                    <a:pt x="3555688" y="6172948"/>
                  </a:cubicBezTo>
                  <a:cubicBezTo>
                    <a:pt x="3550740" y="6172948"/>
                    <a:pt x="3546728" y="6168936"/>
                    <a:pt x="3546728" y="6163987"/>
                  </a:cubicBezTo>
                  <a:cubicBezTo>
                    <a:pt x="3546728" y="6159038"/>
                    <a:pt x="3550740" y="6155027"/>
                    <a:pt x="3555688" y="6155027"/>
                  </a:cubicBezTo>
                  <a:close/>
                  <a:moveTo>
                    <a:pt x="3387002" y="6155027"/>
                  </a:moveTo>
                  <a:cubicBezTo>
                    <a:pt x="3391950" y="6155027"/>
                    <a:pt x="3395962" y="6159038"/>
                    <a:pt x="3395962" y="6163987"/>
                  </a:cubicBezTo>
                  <a:cubicBezTo>
                    <a:pt x="3395962" y="6168936"/>
                    <a:pt x="3391950" y="6172948"/>
                    <a:pt x="3387002" y="6172948"/>
                  </a:cubicBezTo>
                  <a:cubicBezTo>
                    <a:pt x="3382026" y="6172948"/>
                    <a:pt x="3378014" y="6168936"/>
                    <a:pt x="3378014" y="6163987"/>
                  </a:cubicBezTo>
                  <a:cubicBezTo>
                    <a:pt x="3378014" y="6159038"/>
                    <a:pt x="3382026" y="6155027"/>
                    <a:pt x="3387002" y="6155027"/>
                  </a:cubicBezTo>
                  <a:close/>
                  <a:moveTo>
                    <a:pt x="3218244" y="6155027"/>
                  </a:moveTo>
                  <a:cubicBezTo>
                    <a:pt x="3223206" y="6155027"/>
                    <a:pt x="3227217" y="6159038"/>
                    <a:pt x="3227217" y="6163987"/>
                  </a:cubicBezTo>
                  <a:cubicBezTo>
                    <a:pt x="3227217" y="6168936"/>
                    <a:pt x="3223206" y="6172948"/>
                    <a:pt x="3218244" y="6172948"/>
                  </a:cubicBezTo>
                  <a:cubicBezTo>
                    <a:pt x="3213299" y="6172948"/>
                    <a:pt x="3209290" y="6168936"/>
                    <a:pt x="3209290" y="6163987"/>
                  </a:cubicBezTo>
                  <a:cubicBezTo>
                    <a:pt x="3209290" y="6159038"/>
                    <a:pt x="3213299" y="6155027"/>
                    <a:pt x="3218244" y="6155027"/>
                  </a:cubicBezTo>
                  <a:close/>
                  <a:moveTo>
                    <a:pt x="3049534" y="6155027"/>
                  </a:moveTo>
                  <a:cubicBezTo>
                    <a:pt x="3054468" y="6155027"/>
                    <a:pt x="3058481" y="6159038"/>
                    <a:pt x="3058481" y="6163987"/>
                  </a:cubicBezTo>
                  <a:cubicBezTo>
                    <a:pt x="3058481" y="6168936"/>
                    <a:pt x="3054468" y="6172948"/>
                    <a:pt x="3049534" y="6172948"/>
                  </a:cubicBezTo>
                  <a:cubicBezTo>
                    <a:pt x="3044571" y="6172948"/>
                    <a:pt x="3040559" y="6168936"/>
                    <a:pt x="3040559" y="6163987"/>
                  </a:cubicBezTo>
                  <a:cubicBezTo>
                    <a:pt x="3040559" y="6159038"/>
                    <a:pt x="3044571" y="6155027"/>
                    <a:pt x="3049534" y="6155027"/>
                  </a:cubicBezTo>
                  <a:close/>
                  <a:moveTo>
                    <a:pt x="2880795" y="6155027"/>
                  </a:moveTo>
                  <a:cubicBezTo>
                    <a:pt x="2885740" y="6155027"/>
                    <a:pt x="2889751" y="6159038"/>
                    <a:pt x="2889751" y="6163987"/>
                  </a:cubicBezTo>
                  <a:cubicBezTo>
                    <a:pt x="2889751" y="6168936"/>
                    <a:pt x="2885740" y="6172948"/>
                    <a:pt x="2880795" y="6172948"/>
                  </a:cubicBezTo>
                  <a:cubicBezTo>
                    <a:pt x="2875842" y="6172948"/>
                    <a:pt x="2871832" y="6168936"/>
                    <a:pt x="2871832" y="6163987"/>
                  </a:cubicBezTo>
                  <a:cubicBezTo>
                    <a:pt x="2871832" y="6159038"/>
                    <a:pt x="2875842" y="6155027"/>
                    <a:pt x="2880795" y="6155027"/>
                  </a:cubicBezTo>
                  <a:close/>
                  <a:moveTo>
                    <a:pt x="2712039" y="6155027"/>
                  </a:moveTo>
                  <a:cubicBezTo>
                    <a:pt x="2717006" y="6155027"/>
                    <a:pt x="2721022" y="6159038"/>
                    <a:pt x="2721022" y="6163987"/>
                  </a:cubicBezTo>
                  <a:cubicBezTo>
                    <a:pt x="2721022" y="6168936"/>
                    <a:pt x="2717006" y="6172948"/>
                    <a:pt x="2712039" y="6172948"/>
                  </a:cubicBezTo>
                  <a:cubicBezTo>
                    <a:pt x="2707093" y="6172948"/>
                    <a:pt x="2703083" y="6168936"/>
                    <a:pt x="2703083" y="6163987"/>
                  </a:cubicBezTo>
                  <a:cubicBezTo>
                    <a:pt x="2703083" y="6159038"/>
                    <a:pt x="2707093" y="6155027"/>
                    <a:pt x="2712039" y="6155027"/>
                  </a:cubicBezTo>
                  <a:close/>
                  <a:moveTo>
                    <a:pt x="2543322" y="6155027"/>
                  </a:moveTo>
                  <a:cubicBezTo>
                    <a:pt x="2548276" y="6155027"/>
                    <a:pt x="2552285" y="6159038"/>
                    <a:pt x="2552285" y="6163987"/>
                  </a:cubicBezTo>
                  <a:cubicBezTo>
                    <a:pt x="2552285" y="6168936"/>
                    <a:pt x="2548276" y="6172948"/>
                    <a:pt x="2543322" y="6172948"/>
                  </a:cubicBezTo>
                  <a:cubicBezTo>
                    <a:pt x="2538373" y="6172948"/>
                    <a:pt x="2534355" y="6168936"/>
                    <a:pt x="2534355" y="6163987"/>
                  </a:cubicBezTo>
                  <a:cubicBezTo>
                    <a:pt x="2534355" y="6159038"/>
                    <a:pt x="2538373" y="6155027"/>
                    <a:pt x="2543322" y="6155027"/>
                  </a:cubicBezTo>
                  <a:close/>
                  <a:moveTo>
                    <a:pt x="2374556" y="6155027"/>
                  </a:moveTo>
                  <a:cubicBezTo>
                    <a:pt x="2379510" y="6155027"/>
                    <a:pt x="2383540" y="6159038"/>
                    <a:pt x="2383540" y="6163987"/>
                  </a:cubicBezTo>
                  <a:cubicBezTo>
                    <a:pt x="2383540" y="6168936"/>
                    <a:pt x="2379510" y="6172948"/>
                    <a:pt x="2374556" y="6172948"/>
                  </a:cubicBezTo>
                  <a:cubicBezTo>
                    <a:pt x="2369606" y="6172948"/>
                    <a:pt x="2365593" y="6168936"/>
                    <a:pt x="2365593" y="6163987"/>
                  </a:cubicBezTo>
                  <a:cubicBezTo>
                    <a:pt x="2365593" y="6159038"/>
                    <a:pt x="2369606" y="6155027"/>
                    <a:pt x="2374556" y="6155027"/>
                  </a:cubicBezTo>
                  <a:close/>
                  <a:moveTo>
                    <a:pt x="2205836" y="6155027"/>
                  </a:moveTo>
                  <a:cubicBezTo>
                    <a:pt x="2210782" y="6155027"/>
                    <a:pt x="2214794" y="6159038"/>
                    <a:pt x="2214794" y="6163987"/>
                  </a:cubicBezTo>
                  <a:cubicBezTo>
                    <a:pt x="2214794" y="6168936"/>
                    <a:pt x="2210782" y="6172948"/>
                    <a:pt x="2205836" y="6172948"/>
                  </a:cubicBezTo>
                  <a:cubicBezTo>
                    <a:pt x="2200872" y="6172948"/>
                    <a:pt x="2196862" y="6168936"/>
                    <a:pt x="2196862" y="6163987"/>
                  </a:cubicBezTo>
                  <a:cubicBezTo>
                    <a:pt x="2196862" y="6159038"/>
                    <a:pt x="2200872" y="6155027"/>
                    <a:pt x="2205836" y="6155027"/>
                  </a:cubicBezTo>
                  <a:close/>
                  <a:moveTo>
                    <a:pt x="2037090" y="6155027"/>
                  </a:moveTo>
                  <a:cubicBezTo>
                    <a:pt x="2042045" y="6155027"/>
                    <a:pt x="2046047" y="6159038"/>
                    <a:pt x="2046047" y="6163987"/>
                  </a:cubicBezTo>
                  <a:cubicBezTo>
                    <a:pt x="2046047" y="6168936"/>
                    <a:pt x="2042045" y="6172948"/>
                    <a:pt x="2037090" y="6172948"/>
                  </a:cubicBezTo>
                  <a:cubicBezTo>
                    <a:pt x="2032145" y="6172948"/>
                    <a:pt x="2028143" y="6168936"/>
                    <a:pt x="2028143" y="6163987"/>
                  </a:cubicBezTo>
                  <a:cubicBezTo>
                    <a:pt x="2028143" y="6159038"/>
                    <a:pt x="2032145" y="6155027"/>
                    <a:pt x="2037090" y="6155027"/>
                  </a:cubicBezTo>
                  <a:close/>
                  <a:moveTo>
                    <a:pt x="1868367" y="6155027"/>
                  </a:moveTo>
                  <a:cubicBezTo>
                    <a:pt x="1873310" y="6155027"/>
                    <a:pt x="1877321" y="6159038"/>
                    <a:pt x="1877321" y="6163987"/>
                  </a:cubicBezTo>
                  <a:cubicBezTo>
                    <a:pt x="1877321" y="6168936"/>
                    <a:pt x="1873310" y="6172948"/>
                    <a:pt x="1868367" y="6172948"/>
                  </a:cubicBezTo>
                  <a:cubicBezTo>
                    <a:pt x="1863414" y="6172948"/>
                    <a:pt x="1859398" y="6168936"/>
                    <a:pt x="1859398" y="6163987"/>
                  </a:cubicBezTo>
                  <a:cubicBezTo>
                    <a:pt x="1859398" y="6159038"/>
                    <a:pt x="1863414" y="6155027"/>
                    <a:pt x="1868367" y="6155027"/>
                  </a:cubicBezTo>
                  <a:close/>
                  <a:moveTo>
                    <a:pt x="1699619" y="6155027"/>
                  </a:moveTo>
                  <a:cubicBezTo>
                    <a:pt x="1704574" y="6155027"/>
                    <a:pt x="1708585" y="6159038"/>
                    <a:pt x="1708585" y="6163987"/>
                  </a:cubicBezTo>
                  <a:cubicBezTo>
                    <a:pt x="1708585" y="6168936"/>
                    <a:pt x="1704574" y="6172948"/>
                    <a:pt x="1699619" y="6172948"/>
                  </a:cubicBezTo>
                  <a:cubicBezTo>
                    <a:pt x="1694671" y="6172948"/>
                    <a:pt x="1690656" y="6168936"/>
                    <a:pt x="1690656" y="6163987"/>
                  </a:cubicBezTo>
                  <a:cubicBezTo>
                    <a:pt x="1690656" y="6159038"/>
                    <a:pt x="1694671" y="6155027"/>
                    <a:pt x="1699619" y="6155027"/>
                  </a:cubicBezTo>
                  <a:close/>
                  <a:moveTo>
                    <a:pt x="1530879" y="6155027"/>
                  </a:moveTo>
                  <a:cubicBezTo>
                    <a:pt x="1535828" y="6155027"/>
                    <a:pt x="1539840" y="6159038"/>
                    <a:pt x="1539840" y="6163987"/>
                  </a:cubicBezTo>
                  <a:cubicBezTo>
                    <a:pt x="1539840" y="6168936"/>
                    <a:pt x="1535828" y="6172948"/>
                    <a:pt x="1530879" y="6172948"/>
                  </a:cubicBezTo>
                  <a:cubicBezTo>
                    <a:pt x="1525929" y="6172948"/>
                    <a:pt x="1521917" y="6168936"/>
                    <a:pt x="1521917" y="6163987"/>
                  </a:cubicBezTo>
                  <a:cubicBezTo>
                    <a:pt x="1521917" y="6159038"/>
                    <a:pt x="1525929" y="6155027"/>
                    <a:pt x="1530879" y="6155027"/>
                  </a:cubicBezTo>
                  <a:close/>
                  <a:moveTo>
                    <a:pt x="1362132" y="6155027"/>
                  </a:moveTo>
                  <a:cubicBezTo>
                    <a:pt x="1367083" y="6155027"/>
                    <a:pt x="1371093" y="6159038"/>
                    <a:pt x="1371093" y="6163987"/>
                  </a:cubicBezTo>
                  <a:cubicBezTo>
                    <a:pt x="1371093" y="6168936"/>
                    <a:pt x="1367083" y="6172948"/>
                    <a:pt x="1362132" y="6172948"/>
                  </a:cubicBezTo>
                  <a:cubicBezTo>
                    <a:pt x="1357183" y="6172948"/>
                    <a:pt x="1353171" y="6168936"/>
                    <a:pt x="1353171" y="6163987"/>
                  </a:cubicBezTo>
                  <a:cubicBezTo>
                    <a:pt x="1353171" y="6159038"/>
                    <a:pt x="1357183" y="6155027"/>
                    <a:pt x="1362132" y="6155027"/>
                  </a:cubicBezTo>
                  <a:close/>
                  <a:moveTo>
                    <a:pt x="1193391" y="6155027"/>
                  </a:moveTo>
                  <a:cubicBezTo>
                    <a:pt x="1198339" y="6155027"/>
                    <a:pt x="1202351" y="6159038"/>
                    <a:pt x="1202351" y="6163987"/>
                  </a:cubicBezTo>
                  <a:cubicBezTo>
                    <a:pt x="1202351" y="6168936"/>
                    <a:pt x="1198339" y="6172948"/>
                    <a:pt x="1193391" y="6172948"/>
                  </a:cubicBezTo>
                  <a:cubicBezTo>
                    <a:pt x="1188442" y="6172948"/>
                    <a:pt x="1184432" y="6168936"/>
                    <a:pt x="1184432" y="6163987"/>
                  </a:cubicBezTo>
                  <a:cubicBezTo>
                    <a:pt x="1184432" y="6159038"/>
                    <a:pt x="1188442" y="6155027"/>
                    <a:pt x="1193391" y="6155027"/>
                  </a:cubicBezTo>
                  <a:close/>
                  <a:moveTo>
                    <a:pt x="1024642" y="6155027"/>
                  </a:moveTo>
                  <a:cubicBezTo>
                    <a:pt x="1029593" y="6155027"/>
                    <a:pt x="1033606" y="6159038"/>
                    <a:pt x="1033606" y="6163987"/>
                  </a:cubicBezTo>
                  <a:cubicBezTo>
                    <a:pt x="1033606" y="6168936"/>
                    <a:pt x="1029593" y="6172948"/>
                    <a:pt x="1024642" y="6172948"/>
                  </a:cubicBezTo>
                  <a:cubicBezTo>
                    <a:pt x="1019694" y="6172948"/>
                    <a:pt x="1015683" y="6168936"/>
                    <a:pt x="1015683" y="6163987"/>
                  </a:cubicBezTo>
                  <a:cubicBezTo>
                    <a:pt x="1015683" y="6159038"/>
                    <a:pt x="1019694" y="6155027"/>
                    <a:pt x="1024642" y="6155027"/>
                  </a:cubicBezTo>
                  <a:close/>
                  <a:moveTo>
                    <a:pt x="855909" y="6155027"/>
                  </a:moveTo>
                  <a:cubicBezTo>
                    <a:pt x="860857" y="6155027"/>
                    <a:pt x="864869" y="6159038"/>
                    <a:pt x="864869" y="6163987"/>
                  </a:cubicBezTo>
                  <a:cubicBezTo>
                    <a:pt x="864869" y="6168936"/>
                    <a:pt x="860857" y="6172948"/>
                    <a:pt x="855909" y="6172948"/>
                  </a:cubicBezTo>
                  <a:cubicBezTo>
                    <a:pt x="850960" y="6172948"/>
                    <a:pt x="846949" y="6168936"/>
                    <a:pt x="846949" y="6163987"/>
                  </a:cubicBezTo>
                  <a:cubicBezTo>
                    <a:pt x="846949" y="6159038"/>
                    <a:pt x="850960" y="6155027"/>
                    <a:pt x="855909" y="6155027"/>
                  </a:cubicBezTo>
                  <a:close/>
                  <a:moveTo>
                    <a:pt x="687169" y="6155027"/>
                  </a:moveTo>
                  <a:cubicBezTo>
                    <a:pt x="692117" y="6155027"/>
                    <a:pt x="696129" y="6159038"/>
                    <a:pt x="696129" y="6163987"/>
                  </a:cubicBezTo>
                  <a:cubicBezTo>
                    <a:pt x="696129" y="6168936"/>
                    <a:pt x="692117" y="6172948"/>
                    <a:pt x="687169" y="6172948"/>
                  </a:cubicBezTo>
                  <a:cubicBezTo>
                    <a:pt x="682220" y="6172948"/>
                    <a:pt x="678209" y="6168936"/>
                    <a:pt x="678209" y="6163987"/>
                  </a:cubicBezTo>
                  <a:cubicBezTo>
                    <a:pt x="678209" y="6159038"/>
                    <a:pt x="682220" y="6155027"/>
                    <a:pt x="687169" y="6155027"/>
                  </a:cubicBezTo>
                  <a:close/>
                  <a:moveTo>
                    <a:pt x="518412" y="6155027"/>
                  </a:moveTo>
                  <a:cubicBezTo>
                    <a:pt x="523361" y="6155027"/>
                    <a:pt x="527372" y="6159038"/>
                    <a:pt x="527372" y="6163987"/>
                  </a:cubicBezTo>
                  <a:cubicBezTo>
                    <a:pt x="527372" y="6168936"/>
                    <a:pt x="523361" y="6172948"/>
                    <a:pt x="518412" y="6172948"/>
                  </a:cubicBezTo>
                  <a:cubicBezTo>
                    <a:pt x="513463" y="6172948"/>
                    <a:pt x="509451" y="6168936"/>
                    <a:pt x="509451" y="6163987"/>
                  </a:cubicBezTo>
                  <a:cubicBezTo>
                    <a:pt x="509451" y="6159038"/>
                    <a:pt x="513463" y="6155027"/>
                    <a:pt x="518412" y="6155027"/>
                  </a:cubicBezTo>
                  <a:close/>
                  <a:moveTo>
                    <a:pt x="349673" y="6155027"/>
                  </a:moveTo>
                  <a:cubicBezTo>
                    <a:pt x="354621" y="6155027"/>
                    <a:pt x="358633" y="6159038"/>
                    <a:pt x="358633" y="6163987"/>
                  </a:cubicBezTo>
                  <a:cubicBezTo>
                    <a:pt x="358633" y="6168936"/>
                    <a:pt x="354621" y="6172948"/>
                    <a:pt x="349673" y="6172948"/>
                  </a:cubicBezTo>
                  <a:cubicBezTo>
                    <a:pt x="344724" y="6172948"/>
                    <a:pt x="340713" y="6168936"/>
                    <a:pt x="340713" y="6163987"/>
                  </a:cubicBezTo>
                  <a:cubicBezTo>
                    <a:pt x="340713" y="6159038"/>
                    <a:pt x="344724" y="6155027"/>
                    <a:pt x="349673" y="6155027"/>
                  </a:cubicBezTo>
                  <a:close/>
                  <a:moveTo>
                    <a:pt x="179353" y="6155027"/>
                  </a:moveTo>
                  <a:cubicBezTo>
                    <a:pt x="184302" y="6155027"/>
                    <a:pt x="188314" y="6159038"/>
                    <a:pt x="188314" y="6163987"/>
                  </a:cubicBezTo>
                  <a:cubicBezTo>
                    <a:pt x="188314" y="6168936"/>
                    <a:pt x="184302" y="6172948"/>
                    <a:pt x="179353" y="6172948"/>
                  </a:cubicBezTo>
                  <a:cubicBezTo>
                    <a:pt x="174405" y="6172948"/>
                    <a:pt x="170393" y="6168936"/>
                    <a:pt x="170393" y="6163987"/>
                  </a:cubicBezTo>
                  <a:cubicBezTo>
                    <a:pt x="170393" y="6159038"/>
                    <a:pt x="174405" y="6155027"/>
                    <a:pt x="179353" y="6155027"/>
                  </a:cubicBezTo>
                  <a:close/>
                  <a:moveTo>
                    <a:pt x="9035" y="6155027"/>
                  </a:moveTo>
                  <a:cubicBezTo>
                    <a:pt x="13983" y="6155027"/>
                    <a:pt x="17995" y="6159038"/>
                    <a:pt x="17995" y="6163987"/>
                  </a:cubicBezTo>
                  <a:cubicBezTo>
                    <a:pt x="17995" y="6168936"/>
                    <a:pt x="13983" y="6172948"/>
                    <a:pt x="9035" y="6172948"/>
                  </a:cubicBezTo>
                  <a:cubicBezTo>
                    <a:pt x="4086" y="6172948"/>
                    <a:pt x="74" y="6168936"/>
                    <a:pt x="74" y="6163987"/>
                  </a:cubicBezTo>
                  <a:cubicBezTo>
                    <a:pt x="74" y="6159038"/>
                    <a:pt x="4086" y="6155027"/>
                    <a:pt x="9035" y="6155027"/>
                  </a:cubicBezTo>
                  <a:close/>
                  <a:moveTo>
                    <a:pt x="6933679" y="5984046"/>
                  </a:moveTo>
                  <a:cubicBezTo>
                    <a:pt x="6938628" y="5984046"/>
                    <a:pt x="6942639" y="5988057"/>
                    <a:pt x="6942639" y="5993006"/>
                  </a:cubicBezTo>
                  <a:cubicBezTo>
                    <a:pt x="6942639" y="5997955"/>
                    <a:pt x="6938628" y="6001967"/>
                    <a:pt x="6933679" y="6001967"/>
                  </a:cubicBezTo>
                  <a:cubicBezTo>
                    <a:pt x="6928730" y="6001967"/>
                    <a:pt x="6924718" y="5997955"/>
                    <a:pt x="6924718" y="5993006"/>
                  </a:cubicBezTo>
                  <a:cubicBezTo>
                    <a:pt x="6924718" y="5988057"/>
                    <a:pt x="6928730" y="5984046"/>
                    <a:pt x="6933679" y="5984046"/>
                  </a:cubicBezTo>
                  <a:close/>
                  <a:moveTo>
                    <a:pt x="6763357" y="5984046"/>
                  </a:moveTo>
                  <a:cubicBezTo>
                    <a:pt x="6768306" y="5984046"/>
                    <a:pt x="6772318" y="5988057"/>
                    <a:pt x="6772318" y="5993006"/>
                  </a:cubicBezTo>
                  <a:cubicBezTo>
                    <a:pt x="6772318" y="5997955"/>
                    <a:pt x="6768306" y="6001967"/>
                    <a:pt x="6763357" y="6001967"/>
                  </a:cubicBezTo>
                  <a:cubicBezTo>
                    <a:pt x="6758408" y="6001967"/>
                    <a:pt x="6754397" y="5997955"/>
                    <a:pt x="6754397" y="5993006"/>
                  </a:cubicBezTo>
                  <a:cubicBezTo>
                    <a:pt x="6754397" y="5988057"/>
                    <a:pt x="6758408" y="5984046"/>
                    <a:pt x="6763357" y="5984046"/>
                  </a:cubicBezTo>
                  <a:close/>
                  <a:moveTo>
                    <a:pt x="6593035" y="5984046"/>
                  </a:moveTo>
                  <a:cubicBezTo>
                    <a:pt x="6597984" y="5984046"/>
                    <a:pt x="6601996" y="5988057"/>
                    <a:pt x="6601996" y="5993006"/>
                  </a:cubicBezTo>
                  <a:cubicBezTo>
                    <a:pt x="6601996" y="5997955"/>
                    <a:pt x="6597984" y="6001967"/>
                    <a:pt x="6593035" y="6001967"/>
                  </a:cubicBezTo>
                  <a:cubicBezTo>
                    <a:pt x="6588086" y="6001967"/>
                    <a:pt x="6584075" y="5997955"/>
                    <a:pt x="6584075" y="5993006"/>
                  </a:cubicBezTo>
                  <a:cubicBezTo>
                    <a:pt x="6584075" y="5988057"/>
                    <a:pt x="6588086" y="5984046"/>
                    <a:pt x="6593035" y="5984046"/>
                  </a:cubicBezTo>
                  <a:close/>
                  <a:moveTo>
                    <a:pt x="6424294" y="5984046"/>
                  </a:moveTo>
                  <a:cubicBezTo>
                    <a:pt x="6429243" y="5984046"/>
                    <a:pt x="6433255" y="5988057"/>
                    <a:pt x="6433255" y="5993006"/>
                  </a:cubicBezTo>
                  <a:cubicBezTo>
                    <a:pt x="6433255" y="5997955"/>
                    <a:pt x="6429243" y="6001967"/>
                    <a:pt x="6424294" y="6001967"/>
                  </a:cubicBezTo>
                  <a:cubicBezTo>
                    <a:pt x="6419345" y="6001967"/>
                    <a:pt x="6415334" y="5997955"/>
                    <a:pt x="6415334" y="5993006"/>
                  </a:cubicBezTo>
                  <a:cubicBezTo>
                    <a:pt x="6415334" y="5988057"/>
                    <a:pt x="6419345" y="5984046"/>
                    <a:pt x="6424294" y="5984046"/>
                  </a:cubicBezTo>
                  <a:close/>
                  <a:moveTo>
                    <a:pt x="6255553" y="5984046"/>
                  </a:moveTo>
                  <a:cubicBezTo>
                    <a:pt x="6260502" y="5984046"/>
                    <a:pt x="6264514" y="5988057"/>
                    <a:pt x="6264514" y="5993006"/>
                  </a:cubicBezTo>
                  <a:cubicBezTo>
                    <a:pt x="6264514" y="5997955"/>
                    <a:pt x="6260502" y="6001967"/>
                    <a:pt x="6255553" y="6001967"/>
                  </a:cubicBezTo>
                  <a:cubicBezTo>
                    <a:pt x="6250604" y="6001967"/>
                    <a:pt x="6246593" y="5997955"/>
                    <a:pt x="6246593" y="5993006"/>
                  </a:cubicBezTo>
                  <a:cubicBezTo>
                    <a:pt x="6246593" y="5988057"/>
                    <a:pt x="6250604" y="5984046"/>
                    <a:pt x="6255553" y="5984046"/>
                  </a:cubicBezTo>
                  <a:close/>
                  <a:moveTo>
                    <a:pt x="6086811" y="5984046"/>
                  </a:moveTo>
                  <a:cubicBezTo>
                    <a:pt x="6091760" y="5984046"/>
                    <a:pt x="6095772" y="5988057"/>
                    <a:pt x="6095772" y="5993006"/>
                  </a:cubicBezTo>
                  <a:cubicBezTo>
                    <a:pt x="6095772" y="5997955"/>
                    <a:pt x="6091760" y="6001967"/>
                    <a:pt x="6086811" y="6001967"/>
                  </a:cubicBezTo>
                  <a:cubicBezTo>
                    <a:pt x="6081862" y="6001967"/>
                    <a:pt x="6077851" y="5997955"/>
                    <a:pt x="6077851" y="5993006"/>
                  </a:cubicBezTo>
                  <a:cubicBezTo>
                    <a:pt x="6077851" y="5988057"/>
                    <a:pt x="6081862" y="5984046"/>
                    <a:pt x="6086811" y="5984046"/>
                  </a:cubicBezTo>
                  <a:close/>
                  <a:moveTo>
                    <a:pt x="5918069" y="5984046"/>
                  </a:moveTo>
                  <a:cubicBezTo>
                    <a:pt x="5923018" y="5984046"/>
                    <a:pt x="5927030" y="5988057"/>
                    <a:pt x="5927030" y="5993006"/>
                  </a:cubicBezTo>
                  <a:cubicBezTo>
                    <a:pt x="5927030" y="5997955"/>
                    <a:pt x="5923018" y="6001967"/>
                    <a:pt x="5918069" y="6001967"/>
                  </a:cubicBezTo>
                  <a:cubicBezTo>
                    <a:pt x="5913120" y="6001967"/>
                    <a:pt x="5909109" y="5997955"/>
                    <a:pt x="5909109" y="5993006"/>
                  </a:cubicBezTo>
                  <a:cubicBezTo>
                    <a:pt x="5909109" y="5988057"/>
                    <a:pt x="5913120" y="5984046"/>
                    <a:pt x="5918069" y="5984046"/>
                  </a:cubicBezTo>
                  <a:close/>
                  <a:moveTo>
                    <a:pt x="5749328" y="5984046"/>
                  </a:moveTo>
                  <a:cubicBezTo>
                    <a:pt x="5754277" y="5984046"/>
                    <a:pt x="5758289" y="5988057"/>
                    <a:pt x="5758289" y="5993006"/>
                  </a:cubicBezTo>
                  <a:cubicBezTo>
                    <a:pt x="5758289" y="5997955"/>
                    <a:pt x="5754277" y="6001967"/>
                    <a:pt x="5749328" y="6001967"/>
                  </a:cubicBezTo>
                  <a:cubicBezTo>
                    <a:pt x="5744379" y="6001967"/>
                    <a:pt x="5740368" y="5997955"/>
                    <a:pt x="5740368" y="5993006"/>
                  </a:cubicBezTo>
                  <a:cubicBezTo>
                    <a:pt x="5740368" y="5988057"/>
                    <a:pt x="5744379" y="5984046"/>
                    <a:pt x="5749328" y="5984046"/>
                  </a:cubicBezTo>
                  <a:close/>
                  <a:moveTo>
                    <a:pt x="5580586" y="5984046"/>
                  </a:moveTo>
                  <a:cubicBezTo>
                    <a:pt x="5585535" y="5984046"/>
                    <a:pt x="5589547" y="5988057"/>
                    <a:pt x="5589547" y="5993006"/>
                  </a:cubicBezTo>
                  <a:cubicBezTo>
                    <a:pt x="5589547" y="5997955"/>
                    <a:pt x="5585535" y="6001967"/>
                    <a:pt x="5580586" y="6001967"/>
                  </a:cubicBezTo>
                  <a:cubicBezTo>
                    <a:pt x="5575637" y="6001967"/>
                    <a:pt x="5571626" y="5997955"/>
                    <a:pt x="5571626" y="5993006"/>
                  </a:cubicBezTo>
                  <a:cubicBezTo>
                    <a:pt x="5571626" y="5988057"/>
                    <a:pt x="5575637" y="5984046"/>
                    <a:pt x="5580586" y="5984046"/>
                  </a:cubicBezTo>
                  <a:close/>
                  <a:moveTo>
                    <a:pt x="5411845" y="5984046"/>
                  </a:moveTo>
                  <a:cubicBezTo>
                    <a:pt x="5416794" y="5984046"/>
                    <a:pt x="5420806" y="5988057"/>
                    <a:pt x="5420806" y="5993006"/>
                  </a:cubicBezTo>
                  <a:cubicBezTo>
                    <a:pt x="5420806" y="5997955"/>
                    <a:pt x="5416794" y="6001967"/>
                    <a:pt x="5411845" y="6001967"/>
                  </a:cubicBezTo>
                  <a:cubicBezTo>
                    <a:pt x="5406896" y="6001967"/>
                    <a:pt x="5402885" y="5997955"/>
                    <a:pt x="5402885" y="5993006"/>
                  </a:cubicBezTo>
                  <a:cubicBezTo>
                    <a:pt x="5402885" y="5988057"/>
                    <a:pt x="5406896" y="5984046"/>
                    <a:pt x="5411845" y="5984046"/>
                  </a:cubicBezTo>
                  <a:close/>
                  <a:moveTo>
                    <a:pt x="5243103" y="5984046"/>
                  </a:moveTo>
                  <a:cubicBezTo>
                    <a:pt x="5248052" y="5984046"/>
                    <a:pt x="5252064" y="5988057"/>
                    <a:pt x="5252064" y="5993006"/>
                  </a:cubicBezTo>
                  <a:cubicBezTo>
                    <a:pt x="5252064" y="5997955"/>
                    <a:pt x="5248052" y="6001967"/>
                    <a:pt x="5243103" y="6001967"/>
                  </a:cubicBezTo>
                  <a:cubicBezTo>
                    <a:pt x="5238154" y="6001967"/>
                    <a:pt x="5234143" y="5997955"/>
                    <a:pt x="5234143" y="5993006"/>
                  </a:cubicBezTo>
                  <a:cubicBezTo>
                    <a:pt x="5234143" y="5988057"/>
                    <a:pt x="5238154" y="5984046"/>
                    <a:pt x="5243103" y="5984046"/>
                  </a:cubicBezTo>
                  <a:close/>
                  <a:moveTo>
                    <a:pt x="5074362" y="5984046"/>
                  </a:moveTo>
                  <a:cubicBezTo>
                    <a:pt x="5079311" y="5984046"/>
                    <a:pt x="5083323" y="5988057"/>
                    <a:pt x="5083323" y="5993006"/>
                  </a:cubicBezTo>
                  <a:cubicBezTo>
                    <a:pt x="5083323" y="5997955"/>
                    <a:pt x="5079311" y="6001967"/>
                    <a:pt x="5074362" y="6001967"/>
                  </a:cubicBezTo>
                  <a:cubicBezTo>
                    <a:pt x="5069413" y="6001967"/>
                    <a:pt x="5065402" y="5997955"/>
                    <a:pt x="5065402" y="5993006"/>
                  </a:cubicBezTo>
                  <a:cubicBezTo>
                    <a:pt x="5065402" y="5988057"/>
                    <a:pt x="5069413" y="5984046"/>
                    <a:pt x="5074362" y="5984046"/>
                  </a:cubicBezTo>
                  <a:close/>
                  <a:moveTo>
                    <a:pt x="4905620" y="5984046"/>
                  </a:moveTo>
                  <a:cubicBezTo>
                    <a:pt x="4910569" y="5984046"/>
                    <a:pt x="4914581" y="5988057"/>
                    <a:pt x="4914581" y="5993006"/>
                  </a:cubicBezTo>
                  <a:cubicBezTo>
                    <a:pt x="4914581" y="5997955"/>
                    <a:pt x="4910569" y="6001967"/>
                    <a:pt x="4905620" y="6001967"/>
                  </a:cubicBezTo>
                  <a:cubicBezTo>
                    <a:pt x="4900671" y="6001967"/>
                    <a:pt x="4896660" y="5997955"/>
                    <a:pt x="4896660" y="5993006"/>
                  </a:cubicBezTo>
                  <a:cubicBezTo>
                    <a:pt x="4896660" y="5988057"/>
                    <a:pt x="4900671" y="5984046"/>
                    <a:pt x="4905620" y="5984046"/>
                  </a:cubicBezTo>
                  <a:close/>
                  <a:moveTo>
                    <a:pt x="4736878" y="5984046"/>
                  </a:moveTo>
                  <a:cubicBezTo>
                    <a:pt x="4741827" y="5984046"/>
                    <a:pt x="4745839" y="5988057"/>
                    <a:pt x="4745839" y="5993006"/>
                  </a:cubicBezTo>
                  <a:cubicBezTo>
                    <a:pt x="4745839" y="5997955"/>
                    <a:pt x="4741827" y="6001967"/>
                    <a:pt x="4736878" y="6001967"/>
                  </a:cubicBezTo>
                  <a:cubicBezTo>
                    <a:pt x="4731929" y="6001967"/>
                    <a:pt x="4727918" y="5997955"/>
                    <a:pt x="4727918" y="5993006"/>
                  </a:cubicBezTo>
                  <a:cubicBezTo>
                    <a:pt x="4727918" y="5988057"/>
                    <a:pt x="4731929" y="5984046"/>
                    <a:pt x="4736878" y="5984046"/>
                  </a:cubicBezTo>
                  <a:close/>
                  <a:moveTo>
                    <a:pt x="4568137" y="5984046"/>
                  </a:moveTo>
                  <a:cubicBezTo>
                    <a:pt x="4573086" y="5984046"/>
                    <a:pt x="4577098" y="5988057"/>
                    <a:pt x="4577098" y="5993006"/>
                  </a:cubicBezTo>
                  <a:cubicBezTo>
                    <a:pt x="4577098" y="5997955"/>
                    <a:pt x="4573086" y="6001967"/>
                    <a:pt x="4568137" y="6001967"/>
                  </a:cubicBezTo>
                  <a:cubicBezTo>
                    <a:pt x="4563188" y="6001967"/>
                    <a:pt x="4559177" y="5997955"/>
                    <a:pt x="4559177" y="5993006"/>
                  </a:cubicBezTo>
                  <a:cubicBezTo>
                    <a:pt x="4559177" y="5988057"/>
                    <a:pt x="4563188" y="5984046"/>
                    <a:pt x="4568137" y="5984046"/>
                  </a:cubicBezTo>
                  <a:close/>
                  <a:moveTo>
                    <a:pt x="4399396" y="5984046"/>
                  </a:moveTo>
                  <a:cubicBezTo>
                    <a:pt x="4404345" y="5984046"/>
                    <a:pt x="4408357" y="5988057"/>
                    <a:pt x="4408357" y="5993006"/>
                  </a:cubicBezTo>
                  <a:cubicBezTo>
                    <a:pt x="4408357" y="5997955"/>
                    <a:pt x="4404345" y="6001967"/>
                    <a:pt x="4399396" y="6001967"/>
                  </a:cubicBezTo>
                  <a:cubicBezTo>
                    <a:pt x="4394447" y="6001967"/>
                    <a:pt x="4390436" y="5997955"/>
                    <a:pt x="4390436" y="5993006"/>
                  </a:cubicBezTo>
                  <a:cubicBezTo>
                    <a:pt x="4390436" y="5988057"/>
                    <a:pt x="4394447" y="5984046"/>
                    <a:pt x="4399396" y="5984046"/>
                  </a:cubicBezTo>
                  <a:close/>
                  <a:moveTo>
                    <a:pt x="4230654" y="5984046"/>
                  </a:moveTo>
                  <a:cubicBezTo>
                    <a:pt x="4235603" y="5984046"/>
                    <a:pt x="4239615" y="5988057"/>
                    <a:pt x="4239615" y="5993006"/>
                  </a:cubicBezTo>
                  <a:cubicBezTo>
                    <a:pt x="4239615" y="5997955"/>
                    <a:pt x="4235603" y="6001967"/>
                    <a:pt x="4230654" y="6001967"/>
                  </a:cubicBezTo>
                  <a:cubicBezTo>
                    <a:pt x="4225705" y="6001967"/>
                    <a:pt x="4221694" y="5997955"/>
                    <a:pt x="4221694" y="5993006"/>
                  </a:cubicBezTo>
                  <a:cubicBezTo>
                    <a:pt x="4221694" y="5988057"/>
                    <a:pt x="4225705" y="5984046"/>
                    <a:pt x="4230654" y="5984046"/>
                  </a:cubicBezTo>
                  <a:close/>
                  <a:moveTo>
                    <a:pt x="4061912" y="5984046"/>
                  </a:moveTo>
                  <a:cubicBezTo>
                    <a:pt x="4066861" y="5984046"/>
                    <a:pt x="4070873" y="5988057"/>
                    <a:pt x="4070873" y="5993006"/>
                  </a:cubicBezTo>
                  <a:cubicBezTo>
                    <a:pt x="4070873" y="5997955"/>
                    <a:pt x="4066861" y="6001967"/>
                    <a:pt x="4061912" y="6001967"/>
                  </a:cubicBezTo>
                  <a:cubicBezTo>
                    <a:pt x="4056963" y="6001967"/>
                    <a:pt x="4052952" y="5997955"/>
                    <a:pt x="4052952" y="5993006"/>
                  </a:cubicBezTo>
                  <a:cubicBezTo>
                    <a:pt x="4052952" y="5988057"/>
                    <a:pt x="4056963" y="5984046"/>
                    <a:pt x="4061912" y="5984046"/>
                  </a:cubicBezTo>
                  <a:close/>
                  <a:moveTo>
                    <a:pt x="3893170" y="5984046"/>
                  </a:moveTo>
                  <a:cubicBezTo>
                    <a:pt x="3898119" y="5984046"/>
                    <a:pt x="3902131" y="5988057"/>
                    <a:pt x="3902131" y="5993006"/>
                  </a:cubicBezTo>
                  <a:cubicBezTo>
                    <a:pt x="3902131" y="5997955"/>
                    <a:pt x="3898119" y="6001967"/>
                    <a:pt x="3893170" y="6001967"/>
                  </a:cubicBezTo>
                  <a:cubicBezTo>
                    <a:pt x="3888221" y="6001967"/>
                    <a:pt x="3884210" y="5997955"/>
                    <a:pt x="3884210" y="5993006"/>
                  </a:cubicBezTo>
                  <a:cubicBezTo>
                    <a:pt x="3884210" y="5988057"/>
                    <a:pt x="3888221" y="5984046"/>
                    <a:pt x="3893170" y="5984046"/>
                  </a:cubicBezTo>
                  <a:close/>
                  <a:moveTo>
                    <a:pt x="3724429" y="5984046"/>
                  </a:moveTo>
                  <a:cubicBezTo>
                    <a:pt x="3729378" y="5984046"/>
                    <a:pt x="3733390" y="5988057"/>
                    <a:pt x="3733390" y="5993006"/>
                  </a:cubicBezTo>
                  <a:cubicBezTo>
                    <a:pt x="3733390" y="5997955"/>
                    <a:pt x="3729378" y="6001967"/>
                    <a:pt x="3724429" y="6001967"/>
                  </a:cubicBezTo>
                  <a:cubicBezTo>
                    <a:pt x="3719481" y="6001967"/>
                    <a:pt x="3715469" y="5997955"/>
                    <a:pt x="3715469" y="5993006"/>
                  </a:cubicBezTo>
                  <a:cubicBezTo>
                    <a:pt x="3715469" y="5988057"/>
                    <a:pt x="3719481" y="5984046"/>
                    <a:pt x="3724429" y="5984046"/>
                  </a:cubicBezTo>
                  <a:close/>
                  <a:moveTo>
                    <a:pt x="3555688" y="5984046"/>
                  </a:moveTo>
                  <a:cubicBezTo>
                    <a:pt x="3560637" y="5984046"/>
                    <a:pt x="3564649" y="5988057"/>
                    <a:pt x="3564649" y="5993006"/>
                  </a:cubicBezTo>
                  <a:cubicBezTo>
                    <a:pt x="3564649" y="5997955"/>
                    <a:pt x="3560637" y="6001967"/>
                    <a:pt x="3555688" y="6001967"/>
                  </a:cubicBezTo>
                  <a:cubicBezTo>
                    <a:pt x="3550740" y="6001967"/>
                    <a:pt x="3546728" y="5997955"/>
                    <a:pt x="3546728" y="5993006"/>
                  </a:cubicBezTo>
                  <a:cubicBezTo>
                    <a:pt x="3546728" y="5988057"/>
                    <a:pt x="3550740" y="5984046"/>
                    <a:pt x="3555688" y="5984046"/>
                  </a:cubicBezTo>
                  <a:close/>
                  <a:moveTo>
                    <a:pt x="3387005" y="5984046"/>
                  </a:moveTo>
                  <a:cubicBezTo>
                    <a:pt x="3391953" y="5984046"/>
                    <a:pt x="3395965" y="5988057"/>
                    <a:pt x="3395965" y="5993006"/>
                  </a:cubicBezTo>
                  <a:cubicBezTo>
                    <a:pt x="3395965" y="5997955"/>
                    <a:pt x="3391953" y="6001967"/>
                    <a:pt x="3387005" y="6001967"/>
                  </a:cubicBezTo>
                  <a:cubicBezTo>
                    <a:pt x="3382028" y="6001967"/>
                    <a:pt x="3378015" y="5997955"/>
                    <a:pt x="3378015" y="5993006"/>
                  </a:cubicBezTo>
                  <a:cubicBezTo>
                    <a:pt x="3378015" y="5988057"/>
                    <a:pt x="3382028" y="5984046"/>
                    <a:pt x="3387005" y="5984046"/>
                  </a:cubicBezTo>
                  <a:close/>
                  <a:moveTo>
                    <a:pt x="3218247" y="5984046"/>
                  </a:moveTo>
                  <a:cubicBezTo>
                    <a:pt x="3223209" y="5984046"/>
                    <a:pt x="3227220" y="5988057"/>
                    <a:pt x="3227220" y="5993006"/>
                  </a:cubicBezTo>
                  <a:cubicBezTo>
                    <a:pt x="3227220" y="5997955"/>
                    <a:pt x="3223209" y="6001967"/>
                    <a:pt x="3218247" y="6001967"/>
                  </a:cubicBezTo>
                  <a:cubicBezTo>
                    <a:pt x="3213301" y="6001967"/>
                    <a:pt x="3209292" y="5997955"/>
                    <a:pt x="3209292" y="5993006"/>
                  </a:cubicBezTo>
                  <a:cubicBezTo>
                    <a:pt x="3209292" y="5988057"/>
                    <a:pt x="3213301" y="5984046"/>
                    <a:pt x="3218247" y="5984046"/>
                  </a:cubicBezTo>
                  <a:close/>
                  <a:moveTo>
                    <a:pt x="3049537" y="5984046"/>
                  </a:moveTo>
                  <a:cubicBezTo>
                    <a:pt x="3054471" y="5984046"/>
                    <a:pt x="3058484" y="5988057"/>
                    <a:pt x="3058484" y="5993006"/>
                  </a:cubicBezTo>
                  <a:cubicBezTo>
                    <a:pt x="3058484" y="5997955"/>
                    <a:pt x="3054471" y="6001967"/>
                    <a:pt x="3049537" y="6001967"/>
                  </a:cubicBezTo>
                  <a:cubicBezTo>
                    <a:pt x="3044574" y="6001967"/>
                    <a:pt x="3040562" y="5997955"/>
                    <a:pt x="3040562" y="5993006"/>
                  </a:cubicBezTo>
                  <a:cubicBezTo>
                    <a:pt x="3040562" y="5988057"/>
                    <a:pt x="3044574" y="5984046"/>
                    <a:pt x="3049537" y="5984046"/>
                  </a:cubicBezTo>
                  <a:close/>
                  <a:moveTo>
                    <a:pt x="2880799" y="5984046"/>
                  </a:moveTo>
                  <a:cubicBezTo>
                    <a:pt x="2885744" y="5984046"/>
                    <a:pt x="2889755" y="5988057"/>
                    <a:pt x="2889755" y="5993006"/>
                  </a:cubicBezTo>
                  <a:cubicBezTo>
                    <a:pt x="2889755" y="5997955"/>
                    <a:pt x="2885744" y="6001967"/>
                    <a:pt x="2880799" y="6001967"/>
                  </a:cubicBezTo>
                  <a:cubicBezTo>
                    <a:pt x="2875846" y="6001967"/>
                    <a:pt x="2871836" y="5997955"/>
                    <a:pt x="2871836" y="5993006"/>
                  </a:cubicBezTo>
                  <a:cubicBezTo>
                    <a:pt x="2871836" y="5988057"/>
                    <a:pt x="2875846" y="5984046"/>
                    <a:pt x="2880799" y="5984046"/>
                  </a:cubicBezTo>
                  <a:close/>
                  <a:moveTo>
                    <a:pt x="2712042" y="5984046"/>
                  </a:moveTo>
                  <a:cubicBezTo>
                    <a:pt x="2717010" y="5984046"/>
                    <a:pt x="2721026" y="5988057"/>
                    <a:pt x="2721026" y="5993006"/>
                  </a:cubicBezTo>
                  <a:cubicBezTo>
                    <a:pt x="2721026" y="5997955"/>
                    <a:pt x="2717010" y="6001967"/>
                    <a:pt x="2712042" y="6001967"/>
                  </a:cubicBezTo>
                  <a:cubicBezTo>
                    <a:pt x="2707096" y="6001967"/>
                    <a:pt x="2703086" y="5997955"/>
                    <a:pt x="2703086" y="5993006"/>
                  </a:cubicBezTo>
                  <a:cubicBezTo>
                    <a:pt x="2703086" y="5988057"/>
                    <a:pt x="2707096" y="5984046"/>
                    <a:pt x="2712042" y="5984046"/>
                  </a:cubicBezTo>
                  <a:close/>
                  <a:moveTo>
                    <a:pt x="2543328" y="5984046"/>
                  </a:moveTo>
                  <a:cubicBezTo>
                    <a:pt x="2548280" y="5984046"/>
                    <a:pt x="2552290" y="5988057"/>
                    <a:pt x="2552290" y="5993006"/>
                  </a:cubicBezTo>
                  <a:cubicBezTo>
                    <a:pt x="2552290" y="5997955"/>
                    <a:pt x="2548280" y="6001967"/>
                    <a:pt x="2543328" y="6001967"/>
                  </a:cubicBezTo>
                  <a:cubicBezTo>
                    <a:pt x="2538378" y="6001967"/>
                    <a:pt x="2534358" y="5997955"/>
                    <a:pt x="2534358" y="5993006"/>
                  </a:cubicBezTo>
                  <a:cubicBezTo>
                    <a:pt x="2534358" y="5988057"/>
                    <a:pt x="2538378" y="5984046"/>
                    <a:pt x="2543328" y="5984046"/>
                  </a:cubicBezTo>
                  <a:close/>
                  <a:moveTo>
                    <a:pt x="2374559" y="5984046"/>
                  </a:moveTo>
                  <a:cubicBezTo>
                    <a:pt x="2379513" y="5984046"/>
                    <a:pt x="2383544" y="5988057"/>
                    <a:pt x="2383544" y="5993006"/>
                  </a:cubicBezTo>
                  <a:cubicBezTo>
                    <a:pt x="2383544" y="5997955"/>
                    <a:pt x="2379513" y="6001967"/>
                    <a:pt x="2374559" y="6001967"/>
                  </a:cubicBezTo>
                  <a:cubicBezTo>
                    <a:pt x="2369609" y="6001967"/>
                    <a:pt x="2365596" y="5997955"/>
                    <a:pt x="2365596" y="5993006"/>
                  </a:cubicBezTo>
                  <a:cubicBezTo>
                    <a:pt x="2365596" y="5988057"/>
                    <a:pt x="2369609" y="5984046"/>
                    <a:pt x="2374559" y="5984046"/>
                  </a:cubicBezTo>
                  <a:close/>
                  <a:moveTo>
                    <a:pt x="2205840" y="5984046"/>
                  </a:moveTo>
                  <a:cubicBezTo>
                    <a:pt x="2210786" y="5984046"/>
                    <a:pt x="2214798" y="5988057"/>
                    <a:pt x="2214798" y="5993006"/>
                  </a:cubicBezTo>
                  <a:cubicBezTo>
                    <a:pt x="2214798" y="5997955"/>
                    <a:pt x="2210786" y="6001967"/>
                    <a:pt x="2205840" y="6001967"/>
                  </a:cubicBezTo>
                  <a:cubicBezTo>
                    <a:pt x="2200875" y="6001967"/>
                    <a:pt x="2196865" y="5997955"/>
                    <a:pt x="2196865" y="5993006"/>
                  </a:cubicBezTo>
                  <a:cubicBezTo>
                    <a:pt x="2196865" y="5988057"/>
                    <a:pt x="2200875" y="5984046"/>
                    <a:pt x="2205840" y="5984046"/>
                  </a:cubicBezTo>
                  <a:close/>
                  <a:moveTo>
                    <a:pt x="2037094" y="5984046"/>
                  </a:moveTo>
                  <a:cubicBezTo>
                    <a:pt x="2042049" y="5984046"/>
                    <a:pt x="2046050" y="5988057"/>
                    <a:pt x="2046050" y="5993006"/>
                  </a:cubicBezTo>
                  <a:cubicBezTo>
                    <a:pt x="2046050" y="5997955"/>
                    <a:pt x="2042049" y="6001967"/>
                    <a:pt x="2037094" y="6001967"/>
                  </a:cubicBezTo>
                  <a:cubicBezTo>
                    <a:pt x="2032150" y="6001967"/>
                    <a:pt x="2028148" y="5997955"/>
                    <a:pt x="2028148" y="5993006"/>
                  </a:cubicBezTo>
                  <a:cubicBezTo>
                    <a:pt x="2028148" y="5988057"/>
                    <a:pt x="2032150" y="5984046"/>
                    <a:pt x="2037094" y="5984046"/>
                  </a:cubicBezTo>
                  <a:close/>
                  <a:moveTo>
                    <a:pt x="1868372" y="5984046"/>
                  </a:moveTo>
                  <a:cubicBezTo>
                    <a:pt x="1873316" y="5984046"/>
                    <a:pt x="1877327" y="5988057"/>
                    <a:pt x="1877327" y="5993006"/>
                  </a:cubicBezTo>
                  <a:cubicBezTo>
                    <a:pt x="1877327" y="5997955"/>
                    <a:pt x="1873316" y="6001967"/>
                    <a:pt x="1868372" y="6001967"/>
                  </a:cubicBezTo>
                  <a:cubicBezTo>
                    <a:pt x="1863418" y="6001967"/>
                    <a:pt x="1859402" y="5997955"/>
                    <a:pt x="1859402" y="5993006"/>
                  </a:cubicBezTo>
                  <a:cubicBezTo>
                    <a:pt x="1859402" y="5988057"/>
                    <a:pt x="1863418" y="5984046"/>
                    <a:pt x="1868372" y="5984046"/>
                  </a:cubicBezTo>
                  <a:close/>
                  <a:moveTo>
                    <a:pt x="1699624" y="5984046"/>
                  </a:moveTo>
                  <a:cubicBezTo>
                    <a:pt x="1704579" y="5984046"/>
                    <a:pt x="1708590" y="5988057"/>
                    <a:pt x="1708590" y="5993006"/>
                  </a:cubicBezTo>
                  <a:cubicBezTo>
                    <a:pt x="1708590" y="5997955"/>
                    <a:pt x="1704579" y="6001967"/>
                    <a:pt x="1699624" y="6001967"/>
                  </a:cubicBezTo>
                  <a:cubicBezTo>
                    <a:pt x="1694676" y="6001967"/>
                    <a:pt x="1690661" y="5997955"/>
                    <a:pt x="1690661" y="5993006"/>
                  </a:cubicBezTo>
                  <a:cubicBezTo>
                    <a:pt x="1690661" y="5988057"/>
                    <a:pt x="1694676" y="5984046"/>
                    <a:pt x="1699624" y="5984046"/>
                  </a:cubicBezTo>
                  <a:close/>
                  <a:moveTo>
                    <a:pt x="1530883" y="5984046"/>
                  </a:moveTo>
                  <a:cubicBezTo>
                    <a:pt x="1535833" y="5984046"/>
                    <a:pt x="1539845" y="5988057"/>
                    <a:pt x="1539845" y="5993006"/>
                  </a:cubicBezTo>
                  <a:cubicBezTo>
                    <a:pt x="1539845" y="5997955"/>
                    <a:pt x="1535833" y="6001967"/>
                    <a:pt x="1530883" y="6001967"/>
                  </a:cubicBezTo>
                  <a:cubicBezTo>
                    <a:pt x="1525934" y="6001967"/>
                    <a:pt x="1521922" y="5997955"/>
                    <a:pt x="1521922" y="5993006"/>
                  </a:cubicBezTo>
                  <a:cubicBezTo>
                    <a:pt x="1521922" y="5988057"/>
                    <a:pt x="1525934" y="5984046"/>
                    <a:pt x="1530883" y="5984046"/>
                  </a:cubicBezTo>
                  <a:close/>
                  <a:moveTo>
                    <a:pt x="1362136" y="5984046"/>
                  </a:moveTo>
                  <a:cubicBezTo>
                    <a:pt x="1367088" y="5984046"/>
                    <a:pt x="1371097" y="5988057"/>
                    <a:pt x="1371097" y="5993006"/>
                  </a:cubicBezTo>
                  <a:cubicBezTo>
                    <a:pt x="1371097" y="5997955"/>
                    <a:pt x="1367088" y="6001967"/>
                    <a:pt x="1362136" y="6001967"/>
                  </a:cubicBezTo>
                  <a:cubicBezTo>
                    <a:pt x="1357187" y="6001967"/>
                    <a:pt x="1353176" y="5997955"/>
                    <a:pt x="1353176" y="5993006"/>
                  </a:cubicBezTo>
                  <a:cubicBezTo>
                    <a:pt x="1353176" y="5988057"/>
                    <a:pt x="1357187" y="5984046"/>
                    <a:pt x="1362136" y="5984046"/>
                  </a:cubicBezTo>
                  <a:close/>
                  <a:moveTo>
                    <a:pt x="1193395" y="5984046"/>
                  </a:moveTo>
                  <a:cubicBezTo>
                    <a:pt x="1198343" y="5984046"/>
                    <a:pt x="1202356" y="5988057"/>
                    <a:pt x="1202356" y="5993006"/>
                  </a:cubicBezTo>
                  <a:cubicBezTo>
                    <a:pt x="1202356" y="5997955"/>
                    <a:pt x="1198343" y="6001967"/>
                    <a:pt x="1193395" y="6001967"/>
                  </a:cubicBezTo>
                  <a:cubicBezTo>
                    <a:pt x="1188447" y="6001967"/>
                    <a:pt x="1184436" y="5997955"/>
                    <a:pt x="1184436" y="5993006"/>
                  </a:cubicBezTo>
                  <a:cubicBezTo>
                    <a:pt x="1184436" y="5988057"/>
                    <a:pt x="1188447" y="5984046"/>
                    <a:pt x="1193395" y="5984046"/>
                  </a:cubicBezTo>
                  <a:close/>
                  <a:moveTo>
                    <a:pt x="1024646" y="5984046"/>
                  </a:moveTo>
                  <a:cubicBezTo>
                    <a:pt x="1029597" y="5984046"/>
                    <a:pt x="1033611" y="5988057"/>
                    <a:pt x="1033611" y="5993006"/>
                  </a:cubicBezTo>
                  <a:cubicBezTo>
                    <a:pt x="1033611" y="5997955"/>
                    <a:pt x="1029597" y="6001967"/>
                    <a:pt x="1024646" y="6001967"/>
                  </a:cubicBezTo>
                  <a:cubicBezTo>
                    <a:pt x="1019698" y="6001967"/>
                    <a:pt x="1015687" y="5997955"/>
                    <a:pt x="1015687" y="5993006"/>
                  </a:cubicBezTo>
                  <a:cubicBezTo>
                    <a:pt x="1015687" y="5988057"/>
                    <a:pt x="1019698" y="5984046"/>
                    <a:pt x="1024646" y="5984046"/>
                  </a:cubicBezTo>
                  <a:close/>
                  <a:moveTo>
                    <a:pt x="855914" y="5984046"/>
                  </a:moveTo>
                  <a:cubicBezTo>
                    <a:pt x="860862" y="5984046"/>
                    <a:pt x="864874" y="5988057"/>
                    <a:pt x="864874" y="5993006"/>
                  </a:cubicBezTo>
                  <a:cubicBezTo>
                    <a:pt x="864874" y="5997955"/>
                    <a:pt x="860862" y="6001967"/>
                    <a:pt x="855914" y="6001967"/>
                  </a:cubicBezTo>
                  <a:cubicBezTo>
                    <a:pt x="850964" y="6001967"/>
                    <a:pt x="846954" y="5997955"/>
                    <a:pt x="846954" y="5993006"/>
                  </a:cubicBezTo>
                  <a:cubicBezTo>
                    <a:pt x="846954" y="5988057"/>
                    <a:pt x="850964" y="5984046"/>
                    <a:pt x="855914" y="5984046"/>
                  </a:cubicBezTo>
                  <a:close/>
                  <a:moveTo>
                    <a:pt x="687173" y="5984046"/>
                  </a:moveTo>
                  <a:cubicBezTo>
                    <a:pt x="692122" y="5984046"/>
                    <a:pt x="696134" y="5988057"/>
                    <a:pt x="696134" y="5993006"/>
                  </a:cubicBezTo>
                  <a:cubicBezTo>
                    <a:pt x="696134" y="5997955"/>
                    <a:pt x="692122" y="6001967"/>
                    <a:pt x="687173" y="6001967"/>
                  </a:cubicBezTo>
                  <a:cubicBezTo>
                    <a:pt x="682225" y="6001967"/>
                    <a:pt x="678214" y="5997955"/>
                    <a:pt x="678214" y="5993006"/>
                  </a:cubicBezTo>
                  <a:cubicBezTo>
                    <a:pt x="678214" y="5988057"/>
                    <a:pt x="682225" y="5984046"/>
                    <a:pt x="687173" y="5984046"/>
                  </a:cubicBezTo>
                  <a:close/>
                  <a:moveTo>
                    <a:pt x="518416" y="5984046"/>
                  </a:moveTo>
                  <a:cubicBezTo>
                    <a:pt x="523364" y="5984046"/>
                    <a:pt x="527376" y="5988057"/>
                    <a:pt x="527376" y="5993006"/>
                  </a:cubicBezTo>
                  <a:cubicBezTo>
                    <a:pt x="527376" y="5997955"/>
                    <a:pt x="523364" y="6001967"/>
                    <a:pt x="518416" y="6001967"/>
                  </a:cubicBezTo>
                  <a:cubicBezTo>
                    <a:pt x="513467" y="6001967"/>
                    <a:pt x="509455" y="5997955"/>
                    <a:pt x="509455" y="5993006"/>
                  </a:cubicBezTo>
                  <a:cubicBezTo>
                    <a:pt x="509455" y="5988057"/>
                    <a:pt x="513467" y="5984046"/>
                    <a:pt x="518416" y="5984046"/>
                  </a:cubicBezTo>
                  <a:close/>
                  <a:moveTo>
                    <a:pt x="349676" y="5984046"/>
                  </a:moveTo>
                  <a:cubicBezTo>
                    <a:pt x="354625" y="5984046"/>
                    <a:pt x="358637" y="5988057"/>
                    <a:pt x="358637" y="5993006"/>
                  </a:cubicBezTo>
                  <a:cubicBezTo>
                    <a:pt x="358637" y="5997955"/>
                    <a:pt x="354625" y="6001967"/>
                    <a:pt x="349676" y="6001967"/>
                  </a:cubicBezTo>
                  <a:cubicBezTo>
                    <a:pt x="344728" y="6001967"/>
                    <a:pt x="340716" y="5997955"/>
                    <a:pt x="340716" y="5993006"/>
                  </a:cubicBezTo>
                  <a:cubicBezTo>
                    <a:pt x="340716" y="5988057"/>
                    <a:pt x="344728" y="5984046"/>
                    <a:pt x="349676" y="5984046"/>
                  </a:cubicBezTo>
                  <a:close/>
                  <a:moveTo>
                    <a:pt x="179357" y="5984046"/>
                  </a:moveTo>
                  <a:cubicBezTo>
                    <a:pt x="184306" y="5984046"/>
                    <a:pt x="188318" y="5988057"/>
                    <a:pt x="188318" y="5993006"/>
                  </a:cubicBezTo>
                  <a:cubicBezTo>
                    <a:pt x="188318" y="5997955"/>
                    <a:pt x="184306" y="6001967"/>
                    <a:pt x="179357" y="6001967"/>
                  </a:cubicBezTo>
                  <a:cubicBezTo>
                    <a:pt x="174409" y="6001967"/>
                    <a:pt x="170397" y="5997955"/>
                    <a:pt x="170397" y="5993006"/>
                  </a:cubicBezTo>
                  <a:cubicBezTo>
                    <a:pt x="170397" y="5988057"/>
                    <a:pt x="174409" y="5984046"/>
                    <a:pt x="179357" y="5984046"/>
                  </a:cubicBezTo>
                  <a:close/>
                  <a:moveTo>
                    <a:pt x="9039" y="5984046"/>
                  </a:moveTo>
                  <a:cubicBezTo>
                    <a:pt x="13987" y="5984046"/>
                    <a:pt x="17999" y="5988057"/>
                    <a:pt x="17999" y="5993006"/>
                  </a:cubicBezTo>
                  <a:cubicBezTo>
                    <a:pt x="17999" y="5997955"/>
                    <a:pt x="13987" y="6001967"/>
                    <a:pt x="9039" y="6001967"/>
                  </a:cubicBezTo>
                  <a:cubicBezTo>
                    <a:pt x="4090" y="6001967"/>
                    <a:pt x="78" y="5997955"/>
                    <a:pt x="78" y="5993006"/>
                  </a:cubicBezTo>
                  <a:cubicBezTo>
                    <a:pt x="78" y="5988057"/>
                    <a:pt x="4090" y="5984046"/>
                    <a:pt x="9039" y="5984046"/>
                  </a:cubicBezTo>
                  <a:close/>
                  <a:moveTo>
                    <a:pt x="6933679" y="5813064"/>
                  </a:moveTo>
                  <a:cubicBezTo>
                    <a:pt x="6938628" y="5813064"/>
                    <a:pt x="6942639" y="5817075"/>
                    <a:pt x="6942639" y="5822024"/>
                  </a:cubicBezTo>
                  <a:cubicBezTo>
                    <a:pt x="6942639" y="5826973"/>
                    <a:pt x="6938628" y="5830985"/>
                    <a:pt x="6933679" y="5830985"/>
                  </a:cubicBezTo>
                  <a:cubicBezTo>
                    <a:pt x="6928730" y="5830985"/>
                    <a:pt x="6924718" y="5826973"/>
                    <a:pt x="6924718" y="5822024"/>
                  </a:cubicBezTo>
                  <a:cubicBezTo>
                    <a:pt x="6924718" y="5817075"/>
                    <a:pt x="6928730" y="5813064"/>
                    <a:pt x="6933679" y="5813064"/>
                  </a:cubicBezTo>
                  <a:close/>
                  <a:moveTo>
                    <a:pt x="6763357" y="5813064"/>
                  </a:moveTo>
                  <a:cubicBezTo>
                    <a:pt x="6768306" y="5813064"/>
                    <a:pt x="6772318" y="5817075"/>
                    <a:pt x="6772318" y="5822024"/>
                  </a:cubicBezTo>
                  <a:cubicBezTo>
                    <a:pt x="6772318" y="5826973"/>
                    <a:pt x="6768306" y="5830985"/>
                    <a:pt x="6763357" y="5830985"/>
                  </a:cubicBezTo>
                  <a:cubicBezTo>
                    <a:pt x="6758408" y="5830985"/>
                    <a:pt x="6754397" y="5826973"/>
                    <a:pt x="6754397" y="5822024"/>
                  </a:cubicBezTo>
                  <a:cubicBezTo>
                    <a:pt x="6754397" y="5817075"/>
                    <a:pt x="6758408" y="5813064"/>
                    <a:pt x="6763357" y="5813064"/>
                  </a:cubicBezTo>
                  <a:close/>
                  <a:moveTo>
                    <a:pt x="6593035" y="5813064"/>
                  </a:moveTo>
                  <a:cubicBezTo>
                    <a:pt x="6597984" y="5813064"/>
                    <a:pt x="6601996" y="5817075"/>
                    <a:pt x="6601996" y="5822024"/>
                  </a:cubicBezTo>
                  <a:cubicBezTo>
                    <a:pt x="6601996" y="5826973"/>
                    <a:pt x="6597984" y="5830985"/>
                    <a:pt x="6593035" y="5830985"/>
                  </a:cubicBezTo>
                  <a:cubicBezTo>
                    <a:pt x="6588086" y="5830985"/>
                    <a:pt x="6584075" y="5826973"/>
                    <a:pt x="6584075" y="5822024"/>
                  </a:cubicBezTo>
                  <a:cubicBezTo>
                    <a:pt x="6584075" y="5817075"/>
                    <a:pt x="6588086" y="5813064"/>
                    <a:pt x="6593035" y="5813064"/>
                  </a:cubicBezTo>
                  <a:close/>
                  <a:moveTo>
                    <a:pt x="6424294" y="5813064"/>
                  </a:moveTo>
                  <a:cubicBezTo>
                    <a:pt x="6429243" y="5813064"/>
                    <a:pt x="6433255" y="5817075"/>
                    <a:pt x="6433255" y="5822024"/>
                  </a:cubicBezTo>
                  <a:cubicBezTo>
                    <a:pt x="6433255" y="5826973"/>
                    <a:pt x="6429243" y="5830985"/>
                    <a:pt x="6424294" y="5830985"/>
                  </a:cubicBezTo>
                  <a:cubicBezTo>
                    <a:pt x="6419345" y="5830985"/>
                    <a:pt x="6415334" y="5826973"/>
                    <a:pt x="6415334" y="5822024"/>
                  </a:cubicBezTo>
                  <a:cubicBezTo>
                    <a:pt x="6415334" y="5817075"/>
                    <a:pt x="6419345" y="5813064"/>
                    <a:pt x="6424294" y="5813064"/>
                  </a:cubicBezTo>
                  <a:close/>
                  <a:moveTo>
                    <a:pt x="6255553" y="5813064"/>
                  </a:moveTo>
                  <a:cubicBezTo>
                    <a:pt x="6260502" y="5813064"/>
                    <a:pt x="6264514" y="5817075"/>
                    <a:pt x="6264514" y="5822024"/>
                  </a:cubicBezTo>
                  <a:cubicBezTo>
                    <a:pt x="6264514" y="5826973"/>
                    <a:pt x="6260502" y="5830985"/>
                    <a:pt x="6255553" y="5830985"/>
                  </a:cubicBezTo>
                  <a:cubicBezTo>
                    <a:pt x="6250604" y="5830985"/>
                    <a:pt x="6246593" y="5826973"/>
                    <a:pt x="6246593" y="5822024"/>
                  </a:cubicBezTo>
                  <a:cubicBezTo>
                    <a:pt x="6246593" y="5817075"/>
                    <a:pt x="6250604" y="5813064"/>
                    <a:pt x="6255553" y="5813064"/>
                  </a:cubicBezTo>
                  <a:close/>
                  <a:moveTo>
                    <a:pt x="6086811" y="5813064"/>
                  </a:moveTo>
                  <a:cubicBezTo>
                    <a:pt x="6091760" y="5813064"/>
                    <a:pt x="6095772" y="5817075"/>
                    <a:pt x="6095772" y="5822024"/>
                  </a:cubicBezTo>
                  <a:cubicBezTo>
                    <a:pt x="6095772" y="5826973"/>
                    <a:pt x="6091760" y="5830985"/>
                    <a:pt x="6086811" y="5830985"/>
                  </a:cubicBezTo>
                  <a:cubicBezTo>
                    <a:pt x="6081862" y="5830985"/>
                    <a:pt x="6077851" y="5826973"/>
                    <a:pt x="6077851" y="5822024"/>
                  </a:cubicBezTo>
                  <a:cubicBezTo>
                    <a:pt x="6077851" y="5817075"/>
                    <a:pt x="6081862" y="5813064"/>
                    <a:pt x="6086811" y="5813064"/>
                  </a:cubicBezTo>
                  <a:close/>
                  <a:moveTo>
                    <a:pt x="5918069" y="5813064"/>
                  </a:moveTo>
                  <a:cubicBezTo>
                    <a:pt x="5923018" y="5813064"/>
                    <a:pt x="5927030" y="5817075"/>
                    <a:pt x="5927030" y="5822024"/>
                  </a:cubicBezTo>
                  <a:cubicBezTo>
                    <a:pt x="5927030" y="5826973"/>
                    <a:pt x="5923018" y="5830985"/>
                    <a:pt x="5918069" y="5830985"/>
                  </a:cubicBezTo>
                  <a:cubicBezTo>
                    <a:pt x="5913120" y="5830985"/>
                    <a:pt x="5909109" y="5826973"/>
                    <a:pt x="5909109" y="5822024"/>
                  </a:cubicBezTo>
                  <a:cubicBezTo>
                    <a:pt x="5909109" y="5817075"/>
                    <a:pt x="5913120" y="5813064"/>
                    <a:pt x="5918069" y="5813064"/>
                  </a:cubicBezTo>
                  <a:close/>
                  <a:moveTo>
                    <a:pt x="5749328" y="5813064"/>
                  </a:moveTo>
                  <a:cubicBezTo>
                    <a:pt x="5754277" y="5813064"/>
                    <a:pt x="5758289" y="5817075"/>
                    <a:pt x="5758289" y="5822024"/>
                  </a:cubicBezTo>
                  <a:cubicBezTo>
                    <a:pt x="5758289" y="5826973"/>
                    <a:pt x="5754277" y="5830985"/>
                    <a:pt x="5749328" y="5830985"/>
                  </a:cubicBezTo>
                  <a:cubicBezTo>
                    <a:pt x="5744379" y="5830985"/>
                    <a:pt x="5740368" y="5826973"/>
                    <a:pt x="5740368" y="5822024"/>
                  </a:cubicBezTo>
                  <a:cubicBezTo>
                    <a:pt x="5740368" y="5817075"/>
                    <a:pt x="5744379" y="5813064"/>
                    <a:pt x="5749328" y="5813064"/>
                  </a:cubicBezTo>
                  <a:close/>
                  <a:moveTo>
                    <a:pt x="5580586" y="5813064"/>
                  </a:moveTo>
                  <a:cubicBezTo>
                    <a:pt x="5585535" y="5813064"/>
                    <a:pt x="5589547" y="5817075"/>
                    <a:pt x="5589547" y="5822024"/>
                  </a:cubicBezTo>
                  <a:cubicBezTo>
                    <a:pt x="5589547" y="5826973"/>
                    <a:pt x="5585535" y="5830985"/>
                    <a:pt x="5580586" y="5830985"/>
                  </a:cubicBezTo>
                  <a:cubicBezTo>
                    <a:pt x="5575637" y="5830985"/>
                    <a:pt x="5571626" y="5826973"/>
                    <a:pt x="5571626" y="5822024"/>
                  </a:cubicBezTo>
                  <a:cubicBezTo>
                    <a:pt x="5571626" y="5817075"/>
                    <a:pt x="5575637" y="5813064"/>
                    <a:pt x="5580586" y="5813064"/>
                  </a:cubicBezTo>
                  <a:close/>
                  <a:moveTo>
                    <a:pt x="5411845" y="5813064"/>
                  </a:moveTo>
                  <a:cubicBezTo>
                    <a:pt x="5416794" y="5813064"/>
                    <a:pt x="5420806" y="5817075"/>
                    <a:pt x="5420806" y="5822024"/>
                  </a:cubicBezTo>
                  <a:cubicBezTo>
                    <a:pt x="5420806" y="5826973"/>
                    <a:pt x="5416794" y="5830985"/>
                    <a:pt x="5411845" y="5830985"/>
                  </a:cubicBezTo>
                  <a:cubicBezTo>
                    <a:pt x="5406896" y="5830985"/>
                    <a:pt x="5402885" y="5826973"/>
                    <a:pt x="5402885" y="5822024"/>
                  </a:cubicBezTo>
                  <a:cubicBezTo>
                    <a:pt x="5402885" y="5817075"/>
                    <a:pt x="5406896" y="5813064"/>
                    <a:pt x="5411845" y="5813064"/>
                  </a:cubicBezTo>
                  <a:close/>
                  <a:moveTo>
                    <a:pt x="5243103" y="5813064"/>
                  </a:moveTo>
                  <a:cubicBezTo>
                    <a:pt x="5248052" y="5813064"/>
                    <a:pt x="5252064" y="5817075"/>
                    <a:pt x="5252064" y="5822024"/>
                  </a:cubicBezTo>
                  <a:cubicBezTo>
                    <a:pt x="5252064" y="5826973"/>
                    <a:pt x="5248052" y="5830985"/>
                    <a:pt x="5243103" y="5830985"/>
                  </a:cubicBezTo>
                  <a:cubicBezTo>
                    <a:pt x="5238154" y="5830985"/>
                    <a:pt x="5234143" y="5826973"/>
                    <a:pt x="5234143" y="5822024"/>
                  </a:cubicBezTo>
                  <a:cubicBezTo>
                    <a:pt x="5234143" y="5817075"/>
                    <a:pt x="5238154" y="5813064"/>
                    <a:pt x="5243103" y="5813064"/>
                  </a:cubicBezTo>
                  <a:close/>
                  <a:moveTo>
                    <a:pt x="5074362" y="5813064"/>
                  </a:moveTo>
                  <a:cubicBezTo>
                    <a:pt x="5079311" y="5813064"/>
                    <a:pt x="5083323" y="5817075"/>
                    <a:pt x="5083323" y="5822024"/>
                  </a:cubicBezTo>
                  <a:cubicBezTo>
                    <a:pt x="5083323" y="5826973"/>
                    <a:pt x="5079311" y="5830985"/>
                    <a:pt x="5074362" y="5830985"/>
                  </a:cubicBezTo>
                  <a:cubicBezTo>
                    <a:pt x="5069413" y="5830985"/>
                    <a:pt x="5065402" y="5826973"/>
                    <a:pt x="5065402" y="5822024"/>
                  </a:cubicBezTo>
                  <a:cubicBezTo>
                    <a:pt x="5065402" y="5817075"/>
                    <a:pt x="5069413" y="5813064"/>
                    <a:pt x="5074362" y="5813064"/>
                  </a:cubicBezTo>
                  <a:close/>
                  <a:moveTo>
                    <a:pt x="4905620" y="5813064"/>
                  </a:moveTo>
                  <a:cubicBezTo>
                    <a:pt x="4910569" y="5813064"/>
                    <a:pt x="4914581" y="5817075"/>
                    <a:pt x="4914581" y="5822024"/>
                  </a:cubicBezTo>
                  <a:cubicBezTo>
                    <a:pt x="4914581" y="5826973"/>
                    <a:pt x="4910569" y="5830985"/>
                    <a:pt x="4905620" y="5830985"/>
                  </a:cubicBezTo>
                  <a:cubicBezTo>
                    <a:pt x="4900671" y="5830985"/>
                    <a:pt x="4896660" y="5826973"/>
                    <a:pt x="4896660" y="5822024"/>
                  </a:cubicBezTo>
                  <a:cubicBezTo>
                    <a:pt x="4896660" y="5817075"/>
                    <a:pt x="4900671" y="5813064"/>
                    <a:pt x="4905620" y="5813064"/>
                  </a:cubicBezTo>
                  <a:close/>
                  <a:moveTo>
                    <a:pt x="4736878" y="5813064"/>
                  </a:moveTo>
                  <a:cubicBezTo>
                    <a:pt x="4741827" y="5813064"/>
                    <a:pt x="4745839" y="5817075"/>
                    <a:pt x="4745839" y="5822024"/>
                  </a:cubicBezTo>
                  <a:cubicBezTo>
                    <a:pt x="4745839" y="5826973"/>
                    <a:pt x="4741827" y="5830985"/>
                    <a:pt x="4736878" y="5830985"/>
                  </a:cubicBezTo>
                  <a:cubicBezTo>
                    <a:pt x="4731929" y="5830985"/>
                    <a:pt x="4727918" y="5826973"/>
                    <a:pt x="4727918" y="5822024"/>
                  </a:cubicBezTo>
                  <a:cubicBezTo>
                    <a:pt x="4727918" y="5817075"/>
                    <a:pt x="4731929" y="5813064"/>
                    <a:pt x="4736878" y="5813064"/>
                  </a:cubicBezTo>
                  <a:close/>
                  <a:moveTo>
                    <a:pt x="4568137" y="5813064"/>
                  </a:moveTo>
                  <a:cubicBezTo>
                    <a:pt x="4573086" y="5813064"/>
                    <a:pt x="4577098" y="5817075"/>
                    <a:pt x="4577098" y="5822024"/>
                  </a:cubicBezTo>
                  <a:cubicBezTo>
                    <a:pt x="4577098" y="5826973"/>
                    <a:pt x="4573086" y="5830985"/>
                    <a:pt x="4568137" y="5830985"/>
                  </a:cubicBezTo>
                  <a:cubicBezTo>
                    <a:pt x="4563188" y="5830985"/>
                    <a:pt x="4559177" y="5826973"/>
                    <a:pt x="4559177" y="5822024"/>
                  </a:cubicBezTo>
                  <a:cubicBezTo>
                    <a:pt x="4559177" y="5817075"/>
                    <a:pt x="4563188" y="5813064"/>
                    <a:pt x="4568137" y="5813064"/>
                  </a:cubicBezTo>
                  <a:close/>
                  <a:moveTo>
                    <a:pt x="4399396" y="5813064"/>
                  </a:moveTo>
                  <a:cubicBezTo>
                    <a:pt x="4404345" y="5813064"/>
                    <a:pt x="4408357" y="5817075"/>
                    <a:pt x="4408357" y="5822024"/>
                  </a:cubicBezTo>
                  <a:cubicBezTo>
                    <a:pt x="4408357" y="5826973"/>
                    <a:pt x="4404345" y="5830985"/>
                    <a:pt x="4399396" y="5830985"/>
                  </a:cubicBezTo>
                  <a:cubicBezTo>
                    <a:pt x="4394447" y="5830985"/>
                    <a:pt x="4390436" y="5826973"/>
                    <a:pt x="4390436" y="5822024"/>
                  </a:cubicBezTo>
                  <a:cubicBezTo>
                    <a:pt x="4390436" y="5817075"/>
                    <a:pt x="4394447" y="5813064"/>
                    <a:pt x="4399396" y="5813064"/>
                  </a:cubicBezTo>
                  <a:close/>
                  <a:moveTo>
                    <a:pt x="4230654" y="5813064"/>
                  </a:moveTo>
                  <a:cubicBezTo>
                    <a:pt x="4235603" y="5813064"/>
                    <a:pt x="4239615" y="5817075"/>
                    <a:pt x="4239615" y="5822024"/>
                  </a:cubicBezTo>
                  <a:cubicBezTo>
                    <a:pt x="4239615" y="5826973"/>
                    <a:pt x="4235603" y="5830985"/>
                    <a:pt x="4230654" y="5830985"/>
                  </a:cubicBezTo>
                  <a:cubicBezTo>
                    <a:pt x="4225705" y="5830985"/>
                    <a:pt x="4221694" y="5826973"/>
                    <a:pt x="4221694" y="5822024"/>
                  </a:cubicBezTo>
                  <a:cubicBezTo>
                    <a:pt x="4221694" y="5817075"/>
                    <a:pt x="4225705" y="5813064"/>
                    <a:pt x="4230654" y="5813064"/>
                  </a:cubicBezTo>
                  <a:close/>
                  <a:moveTo>
                    <a:pt x="4061912" y="5813064"/>
                  </a:moveTo>
                  <a:cubicBezTo>
                    <a:pt x="4066861" y="5813064"/>
                    <a:pt x="4070873" y="5817075"/>
                    <a:pt x="4070873" y="5822024"/>
                  </a:cubicBezTo>
                  <a:cubicBezTo>
                    <a:pt x="4070873" y="5826973"/>
                    <a:pt x="4066861" y="5830985"/>
                    <a:pt x="4061912" y="5830985"/>
                  </a:cubicBezTo>
                  <a:cubicBezTo>
                    <a:pt x="4056963" y="5830985"/>
                    <a:pt x="4052952" y="5826973"/>
                    <a:pt x="4052952" y="5822024"/>
                  </a:cubicBezTo>
                  <a:cubicBezTo>
                    <a:pt x="4052952" y="5817075"/>
                    <a:pt x="4056963" y="5813064"/>
                    <a:pt x="4061912" y="5813064"/>
                  </a:cubicBezTo>
                  <a:close/>
                  <a:moveTo>
                    <a:pt x="3893170" y="5813064"/>
                  </a:moveTo>
                  <a:cubicBezTo>
                    <a:pt x="3898119" y="5813064"/>
                    <a:pt x="3902131" y="5817075"/>
                    <a:pt x="3902131" y="5822024"/>
                  </a:cubicBezTo>
                  <a:cubicBezTo>
                    <a:pt x="3902131" y="5826973"/>
                    <a:pt x="3898119" y="5830985"/>
                    <a:pt x="3893170" y="5830985"/>
                  </a:cubicBezTo>
                  <a:cubicBezTo>
                    <a:pt x="3888221" y="5830985"/>
                    <a:pt x="3884210" y="5826973"/>
                    <a:pt x="3884210" y="5822024"/>
                  </a:cubicBezTo>
                  <a:cubicBezTo>
                    <a:pt x="3884210" y="5817075"/>
                    <a:pt x="3888221" y="5813064"/>
                    <a:pt x="3893170" y="5813064"/>
                  </a:cubicBezTo>
                  <a:close/>
                  <a:moveTo>
                    <a:pt x="3724429" y="5813064"/>
                  </a:moveTo>
                  <a:cubicBezTo>
                    <a:pt x="3729378" y="5813064"/>
                    <a:pt x="3733390" y="5817075"/>
                    <a:pt x="3733390" y="5822024"/>
                  </a:cubicBezTo>
                  <a:cubicBezTo>
                    <a:pt x="3733390" y="5826973"/>
                    <a:pt x="3729378" y="5830985"/>
                    <a:pt x="3724429" y="5830985"/>
                  </a:cubicBezTo>
                  <a:cubicBezTo>
                    <a:pt x="3719481" y="5830985"/>
                    <a:pt x="3715469" y="5826973"/>
                    <a:pt x="3715469" y="5822024"/>
                  </a:cubicBezTo>
                  <a:cubicBezTo>
                    <a:pt x="3715469" y="5817075"/>
                    <a:pt x="3719481" y="5813064"/>
                    <a:pt x="3724429" y="5813064"/>
                  </a:cubicBezTo>
                  <a:close/>
                  <a:moveTo>
                    <a:pt x="3555688" y="5813064"/>
                  </a:moveTo>
                  <a:cubicBezTo>
                    <a:pt x="3560637" y="5813064"/>
                    <a:pt x="3564649" y="5817075"/>
                    <a:pt x="3564649" y="5822024"/>
                  </a:cubicBezTo>
                  <a:cubicBezTo>
                    <a:pt x="3564649" y="5826973"/>
                    <a:pt x="3560637" y="5830985"/>
                    <a:pt x="3555688" y="5830985"/>
                  </a:cubicBezTo>
                  <a:cubicBezTo>
                    <a:pt x="3550740" y="5830985"/>
                    <a:pt x="3546728" y="5826973"/>
                    <a:pt x="3546728" y="5822024"/>
                  </a:cubicBezTo>
                  <a:cubicBezTo>
                    <a:pt x="3546728" y="5817075"/>
                    <a:pt x="3550740" y="5813064"/>
                    <a:pt x="3555688" y="5813064"/>
                  </a:cubicBezTo>
                  <a:close/>
                  <a:moveTo>
                    <a:pt x="3387008" y="5813064"/>
                  </a:moveTo>
                  <a:cubicBezTo>
                    <a:pt x="3391956" y="5813064"/>
                    <a:pt x="3395968" y="5817075"/>
                    <a:pt x="3395968" y="5822024"/>
                  </a:cubicBezTo>
                  <a:cubicBezTo>
                    <a:pt x="3395968" y="5826973"/>
                    <a:pt x="3391956" y="5830985"/>
                    <a:pt x="3387008" y="5830985"/>
                  </a:cubicBezTo>
                  <a:cubicBezTo>
                    <a:pt x="3382029" y="5830985"/>
                    <a:pt x="3378017" y="5826973"/>
                    <a:pt x="3378017" y="5822024"/>
                  </a:cubicBezTo>
                  <a:cubicBezTo>
                    <a:pt x="3378017" y="5817075"/>
                    <a:pt x="3382029" y="5813064"/>
                    <a:pt x="3387008" y="5813064"/>
                  </a:cubicBezTo>
                  <a:close/>
                  <a:moveTo>
                    <a:pt x="3218250" y="5813064"/>
                  </a:moveTo>
                  <a:cubicBezTo>
                    <a:pt x="3223212" y="5813064"/>
                    <a:pt x="3227223" y="5817075"/>
                    <a:pt x="3227223" y="5822024"/>
                  </a:cubicBezTo>
                  <a:cubicBezTo>
                    <a:pt x="3227223" y="5826973"/>
                    <a:pt x="3223212" y="5830985"/>
                    <a:pt x="3218250" y="5830985"/>
                  </a:cubicBezTo>
                  <a:cubicBezTo>
                    <a:pt x="3213302" y="5830985"/>
                    <a:pt x="3209294" y="5826973"/>
                    <a:pt x="3209294" y="5822024"/>
                  </a:cubicBezTo>
                  <a:cubicBezTo>
                    <a:pt x="3209294" y="5817075"/>
                    <a:pt x="3213302" y="5813064"/>
                    <a:pt x="3218250" y="5813064"/>
                  </a:cubicBezTo>
                  <a:close/>
                  <a:moveTo>
                    <a:pt x="3049540" y="5813064"/>
                  </a:moveTo>
                  <a:cubicBezTo>
                    <a:pt x="3054474" y="5813064"/>
                    <a:pt x="3058487" y="5817075"/>
                    <a:pt x="3058487" y="5822024"/>
                  </a:cubicBezTo>
                  <a:cubicBezTo>
                    <a:pt x="3058487" y="5826973"/>
                    <a:pt x="3054474" y="5830985"/>
                    <a:pt x="3049540" y="5830985"/>
                  </a:cubicBezTo>
                  <a:cubicBezTo>
                    <a:pt x="3044577" y="5830985"/>
                    <a:pt x="3040567" y="5826973"/>
                    <a:pt x="3040567" y="5822024"/>
                  </a:cubicBezTo>
                  <a:cubicBezTo>
                    <a:pt x="3040567" y="5817075"/>
                    <a:pt x="3044577" y="5813064"/>
                    <a:pt x="3049540" y="5813064"/>
                  </a:cubicBezTo>
                  <a:close/>
                  <a:moveTo>
                    <a:pt x="2880802" y="5813064"/>
                  </a:moveTo>
                  <a:cubicBezTo>
                    <a:pt x="2885748" y="5813064"/>
                    <a:pt x="2889759" y="5817075"/>
                    <a:pt x="2889759" y="5822024"/>
                  </a:cubicBezTo>
                  <a:cubicBezTo>
                    <a:pt x="2889759" y="5826973"/>
                    <a:pt x="2885748" y="5830985"/>
                    <a:pt x="2880802" y="5830985"/>
                  </a:cubicBezTo>
                  <a:cubicBezTo>
                    <a:pt x="2875850" y="5830985"/>
                    <a:pt x="2871840" y="5826973"/>
                    <a:pt x="2871840" y="5822024"/>
                  </a:cubicBezTo>
                  <a:cubicBezTo>
                    <a:pt x="2871840" y="5817075"/>
                    <a:pt x="2875850" y="5813064"/>
                    <a:pt x="2880802" y="5813064"/>
                  </a:cubicBezTo>
                  <a:close/>
                  <a:moveTo>
                    <a:pt x="2712045" y="5813064"/>
                  </a:moveTo>
                  <a:cubicBezTo>
                    <a:pt x="2717014" y="5813064"/>
                    <a:pt x="2721029" y="5817075"/>
                    <a:pt x="2721029" y="5822024"/>
                  </a:cubicBezTo>
                  <a:cubicBezTo>
                    <a:pt x="2721029" y="5826973"/>
                    <a:pt x="2717014" y="5830985"/>
                    <a:pt x="2712045" y="5830985"/>
                  </a:cubicBezTo>
                  <a:cubicBezTo>
                    <a:pt x="2707100" y="5830985"/>
                    <a:pt x="2703089" y="5826973"/>
                    <a:pt x="2703089" y="5822024"/>
                  </a:cubicBezTo>
                  <a:cubicBezTo>
                    <a:pt x="2703089" y="5817075"/>
                    <a:pt x="2707100" y="5813064"/>
                    <a:pt x="2712045" y="5813064"/>
                  </a:cubicBezTo>
                  <a:close/>
                  <a:moveTo>
                    <a:pt x="2543334" y="5813064"/>
                  </a:moveTo>
                  <a:cubicBezTo>
                    <a:pt x="2548285" y="5813064"/>
                    <a:pt x="2552294" y="5817075"/>
                    <a:pt x="2552294" y="5822024"/>
                  </a:cubicBezTo>
                  <a:cubicBezTo>
                    <a:pt x="2552294" y="5826973"/>
                    <a:pt x="2548285" y="5830985"/>
                    <a:pt x="2543334" y="5830985"/>
                  </a:cubicBezTo>
                  <a:cubicBezTo>
                    <a:pt x="2538383" y="5830985"/>
                    <a:pt x="2534364" y="5826973"/>
                    <a:pt x="2534364" y="5822024"/>
                  </a:cubicBezTo>
                  <a:cubicBezTo>
                    <a:pt x="2534364" y="5817075"/>
                    <a:pt x="2538383" y="5813064"/>
                    <a:pt x="2543334" y="5813064"/>
                  </a:cubicBezTo>
                  <a:close/>
                  <a:moveTo>
                    <a:pt x="2374562" y="5813064"/>
                  </a:moveTo>
                  <a:cubicBezTo>
                    <a:pt x="2379516" y="5813064"/>
                    <a:pt x="2383549" y="5817075"/>
                    <a:pt x="2383549" y="5822024"/>
                  </a:cubicBezTo>
                  <a:cubicBezTo>
                    <a:pt x="2383549" y="5826973"/>
                    <a:pt x="2379516" y="5830985"/>
                    <a:pt x="2374562" y="5830985"/>
                  </a:cubicBezTo>
                  <a:cubicBezTo>
                    <a:pt x="2369612" y="5830985"/>
                    <a:pt x="2365599" y="5826973"/>
                    <a:pt x="2365599" y="5822024"/>
                  </a:cubicBezTo>
                  <a:cubicBezTo>
                    <a:pt x="2365599" y="5817075"/>
                    <a:pt x="2369612" y="5813064"/>
                    <a:pt x="2374562" y="5813064"/>
                  </a:cubicBezTo>
                  <a:close/>
                  <a:moveTo>
                    <a:pt x="2205844" y="5813064"/>
                  </a:moveTo>
                  <a:cubicBezTo>
                    <a:pt x="2210791" y="5813064"/>
                    <a:pt x="2214802" y="5817075"/>
                    <a:pt x="2214802" y="5822024"/>
                  </a:cubicBezTo>
                  <a:cubicBezTo>
                    <a:pt x="2214802" y="5826973"/>
                    <a:pt x="2210791" y="5830985"/>
                    <a:pt x="2205844" y="5830985"/>
                  </a:cubicBezTo>
                  <a:cubicBezTo>
                    <a:pt x="2200878" y="5830985"/>
                    <a:pt x="2196868" y="5826973"/>
                    <a:pt x="2196868" y="5822024"/>
                  </a:cubicBezTo>
                  <a:cubicBezTo>
                    <a:pt x="2196868" y="5817075"/>
                    <a:pt x="2200878" y="5813064"/>
                    <a:pt x="2205844" y="5813064"/>
                  </a:cubicBezTo>
                  <a:close/>
                  <a:moveTo>
                    <a:pt x="2037099" y="5813064"/>
                  </a:moveTo>
                  <a:cubicBezTo>
                    <a:pt x="2042054" y="5813064"/>
                    <a:pt x="2046053" y="5817075"/>
                    <a:pt x="2046053" y="5822024"/>
                  </a:cubicBezTo>
                  <a:cubicBezTo>
                    <a:pt x="2046053" y="5826973"/>
                    <a:pt x="2042054" y="5830985"/>
                    <a:pt x="2037099" y="5830985"/>
                  </a:cubicBezTo>
                  <a:cubicBezTo>
                    <a:pt x="2032154" y="5830985"/>
                    <a:pt x="2028152" y="5826973"/>
                    <a:pt x="2028152" y="5822024"/>
                  </a:cubicBezTo>
                  <a:cubicBezTo>
                    <a:pt x="2028152" y="5817075"/>
                    <a:pt x="2032154" y="5813064"/>
                    <a:pt x="2037099" y="5813064"/>
                  </a:cubicBezTo>
                  <a:close/>
                  <a:moveTo>
                    <a:pt x="1868377" y="5813064"/>
                  </a:moveTo>
                  <a:cubicBezTo>
                    <a:pt x="1873320" y="5813064"/>
                    <a:pt x="1877331" y="5817075"/>
                    <a:pt x="1877331" y="5822024"/>
                  </a:cubicBezTo>
                  <a:cubicBezTo>
                    <a:pt x="1877331" y="5826973"/>
                    <a:pt x="1873320" y="5830985"/>
                    <a:pt x="1868377" y="5830985"/>
                  </a:cubicBezTo>
                  <a:cubicBezTo>
                    <a:pt x="1863423" y="5830985"/>
                    <a:pt x="1859408" y="5826973"/>
                    <a:pt x="1859408" y="5822024"/>
                  </a:cubicBezTo>
                  <a:cubicBezTo>
                    <a:pt x="1859408" y="5817075"/>
                    <a:pt x="1863423" y="5813064"/>
                    <a:pt x="1868377" y="5813064"/>
                  </a:cubicBezTo>
                  <a:close/>
                  <a:moveTo>
                    <a:pt x="1699628" y="5813064"/>
                  </a:moveTo>
                  <a:cubicBezTo>
                    <a:pt x="1704583" y="5813064"/>
                    <a:pt x="1708595" y="5817075"/>
                    <a:pt x="1708595" y="5822024"/>
                  </a:cubicBezTo>
                  <a:cubicBezTo>
                    <a:pt x="1708595" y="5826973"/>
                    <a:pt x="1704583" y="5830985"/>
                    <a:pt x="1699628" y="5830985"/>
                  </a:cubicBezTo>
                  <a:cubicBezTo>
                    <a:pt x="1694681" y="5830985"/>
                    <a:pt x="1690665" y="5826973"/>
                    <a:pt x="1690665" y="5822024"/>
                  </a:cubicBezTo>
                  <a:cubicBezTo>
                    <a:pt x="1690665" y="5817075"/>
                    <a:pt x="1694681" y="5813064"/>
                    <a:pt x="1699628" y="5813064"/>
                  </a:cubicBezTo>
                  <a:close/>
                  <a:moveTo>
                    <a:pt x="1530888" y="5813064"/>
                  </a:moveTo>
                  <a:cubicBezTo>
                    <a:pt x="1535838" y="5813064"/>
                    <a:pt x="1539850" y="5817075"/>
                    <a:pt x="1539850" y="5822024"/>
                  </a:cubicBezTo>
                  <a:cubicBezTo>
                    <a:pt x="1539850" y="5826973"/>
                    <a:pt x="1535838" y="5830985"/>
                    <a:pt x="1530888" y="5830985"/>
                  </a:cubicBezTo>
                  <a:cubicBezTo>
                    <a:pt x="1525939" y="5830985"/>
                    <a:pt x="1521927" y="5826973"/>
                    <a:pt x="1521927" y="5822024"/>
                  </a:cubicBezTo>
                  <a:cubicBezTo>
                    <a:pt x="1521927" y="5817075"/>
                    <a:pt x="1525939" y="5813064"/>
                    <a:pt x="1530888" y="5813064"/>
                  </a:cubicBezTo>
                  <a:close/>
                  <a:moveTo>
                    <a:pt x="1362141" y="5813064"/>
                  </a:moveTo>
                  <a:cubicBezTo>
                    <a:pt x="1367092" y="5813064"/>
                    <a:pt x="1371102" y="5817075"/>
                    <a:pt x="1371102" y="5822024"/>
                  </a:cubicBezTo>
                  <a:cubicBezTo>
                    <a:pt x="1371102" y="5826973"/>
                    <a:pt x="1367092" y="5830985"/>
                    <a:pt x="1362141" y="5830985"/>
                  </a:cubicBezTo>
                  <a:cubicBezTo>
                    <a:pt x="1357192" y="5830985"/>
                    <a:pt x="1353180" y="5826973"/>
                    <a:pt x="1353180" y="5822024"/>
                  </a:cubicBezTo>
                  <a:cubicBezTo>
                    <a:pt x="1353180" y="5817075"/>
                    <a:pt x="1357192" y="5813064"/>
                    <a:pt x="1362141" y="5813064"/>
                  </a:cubicBezTo>
                  <a:close/>
                  <a:moveTo>
                    <a:pt x="1193399" y="5813064"/>
                  </a:moveTo>
                  <a:cubicBezTo>
                    <a:pt x="1198348" y="5813064"/>
                    <a:pt x="1202360" y="5817075"/>
                    <a:pt x="1202360" y="5822024"/>
                  </a:cubicBezTo>
                  <a:cubicBezTo>
                    <a:pt x="1202360" y="5826973"/>
                    <a:pt x="1198348" y="5830985"/>
                    <a:pt x="1193399" y="5830985"/>
                  </a:cubicBezTo>
                  <a:cubicBezTo>
                    <a:pt x="1188451" y="5830985"/>
                    <a:pt x="1184441" y="5826973"/>
                    <a:pt x="1184441" y="5822024"/>
                  </a:cubicBezTo>
                  <a:cubicBezTo>
                    <a:pt x="1184441" y="5817075"/>
                    <a:pt x="1188451" y="5813064"/>
                    <a:pt x="1193399" y="5813064"/>
                  </a:cubicBezTo>
                  <a:close/>
                  <a:moveTo>
                    <a:pt x="1024650" y="5813064"/>
                  </a:moveTo>
                  <a:cubicBezTo>
                    <a:pt x="1029602" y="5813064"/>
                    <a:pt x="1033615" y="5817075"/>
                    <a:pt x="1033615" y="5822024"/>
                  </a:cubicBezTo>
                  <a:cubicBezTo>
                    <a:pt x="1033615" y="5826973"/>
                    <a:pt x="1029602" y="5830985"/>
                    <a:pt x="1024650" y="5830985"/>
                  </a:cubicBezTo>
                  <a:cubicBezTo>
                    <a:pt x="1019703" y="5830985"/>
                    <a:pt x="1015690" y="5826973"/>
                    <a:pt x="1015690" y="5822024"/>
                  </a:cubicBezTo>
                  <a:cubicBezTo>
                    <a:pt x="1015690" y="5817075"/>
                    <a:pt x="1019703" y="5813064"/>
                    <a:pt x="1024650" y="5813064"/>
                  </a:cubicBezTo>
                  <a:close/>
                  <a:moveTo>
                    <a:pt x="855918" y="5813064"/>
                  </a:moveTo>
                  <a:cubicBezTo>
                    <a:pt x="860866" y="5813064"/>
                    <a:pt x="864878" y="5817075"/>
                    <a:pt x="864878" y="5822024"/>
                  </a:cubicBezTo>
                  <a:cubicBezTo>
                    <a:pt x="864878" y="5826973"/>
                    <a:pt x="860866" y="5830985"/>
                    <a:pt x="855918" y="5830985"/>
                  </a:cubicBezTo>
                  <a:cubicBezTo>
                    <a:pt x="850968" y="5830985"/>
                    <a:pt x="846958" y="5826973"/>
                    <a:pt x="846958" y="5822024"/>
                  </a:cubicBezTo>
                  <a:cubicBezTo>
                    <a:pt x="846958" y="5817075"/>
                    <a:pt x="850968" y="5813064"/>
                    <a:pt x="855918" y="5813064"/>
                  </a:cubicBezTo>
                  <a:close/>
                  <a:moveTo>
                    <a:pt x="687178" y="5813064"/>
                  </a:moveTo>
                  <a:cubicBezTo>
                    <a:pt x="692126" y="5813064"/>
                    <a:pt x="696138" y="5817075"/>
                    <a:pt x="696138" y="5822024"/>
                  </a:cubicBezTo>
                  <a:cubicBezTo>
                    <a:pt x="696138" y="5826973"/>
                    <a:pt x="692126" y="5830985"/>
                    <a:pt x="687178" y="5830985"/>
                  </a:cubicBezTo>
                  <a:cubicBezTo>
                    <a:pt x="682229" y="5830985"/>
                    <a:pt x="678218" y="5826973"/>
                    <a:pt x="678218" y="5822024"/>
                  </a:cubicBezTo>
                  <a:cubicBezTo>
                    <a:pt x="678218" y="5817075"/>
                    <a:pt x="682229" y="5813064"/>
                    <a:pt x="687178" y="5813064"/>
                  </a:cubicBezTo>
                  <a:close/>
                  <a:moveTo>
                    <a:pt x="518419" y="5813064"/>
                  </a:moveTo>
                  <a:cubicBezTo>
                    <a:pt x="523368" y="5813064"/>
                    <a:pt x="527380" y="5817075"/>
                    <a:pt x="527380" y="5822024"/>
                  </a:cubicBezTo>
                  <a:cubicBezTo>
                    <a:pt x="527380" y="5826973"/>
                    <a:pt x="523368" y="5830985"/>
                    <a:pt x="518419" y="5830985"/>
                  </a:cubicBezTo>
                  <a:cubicBezTo>
                    <a:pt x="513471" y="5830985"/>
                    <a:pt x="509459" y="5826973"/>
                    <a:pt x="509459" y="5822024"/>
                  </a:cubicBezTo>
                  <a:cubicBezTo>
                    <a:pt x="509459" y="5817075"/>
                    <a:pt x="513471" y="5813064"/>
                    <a:pt x="518419" y="5813064"/>
                  </a:cubicBezTo>
                  <a:close/>
                  <a:moveTo>
                    <a:pt x="349680" y="5813064"/>
                  </a:moveTo>
                  <a:cubicBezTo>
                    <a:pt x="354629" y="5813064"/>
                    <a:pt x="358641" y="5817075"/>
                    <a:pt x="358641" y="5822024"/>
                  </a:cubicBezTo>
                  <a:cubicBezTo>
                    <a:pt x="358641" y="5826973"/>
                    <a:pt x="354629" y="5830985"/>
                    <a:pt x="349680" y="5830985"/>
                  </a:cubicBezTo>
                  <a:cubicBezTo>
                    <a:pt x="344732" y="5830985"/>
                    <a:pt x="340720" y="5826973"/>
                    <a:pt x="340720" y="5822024"/>
                  </a:cubicBezTo>
                  <a:cubicBezTo>
                    <a:pt x="340720" y="5817075"/>
                    <a:pt x="344732" y="5813064"/>
                    <a:pt x="349680" y="5813064"/>
                  </a:cubicBezTo>
                  <a:close/>
                  <a:moveTo>
                    <a:pt x="179361" y="5813064"/>
                  </a:moveTo>
                  <a:cubicBezTo>
                    <a:pt x="184310" y="5813064"/>
                    <a:pt x="188322" y="5817075"/>
                    <a:pt x="188322" y="5822024"/>
                  </a:cubicBezTo>
                  <a:cubicBezTo>
                    <a:pt x="188322" y="5826973"/>
                    <a:pt x="184310" y="5830985"/>
                    <a:pt x="179361" y="5830985"/>
                  </a:cubicBezTo>
                  <a:cubicBezTo>
                    <a:pt x="174413" y="5830985"/>
                    <a:pt x="170401" y="5826973"/>
                    <a:pt x="170401" y="5822024"/>
                  </a:cubicBezTo>
                  <a:cubicBezTo>
                    <a:pt x="170401" y="5817075"/>
                    <a:pt x="174413" y="5813064"/>
                    <a:pt x="179361" y="5813064"/>
                  </a:cubicBezTo>
                  <a:close/>
                  <a:moveTo>
                    <a:pt x="9043" y="5813064"/>
                  </a:moveTo>
                  <a:cubicBezTo>
                    <a:pt x="13991" y="5813064"/>
                    <a:pt x="18003" y="5817075"/>
                    <a:pt x="18003" y="5822024"/>
                  </a:cubicBezTo>
                  <a:cubicBezTo>
                    <a:pt x="18003" y="5826973"/>
                    <a:pt x="13991" y="5830985"/>
                    <a:pt x="9043" y="5830985"/>
                  </a:cubicBezTo>
                  <a:cubicBezTo>
                    <a:pt x="4094" y="5830985"/>
                    <a:pt x="83" y="5826973"/>
                    <a:pt x="83" y="5822024"/>
                  </a:cubicBezTo>
                  <a:cubicBezTo>
                    <a:pt x="83" y="5817075"/>
                    <a:pt x="4094" y="5813064"/>
                    <a:pt x="9043" y="5813064"/>
                  </a:cubicBezTo>
                  <a:close/>
                  <a:moveTo>
                    <a:pt x="6933679" y="5642083"/>
                  </a:moveTo>
                  <a:cubicBezTo>
                    <a:pt x="6938628" y="5642083"/>
                    <a:pt x="6942639" y="5646094"/>
                    <a:pt x="6942639" y="5651043"/>
                  </a:cubicBezTo>
                  <a:cubicBezTo>
                    <a:pt x="6942639" y="5655992"/>
                    <a:pt x="6938628" y="5660004"/>
                    <a:pt x="6933679" y="5660004"/>
                  </a:cubicBezTo>
                  <a:cubicBezTo>
                    <a:pt x="6928730" y="5660004"/>
                    <a:pt x="6924718" y="5655992"/>
                    <a:pt x="6924718" y="5651043"/>
                  </a:cubicBezTo>
                  <a:cubicBezTo>
                    <a:pt x="6924718" y="5646094"/>
                    <a:pt x="6928730" y="5642083"/>
                    <a:pt x="6933679" y="5642083"/>
                  </a:cubicBezTo>
                  <a:close/>
                  <a:moveTo>
                    <a:pt x="6763357" y="5642083"/>
                  </a:moveTo>
                  <a:cubicBezTo>
                    <a:pt x="6768306" y="5642083"/>
                    <a:pt x="6772318" y="5646094"/>
                    <a:pt x="6772318" y="5651043"/>
                  </a:cubicBezTo>
                  <a:cubicBezTo>
                    <a:pt x="6772318" y="5655992"/>
                    <a:pt x="6768306" y="5660004"/>
                    <a:pt x="6763357" y="5660004"/>
                  </a:cubicBezTo>
                  <a:cubicBezTo>
                    <a:pt x="6758408" y="5660004"/>
                    <a:pt x="6754397" y="5655992"/>
                    <a:pt x="6754397" y="5651043"/>
                  </a:cubicBezTo>
                  <a:cubicBezTo>
                    <a:pt x="6754397" y="5646094"/>
                    <a:pt x="6758408" y="5642083"/>
                    <a:pt x="6763357" y="5642083"/>
                  </a:cubicBezTo>
                  <a:close/>
                  <a:moveTo>
                    <a:pt x="6593035" y="5642083"/>
                  </a:moveTo>
                  <a:cubicBezTo>
                    <a:pt x="6597984" y="5642083"/>
                    <a:pt x="6601996" y="5646094"/>
                    <a:pt x="6601996" y="5651043"/>
                  </a:cubicBezTo>
                  <a:cubicBezTo>
                    <a:pt x="6601996" y="5655992"/>
                    <a:pt x="6597984" y="5660004"/>
                    <a:pt x="6593035" y="5660004"/>
                  </a:cubicBezTo>
                  <a:cubicBezTo>
                    <a:pt x="6588086" y="5660004"/>
                    <a:pt x="6584075" y="5655992"/>
                    <a:pt x="6584075" y="5651043"/>
                  </a:cubicBezTo>
                  <a:cubicBezTo>
                    <a:pt x="6584075" y="5646094"/>
                    <a:pt x="6588086" y="5642083"/>
                    <a:pt x="6593035" y="5642083"/>
                  </a:cubicBezTo>
                  <a:close/>
                  <a:moveTo>
                    <a:pt x="6424294" y="5642083"/>
                  </a:moveTo>
                  <a:cubicBezTo>
                    <a:pt x="6429243" y="5642083"/>
                    <a:pt x="6433255" y="5646094"/>
                    <a:pt x="6433255" y="5651043"/>
                  </a:cubicBezTo>
                  <a:cubicBezTo>
                    <a:pt x="6433255" y="5655992"/>
                    <a:pt x="6429243" y="5660004"/>
                    <a:pt x="6424294" y="5660004"/>
                  </a:cubicBezTo>
                  <a:cubicBezTo>
                    <a:pt x="6419345" y="5660004"/>
                    <a:pt x="6415334" y="5655992"/>
                    <a:pt x="6415334" y="5651043"/>
                  </a:cubicBezTo>
                  <a:cubicBezTo>
                    <a:pt x="6415334" y="5646094"/>
                    <a:pt x="6419345" y="5642083"/>
                    <a:pt x="6424294" y="5642083"/>
                  </a:cubicBezTo>
                  <a:close/>
                  <a:moveTo>
                    <a:pt x="6255553" y="5642083"/>
                  </a:moveTo>
                  <a:cubicBezTo>
                    <a:pt x="6260502" y="5642083"/>
                    <a:pt x="6264514" y="5646094"/>
                    <a:pt x="6264514" y="5651043"/>
                  </a:cubicBezTo>
                  <a:cubicBezTo>
                    <a:pt x="6264514" y="5655992"/>
                    <a:pt x="6260502" y="5660004"/>
                    <a:pt x="6255553" y="5660004"/>
                  </a:cubicBezTo>
                  <a:cubicBezTo>
                    <a:pt x="6250604" y="5660004"/>
                    <a:pt x="6246593" y="5655992"/>
                    <a:pt x="6246593" y="5651043"/>
                  </a:cubicBezTo>
                  <a:cubicBezTo>
                    <a:pt x="6246593" y="5646094"/>
                    <a:pt x="6250604" y="5642083"/>
                    <a:pt x="6255553" y="5642083"/>
                  </a:cubicBezTo>
                  <a:close/>
                  <a:moveTo>
                    <a:pt x="6086811" y="5642083"/>
                  </a:moveTo>
                  <a:cubicBezTo>
                    <a:pt x="6091760" y="5642083"/>
                    <a:pt x="6095772" y="5646094"/>
                    <a:pt x="6095772" y="5651043"/>
                  </a:cubicBezTo>
                  <a:cubicBezTo>
                    <a:pt x="6095772" y="5655992"/>
                    <a:pt x="6091760" y="5660004"/>
                    <a:pt x="6086811" y="5660004"/>
                  </a:cubicBezTo>
                  <a:cubicBezTo>
                    <a:pt x="6081862" y="5660004"/>
                    <a:pt x="6077851" y="5655992"/>
                    <a:pt x="6077851" y="5651043"/>
                  </a:cubicBezTo>
                  <a:cubicBezTo>
                    <a:pt x="6077851" y="5646094"/>
                    <a:pt x="6081862" y="5642083"/>
                    <a:pt x="6086811" y="5642083"/>
                  </a:cubicBezTo>
                  <a:close/>
                  <a:moveTo>
                    <a:pt x="5918069" y="5642083"/>
                  </a:moveTo>
                  <a:cubicBezTo>
                    <a:pt x="5923018" y="5642083"/>
                    <a:pt x="5927030" y="5646094"/>
                    <a:pt x="5927030" y="5651043"/>
                  </a:cubicBezTo>
                  <a:cubicBezTo>
                    <a:pt x="5927030" y="5655992"/>
                    <a:pt x="5923018" y="5660004"/>
                    <a:pt x="5918069" y="5660004"/>
                  </a:cubicBezTo>
                  <a:cubicBezTo>
                    <a:pt x="5913120" y="5660004"/>
                    <a:pt x="5909109" y="5655992"/>
                    <a:pt x="5909109" y="5651043"/>
                  </a:cubicBezTo>
                  <a:cubicBezTo>
                    <a:pt x="5909109" y="5646094"/>
                    <a:pt x="5913120" y="5642083"/>
                    <a:pt x="5918069" y="5642083"/>
                  </a:cubicBezTo>
                  <a:close/>
                  <a:moveTo>
                    <a:pt x="5749328" y="5642083"/>
                  </a:moveTo>
                  <a:cubicBezTo>
                    <a:pt x="5754277" y="5642083"/>
                    <a:pt x="5758289" y="5646094"/>
                    <a:pt x="5758289" y="5651043"/>
                  </a:cubicBezTo>
                  <a:cubicBezTo>
                    <a:pt x="5758289" y="5655992"/>
                    <a:pt x="5754277" y="5660004"/>
                    <a:pt x="5749328" y="5660004"/>
                  </a:cubicBezTo>
                  <a:cubicBezTo>
                    <a:pt x="5744379" y="5660004"/>
                    <a:pt x="5740368" y="5655992"/>
                    <a:pt x="5740368" y="5651043"/>
                  </a:cubicBezTo>
                  <a:cubicBezTo>
                    <a:pt x="5740368" y="5646094"/>
                    <a:pt x="5744379" y="5642083"/>
                    <a:pt x="5749328" y="5642083"/>
                  </a:cubicBezTo>
                  <a:close/>
                  <a:moveTo>
                    <a:pt x="5580586" y="5642083"/>
                  </a:moveTo>
                  <a:cubicBezTo>
                    <a:pt x="5585535" y="5642083"/>
                    <a:pt x="5589547" y="5646094"/>
                    <a:pt x="5589547" y="5651043"/>
                  </a:cubicBezTo>
                  <a:cubicBezTo>
                    <a:pt x="5589547" y="5655992"/>
                    <a:pt x="5585535" y="5660004"/>
                    <a:pt x="5580586" y="5660004"/>
                  </a:cubicBezTo>
                  <a:cubicBezTo>
                    <a:pt x="5575637" y="5660004"/>
                    <a:pt x="5571626" y="5655992"/>
                    <a:pt x="5571626" y="5651043"/>
                  </a:cubicBezTo>
                  <a:cubicBezTo>
                    <a:pt x="5571626" y="5646094"/>
                    <a:pt x="5575637" y="5642083"/>
                    <a:pt x="5580586" y="5642083"/>
                  </a:cubicBezTo>
                  <a:close/>
                  <a:moveTo>
                    <a:pt x="5411845" y="5642083"/>
                  </a:moveTo>
                  <a:cubicBezTo>
                    <a:pt x="5416794" y="5642083"/>
                    <a:pt x="5420806" y="5646094"/>
                    <a:pt x="5420806" y="5651043"/>
                  </a:cubicBezTo>
                  <a:cubicBezTo>
                    <a:pt x="5420806" y="5655992"/>
                    <a:pt x="5416794" y="5660004"/>
                    <a:pt x="5411845" y="5660004"/>
                  </a:cubicBezTo>
                  <a:cubicBezTo>
                    <a:pt x="5406896" y="5660004"/>
                    <a:pt x="5402885" y="5655992"/>
                    <a:pt x="5402885" y="5651043"/>
                  </a:cubicBezTo>
                  <a:cubicBezTo>
                    <a:pt x="5402885" y="5646094"/>
                    <a:pt x="5406896" y="5642083"/>
                    <a:pt x="5411845" y="5642083"/>
                  </a:cubicBezTo>
                  <a:close/>
                  <a:moveTo>
                    <a:pt x="5243103" y="5642083"/>
                  </a:moveTo>
                  <a:cubicBezTo>
                    <a:pt x="5248052" y="5642083"/>
                    <a:pt x="5252064" y="5646094"/>
                    <a:pt x="5252064" y="5651043"/>
                  </a:cubicBezTo>
                  <a:cubicBezTo>
                    <a:pt x="5252064" y="5655992"/>
                    <a:pt x="5248052" y="5660004"/>
                    <a:pt x="5243103" y="5660004"/>
                  </a:cubicBezTo>
                  <a:cubicBezTo>
                    <a:pt x="5238154" y="5660004"/>
                    <a:pt x="5234143" y="5655992"/>
                    <a:pt x="5234143" y="5651043"/>
                  </a:cubicBezTo>
                  <a:cubicBezTo>
                    <a:pt x="5234143" y="5646094"/>
                    <a:pt x="5238154" y="5642083"/>
                    <a:pt x="5243103" y="5642083"/>
                  </a:cubicBezTo>
                  <a:close/>
                  <a:moveTo>
                    <a:pt x="5074362" y="5642083"/>
                  </a:moveTo>
                  <a:cubicBezTo>
                    <a:pt x="5079311" y="5642083"/>
                    <a:pt x="5083323" y="5646094"/>
                    <a:pt x="5083323" y="5651043"/>
                  </a:cubicBezTo>
                  <a:cubicBezTo>
                    <a:pt x="5083323" y="5655992"/>
                    <a:pt x="5079311" y="5660004"/>
                    <a:pt x="5074362" y="5660004"/>
                  </a:cubicBezTo>
                  <a:cubicBezTo>
                    <a:pt x="5069413" y="5660004"/>
                    <a:pt x="5065402" y="5655992"/>
                    <a:pt x="5065402" y="5651043"/>
                  </a:cubicBezTo>
                  <a:cubicBezTo>
                    <a:pt x="5065402" y="5646094"/>
                    <a:pt x="5069413" y="5642083"/>
                    <a:pt x="5074362" y="5642083"/>
                  </a:cubicBezTo>
                  <a:close/>
                  <a:moveTo>
                    <a:pt x="4905620" y="5642083"/>
                  </a:moveTo>
                  <a:cubicBezTo>
                    <a:pt x="4910569" y="5642083"/>
                    <a:pt x="4914581" y="5646094"/>
                    <a:pt x="4914581" y="5651043"/>
                  </a:cubicBezTo>
                  <a:cubicBezTo>
                    <a:pt x="4914581" y="5655992"/>
                    <a:pt x="4910569" y="5660004"/>
                    <a:pt x="4905620" y="5660004"/>
                  </a:cubicBezTo>
                  <a:cubicBezTo>
                    <a:pt x="4900671" y="5660004"/>
                    <a:pt x="4896660" y="5655992"/>
                    <a:pt x="4896660" y="5651043"/>
                  </a:cubicBezTo>
                  <a:cubicBezTo>
                    <a:pt x="4896660" y="5646094"/>
                    <a:pt x="4900671" y="5642083"/>
                    <a:pt x="4905620" y="5642083"/>
                  </a:cubicBezTo>
                  <a:close/>
                  <a:moveTo>
                    <a:pt x="4736878" y="5642083"/>
                  </a:moveTo>
                  <a:cubicBezTo>
                    <a:pt x="4741827" y="5642083"/>
                    <a:pt x="4745839" y="5646094"/>
                    <a:pt x="4745839" y="5651043"/>
                  </a:cubicBezTo>
                  <a:cubicBezTo>
                    <a:pt x="4745839" y="5655992"/>
                    <a:pt x="4741827" y="5660004"/>
                    <a:pt x="4736878" y="5660004"/>
                  </a:cubicBezTo>
                  <a:cubicBezTo>
                    <a:pt x="4731929" y="5660004"/>
                    <a:pt x="4727918" y="5655992"/>
                    <a:pt x="4727918" y="5651043"/>
                  </a:cubicBezTo>
                  <a:cubicBezTo>
                    <a:pt x="4727918" y="5646094"/>
                    <a:pt x="4731929" y="5642083"/>
                    <a:pt x="4736878" y="5642083"/>
                  </a:cubicBezTo>
                  <a:close/>
                  <a:moveTo>
                    <a:pt x="4568137" y="5642083"/>
                  </a:moveTo>
                  <a:cubicBezTo>
                    <a:pt x="4573086" y="5642083"/>
                    <a:pt x="4577098" y="5646094"/>
                    <a:pt x="4577098" y="5651043"/>
                  </a:cubicBezTo>
                  <a:cubicBezTo>
                    <a:pt x="4577098" y="5655992"/>
                    <a:pt x="4573086" y="5660004"/>
                    <a:pt x="4568137" y="5660004"/>
                  </a:cubicBezTo>
                  <a:cubicBezTo>
                    <a:pt x="4563188" y="5660004"/>
                    <a:pt x="4559177" y="5655992"/>
                    <a:pt x="4559177" y="5651043"/>
                  </a:cubicBezTo>
                  <a:cubicBezTo>
                    <a:pt x="4559177" y="5646094"/>
                    <a:pt x="4563188" y="5642083"/>
                    <a:pt x="4568137" y="5642083"/>
                  </a:cubicBezTo>
                  <a:close/>
                  <a:moveTo>
                    <a:pt x="4399396" y="5642083"/>
                  </a:moveTo>
                  <a:cubicBezTo>
                    <a:pt x="4404345" y="5642083"/>
                    <a:pt x="4408357" y="5646094"/>
                    <a:pt x="4408357" y="5651043"/>
                  </a:cubicBezTo>
                  <a:cubicBezTo>
                    <a:pt x="4408357" y="5655992"/>
                    <a:pt x="4404345" y="5660004"/>
                    <a:pt x="4399396" y="5660004"/>
                  </a:cubicBezTo>
                  <a:cubicBezTo>
                    <a:pt x="4394447" y="5660004"/>
                    <a:pt x="4390436" y="5655992"/>
                    <a:pt x="4390436" y="5651043"/>
                  </a:cubicBezTo>
                  <a:cubicBezTo>
                    <a:pt x="4390436" y="5646094"/>
                    <a:pt x="4394447" y="5642083"/>
                    <a:pt x="4399396" y="5642083"/>
                  </a:cubicBezTo>
                  <a:close/>
                  <a:moveTo>
                    <a:pt x="4230654" y="5642083"/>
                  </a:moveTo>
                  <a:cubicBezTo>
                    <a:pt x="4235603" y="5642083"/>
                    <a:pt x="4239615" y="5646094"/>
                    <a:pt x="4239615" y="5651043"/>
                  </a:cubicBezTo>
                  <a:cubicBezTo>
                    <a:pt x="4239615" y="5655992"/>
                    <a:pt x="4235603" y="5660004"/>
                    <a:pt x="4230654" y="5660004"/>
                  </a:cubicBezTo>
                  <a:cubicBezTo>
                    <a:pt x="4225705" y="5660004"/>
                    <a:pt x="4221694" y="5655992"/>
                    <a:pt x="4221694" y="5651043"/>
                  </a:cubicBezTo>
                  <a:cubicBezTo>
                    <a:pt x="4221694" y="5646094"/>
                    <a:pt x="4225705" y="5642083"/>
                    <a:pt x="4230654" y="5642083"/>
                  </a:cubicBezTo>
                  <a:close/>
                  <a:moveTo>
                    <a:pt x="4061912" y="5642083"/>
                  </a:moveTo>
                  <a:cubicBezTo>
                    <a:pt x="4066861" y="5642083"/>
                    <a:pt x="4070873" y="5646094"/>
                    <a:pt x="4070873" y="5651043"/>
                  </a:cubicBezTo>
                  <a:cubicBezTo>
                    <a:pt x="4070873" y="5655992"/>
                    <a:pt x="4066861" y="5660004"/>
                    <a:pt x="4061912" y="5660004"/>
                  </a:cubicBezTo>
                  <a:cubicBezTo>
                    <a:pt x="4056963" y="5660004"/>
                    <a:pt x="4052952" y="5655992"/>
                    <a:pt x="4052952" y="5651043"/>
                  </a:cubicBezTo>
                  <a:cubicBezTo>
                    <a:pt x="4052952" y="5646094"/>
                    <a:pt x="4056963" y="5642083"/>
                    <a:pt x="4061912" y="5642083"/>
                  </a:cubicBezTo>
                  <a:close/>
                  <a:moveTo>
                    <a:pt x="3893170" y="5642083"/>
                  </a:moveTo>
                  <a:cubicBezTo>
                    <a:pt x="3898119" y="5642083"/>
                    <a:pt x="3902131" y="5646094"/>
                    <a:pt x="3902131" y="5651043"/>
                  </a:cubicBezTo>
                  <a:cubicBezTo>
                    <a:pt x="3902131" y="5655992"/>
                    <a:pt x="3898119" y="5660004"/>
                    <a:pt x="3893170" y="5660004"/>
                  </a:cubicBezTo>
                  <a:cubicBezTo>
                    <a:pt x="3888221" y="5660004"/>
                    <a:pt x="3884210" y="5655992"/>
                    <a:pt x="3884210" y="5651043"/>
                  </a:cubicBezTo>
                  <a:cubicBezTo>
                    <a:pt x="3884210" y="5646094"/>
                    <a:pt x="3888221" y="5642083"/>
                    <a:pt x="3893170" y="5642083"/>
                  </a:cubicBezTo>
                  <a:close/>
                  <a:moveTo>
                    <a:pt x="3724429" y="5642083"/>
                  </a:moveTo>
                  <a:cubicBezTo>
                    <a:pt x="3729378" y="5642083"/>
                    <a:pt x="3733390" y="5646094"/>
                    <a:pt x="3733390" y="5651043"/>
                  </a:cubicBezTo>
                  <a:cubicBezTo>
                    <a:pt x="3733390" y="5655992"/>
                    <a:pt x="3729378" y="5660004"/>
                    <a:pt x="3724429" y="5660004"/>
                  </a:cubicBezTo>
                  <a:cubicBezTo>
                    <a:pt x="3719481" y="5660004"/>
                    <a:pt x="3715469" y="5655992"/>
                    <a:pt x="3715469" y="5651043"/>
                  </a:cubicBezTo>
                  <a:cubicBezTo>
                    <a:pt x="3715469" y="5646094"/>
                    <a:pt x="3719481" y="5642083"/>
                    <a:pt x="3724429" y="5642083"/>
                  </a:cubicBezTo>
                  <a:close/>
                  <a:moveTo>
                    <a:pt x="3555688" y="5642083"/>
                  </a:moveTo>
                  <a:cubicBezTo>
                    <a:pt x="3560637" y="5642083"/>
                    <a:pt x="3564649" y="5646094"/>
                    <a:pt x="3564649" y="5651043"/>
                  </a:cubicBezTo>
                  <a:cubicBezTo>
                    <a:pt x="3564649" y="5655992"/>
                    <a:pt x="3560637" y="5660004"/>
                    <a:pt x="3555688" y="5660004"/>
                  </a:cubicBezTo>
                  <a:cubicBezTo>
                    <a:pt x="3550740" y="5660004"/>
                    <a:pt x="3546728" y="5655992"/>
                    <a:pt x="3546728" y="5651043"/>
                  </a:cubicBezTo>
                  <a:cubicBezTo>
                    <a:pt x="3546728" y="5646094"/>
                    <a:pt x="3550740" y="5642083"/>
                    <a:pt x="3555688" y="5642083"/>
                  </a:cubicBezTo>
                  <a:close/>
                  <a:moveTo>
                    <a:pt x="3387011" y="5642083"/>
                  </a:moveTo>
                  <a:cubicBezTo>
                    <a:pt x="3391959" y="5642083"/>
                    <a:pt x="3395971" y="5646094"/>
                    <a:pt x="3395971" y="5651043"/>
                  </a:cubicBezTo>
                  <a:cubicBezTo>
                    <a:pt x="3395971" y="5655992"/>
                    <a:pt x="3391959" y="5660004"/>
                    <a:pt x="3387011" y="5660004"/>
                  </a:cubicBezTo>
                  <a:cubicBezTo>
                    <a:pt x="3382031" y="5660004"/>
                    <a:pt x="3378018" y="5655992"/>
                    <a:pt x="3378018" y="5651043"/>
                  </a:cubicBezTo>
                  <a:cubicBezTo>
                    <a:pt x="3378018" y="5646094"/>
                    <a:pt x="3382031" y="5642083"/>
                    <a:pt x="3387011" y="5642083"/>
                  </a:cubicBezTo>
                  <a:close/>
                  <a:moveTo>
                    <a:pt x="3218253" y="5642083"/>
                  </a:moveTo>
                  <a:cubicBezTo>
                    <a:pt x="3223215" y="5642083"/>
                    <a:pt x="3227226" y="5646094"/>
                    <a:pt x="3227226" y="5651043"/>
                  </a:cubicBezTo>
                  <a:cubicBezTo>
                    <a:pt x="3227226" y="5655992"/>
                    <a:pt x="3223215" y="5660004"/>
                    <a:pt x="3218253" y="5660004"/>
                  </a:cubicBezTo>
                  <a:cubicBezTo>
                    <a:pt x="3213304" y="5660004"/>
                    <a:pt x="3209297" y="5655992"/>
                    <a:pt x="3209297" y="5651043"/>
                  </a:cubicBezTo>
                  <a:cubicBezTo>
                    <a:pt x="3209297" y="5646094"/>
                    <a:pt x="3213304" y="5642083"/>
                    <a:pt x="3218253" y="5642083"/>
                  </a:cubicBezTo>
                  <a:close/>
                  <a:moveTo>
                    <a:pt x="3049543" y="5642083"/>
                  </a:moveTo>
                  <a:cubicBezTo>
                    <a:pt x="3054477" y="5642083"/>
                    <a:pt x="3058490" y="5646094"/>
                    <a:pt x="3058490" y="5651043"/>
                  </a:cubicBezTo>
                  <a:cubicBezTo>
                    <a:pt x="3058490" y="5655992"/>
                    <a:pt x="3054477" y="5660004"/>
                    <a:pt x="3049543" y="5660004"/>
                  </a:cubicBezTo>
                  <a:cubicBezTo>
                    <a:pt x="3044580" y="5660004"/>
                    <a:pt x="3040570" y="5655992"/>
                    <a:pt x="3040570" y="5651043"/>
                  </a:cubicBezTo>
                  <a:cubicBezTo>
                    <a:pt x="3040570" y="5646094"/>
                    <a:pt x="3044580" y="5642083"/>
                    <a:pt x="3049543" y="5642083"/>
                  </a:cubicBezTo>
                  <a:close/>
                  <a:moveTo>
                    <a:pt x="2880806" y="5642083"/>
                  </a:moveTo>
                  <a:cubicBezTo>
                    <a:pt x="2885752" y="5642083"/>
                    <a:pt x="2889763" y="5646094"/>
                    <a:pt x="2889763" y="5651043"/>
                  </a:cubicBezTo>
                  <a:cubicBezTo>
                    <a:pt x="2889763" y="5655992"/>
                    <a:pt x="2885752" y="5660004"/>
                    <a:pt x="2880806" y="5660004"/>
                  </a:cubicBezTo>
                  <a:cubicBezTo>
                    <a:pt x="2875854" y="5660004"/>
                    <a:pt x="2871843" y="5655992"/>
                    <a:pt x="2871843" y="5651043"/>
                  </a:cubicBezTo>
                  <a:cubicBezTo>
                    <a:pt x="2871843" y="5646094"/>
                    <a:pt x="2875854" y="5642083"/>
                    <a:pt x="2880806" y="5642083"/>
                  </a:cubicBezTo>
                  <a:close/>
                  <a:moveTo>
                    <a:pt x="2712048" y="5642083"/>
                  </a:moveTo>
                  <a:cubicBezTo>
                    <a:pt x="2717019" y="5642083"/>
                    <a:pt x="2721032" y="5646094"/>
                    <a:pt x="2721032" y="5651043"/>
                  </a:cubicBezTo>
                  <a:cubicBezTo>
                    <a:pt x="2721032" y="5655992"/>
                    <a:pt x="2717019" y="5660004"/>
                    <a:pt x="2712048" y="5660004"/>
                  </a:cubicBezTo>
                  <a:cubicBezTo>
                    <a:pt x="2707103" y="5660004"/>
                    <a:pt x="2703092" y="5655992"/>
                    <a:pt x="2703092" y="5651043"/>
                  </a:cubicBezTo>
                  <a:cubicBezTo>
                    <a:pt x="2703092" y="5646094"/>
                    <a:pt x="2707103" y="5642083"/>
                    <a:pt x="2712048" y="5642083"/>
                  </a:cubicBezTo>
                  <a:close/>
                  <a:moveTo>
                    <a:pt x="2543340" y="5642083"/>
                  </a:moveTo>
                  <a:cubicBezTo>
                    <a:pt x="2548289" y="5642083"/>
                    <a:pt x="2552299" y="5646094"/>
                    <a:pt x="2552299" y="5651043"/>
                  </a:cubicBezTo>
                  <a:cubicBezTo>
                    <a:pt x="2552299" y="5655992"/>
                    <a:pt x="2548289" y="5660004"/>
                    <a:pt x="2543340" y="5660004"/>
                  </a:cubicBezTo>
                  <a:cubicBezTo>
                    <a:pt x="2538388" y="5660004"/>
                    <a:pt x="2534368" y="5655992"/>
                    <a:pt x="2534368" y="5651043"/>
                  </a:cubicBezTo>
                  <a:cubicBezTo>
                    <a:pt x="2534368" y="5646094"/>
                    <a:pt x="2538388" y="5642083"/>
                    <a:pt x="2543340" y="5642083"/>
                  </a:cubicBezTo>
                  <a:close/>
                  <a:moveTo>
                    <a:pt x="2374565" y="5642083"/>
                  </a:moveTo>
                  <a:cubicBezTo>
                    <a:pt x="2379519" y="5642083"/>
                    <a:pt x="2383552" y="5646094"/>
                    <a:pt x="2383552" y="5651043"/>
                  </a:cubicBezTo>
                  <a:cubicBezTo>
                    <a:pt x="2383552" y="5655992"/>
                    <a:pt x="2379519" y="5660004"/>
                    <a:pt x="2374565" y="5660004"/>
                  </a:cubicBezTo>
                  <a:cubicBezTo>
                    <a:pt x="2369615" y="5660004"/>
                    <a:pt x="2365602" y="5655992"/>
                    <a:pt x="2365602" y="5651043"/>
                  </a:cubicBezTo>
                  <a:cubicBezTo>
                    <a:pt x="2365602" y="5646094"/>
                    <a:pt x="2369615" y="5642083"/>
                    <a:pt x="2374565" y="5642083"/>
                  </a:cubicBezTo>
                  <a:close/>
                  <a:moveTo>
                    <a:pt x="2205848" y="5642083"/>
                  </a:moveTo>
                  <a:cubicBezTo>
                    <a:pt x="2210795" y="5642083"/>
                    <a:pt x="2214806" y="5646094"/>
                    <a:pt x="2214806" y="5651043"/>
                  </a:cubicBezTo>
                  <a:cubicBezTo>
                    <a:pt x="2214806" y="5655992"/>
                    <a:pt x="2210795" y="5660004"/>
                    <a:pt x="2205848" y="5660004"/>
                  </a:cubicBezTo>
                  <a:cubicBezTo>
                    <a:pt x="2200881" y="5660004"/>
                    <a:pt x="2196871" y="5655992"/>
                    <a:pt x="2196871" y="5651043"/>
                  </a:cubicBezTo>
                  <a:cubicBezTo>
                    <a:pt x="2196871" y="5646094"/>
                    <a:pt x="2200881" y="5642083"/>
                    <a:pt x="2205848" y="5642083"/>
                  </a:cubicBezTo>
                  <a:close/>
                  <a:moveTo>
                    <a:pt x="2037103" y="5642083"/>
                  </a:moveTo>
                  <a:cubicBezTo>
                    <a:pt x="2042058" y="5642083"/>
                    <a:pt x="2046056" y="5646094"/>
                    <a:pt x="2046056" y="5651043"/>
                  </a:cubicBezTo>
                  <a:cubicBezTo>
                    <a:pt x="2046056" y="5655992"/>
                    <a:pt x="2042058" y="5660004"/>
                    <a:pt x="2037103" y="5660004"/>
                  </a:cubicBezTo>
                  <a:cubicBezTo>
                    <a:pt x="2032159" y="5660004"/>
                    <a:pt x="2028157" y="5655992"/>
                    <a:pt x="2028157" y="5651043"/>
                  </a:cubicBezTo>
                  <a:cubicBezTo>
                    <a:pt x="2028157" y="5646094"/>
                    <a:pt x="2032159" y="5642083"/>
                    <a:pt x="2037103" y="5642083"/>
                  </a:cubicBezTo>
                  <a:close/>
                  <a:moveTo>
                    <a:pt x="1868383" y="5642083"/>
                  </a:moveTo>
                  <a:cubicBezTo>
                    <a:pt x="1873325" y="5642083"/>
                    <a:pt x="1877336" y="5646094"/>
                    <a:pt x="1877336" y="5651043"/>
                  </a:cubicBezTo>
                  <a:cubicBezTo>
                    <a:pt x="1877336" y="5655992"/>
                    <a:pt x="1873325" y="5660004"/>
                    <a:pt x="1868383" y="5660004"/>
                  </a:cubicBezTo>
                  <a:cubicBezTo>
                    <a:pt x="1863427" y="5660004"/>
                    <a:pt x="1859413" y="5655992"/>
                    <a:pt x="1859413" y="5651043"/>
                  </a:cubicBezTo>
                  <a:cubicBezTo>
                    <a:pt x="1859413" y="5646094"/>
                    <a:pt x="1863427" y="5642083"/>
                    <a:pt x="1868383" y="5642083"/>
                  </a:cubicBezTo>
                  <a:close/>
                  <a:moveTo>
                    <a:pt x="1699633" y="5642083"/>
                  </a:moveTo>
                  <a:cubicBezTo>
                    <a:pt x="1704589" y="5642083"/>
                    <a:pt x="1708600" y="5646094"/>
                    <a:pt x="1708600" y="5651043"/>
                  </a:cubicBezTo>
                  <a:cubicBezTo>
                    <a:pt x="1708600" y="5655992"/>
                    <a:pt x="1704589" y="5660004"/>
                    <a:pt x="1699633" y="5660004"/>
                  </a:cubicBezTo>
                  <a:cubicBezTo>
                    <a:pt x="1694685" y="5660004"/>
                    <a:pt x="1690671" y="5655992"/>
                    <a:pt x="1690671" y="5651043"/>
                  </a:cubicBezTo>
                  <a:cubicBezTo>
                    <a:pt x="1690671" y="5646094"/>
                    <a:pt x="1694685" y="5642083"/>
                    <a:pt x="1699633" y="5642083"/>
                  </a:cubicBezTo>
                  <a:close/>
                  <a:moveTo>
                    <a:pt x="1530893" y="5642083"/>
                  </a:moveTo>
                  <a:cubicBezTo>
                    <a:pt x="1535843" y="5642083"/>
                    <a:pt x="1539854" y="5646094"/>
                    <a:pt x="1539854" y="5651043"/>
                  </a:cubicBezTo>
                  <a:cubicBezTo>
                    <a:pt x="1539854" y="5655992"/>
                    <a:pt x="1535843" y="5660004"/>
                    <a:pt x="1530893" y="5660004"/>
                  </a:cubicBezTo>
                  <a:cubicBezTo>
                    <a:pt x="1525944" y="5660004"/>
                    <a:pt x="1521932" y="5655992"/>
                    <a:pt x="1521932" y="5651043"/>
                  </a:cubicBezTo>
                  <a:cubicBezTo>
                    <a:pt x="1521932" y="5646094"/>
                    <a:pt x="1525944" y="5642083"/>
                    <a:pt x="1530893" y="5642083"/>
                  </a:cubicBezTo>
                  <a:close/>
                  <a:moveTo>
                    <a:pt x="1362145" y="5642083"/>
                  </a:moveTo>
                  <a:cubicBezTo>
                    <a:pt x="1367097" y="5642083"/>
                    <a:pt x="1371106" y="5646094"/>
                    <a:pt x="1371106" y="5651043"/>
                  </a:cubicBezTo>
                  <a:cubicBezTo>
                    <a:pt x="1371106" y="5655992"/>
                    <a:pt x="1367097" y="5660004"/>
                    <a:pt x="1362145" y="5660004"/>
                  </a:cubicBezTo>
                  <a:cubicBezTo>
                    <a:pt x="1357196" y="5660004"/>
                    <a:pt x="1353185" y="5655992"/>
                    <a:pt x="1353185" y="5651043"/>
                  </a:cubicBezTo>
                  <a:cubicBezTo>
                    <a:pt x="1353185" y="5646094"/>
                    <a:pt x="1357196" y="5642083"/>
                    <a:pt x="1362145" y="5642083"/>
                  </a:cubicBezTo>
                  <a:close/>
                  <a:moveTo>
                    <a:pt x="1193404" y="5642083"/>
                  </a:moveTo>
                  <a:cubicBezTo>
                    <a:pt x="1198352" y="5642083"/>
                    <a:pt x="1202364" y="5646094"/>
                    <a:pt x="1202364" y="5651043"/>
                  </a:cubicBezTo>
                  <a:cubicBezTo>
                    <a:pt x="1202364" y="5655992"/>
                    <a:pt x="1198352" y="5660004"/>
                    <a:pt x="1193404" y="5660004"/>
                  </a:cubicBezTo>
                  <a:cubicBezTo>
                    <a:pt x="1188456" y="5660004"/>
                    <a:pt x="1184445" y="5655992"/>
                    <a:pt x="1184445" y="5651043"/>
                  </a:cubicBezTo>
                  <a:cubicBezTo>
                    <a:pt x="1184445" y="5646094"/>
                    <a:pt x="1188456" y="5642083"/>
                    <a:pt x="1193404" y="5642083"/>
                  </a:cubicBezTo>
                  <a:close/>
                  <a:moveTo>
                    <a:pt x="1024654" y="5642083"/>
                  </a:moveTo>
                  <a:cubicBezTo>
                    <a:pt x="1029606" y="5642083"/>
                    <a:pt x="1033619" y="5646094"/>
                    <a:pt x="1033619" y="5651043"/>
                  </a:cubicBezTo>
                  <a:cubicBezTo>
                    <a:pt x="1033619" y="5655992"/>
                    <a:pt x="1029606" y="5660004"/>
                    <a:pt x="1024654" y="5660004"/>
                  </a:cubicBezTo>
                  <a:cubicBezTo>
                    <a:pt x="1019706" y="5660004"/>
                    <a:pt x="1015695" y="5655992"/>
                    <a:pt x="1015695" y="5651043"/>
                  </a:cubicBezTo>
                  <a:cubicBezTo>
                    <a:pt x="1015695" y="5646094"/>
                    <a:pt x="1019706" y="5642083"/>
                    <a:pt x="1024654" y="5642083"/>
                  </a:cubicBezTo>
                  <a:close/>
                  <a:moveTo>
                    <a:pt x="855923" y="5642083"/>
                  </a:moveTo>
                  <a:cubicBezTo>
                    <a:pt x="860871" y="5642083"/>
                    <a:pt x="864883" y="5646094"/>
                    <a:pt x="864883" y="5651043"/>
                  </a:cubicBezTo>
                  <a:cubicBezTo>
                    <a:pt x="864883" y="5655992"/>
                    <a:pt x="860871" y="5660004"/>
                    <a:pt x="855923" y="5660004"/>
                  </a:cubicBezTo>
                  <a:cubicBezTo>
                    <a:pt x="850973" y="5660004"/>
                    <a:pt x="846962" y="5655992"/>
                    <a:pt x="846962" y="5651043"/>
                  </a:cubicBezTo>
                  <a:cubicBezTo>
                    <a:pt x="846962" y="5646094"/>
                    <a:pt x="850973" y="5642083"/>
                    <a:pt x="855923" y="5642083"/>
                  </a:cubicBezTo>
                  <a:close/>
                  <a:moveTo>
                    <a:pt x="687182" y="5642083"/>
                  </a:moveTo>
                  <a:cubicBezTo>
                    <a:pt x="692131" y="5642083"/>
                    <a:pt x="696143" y="5646094"/>
                    <a:pt x="696143" y="5651043"/>
                  </a:cubicBezTo>
                  <a:cubicBezTo>
                    <a:pt x="696143" y="5655992"/>
                    <a:pt x="692131" y="5660004"/>
                    <a:pt x="687182" y="5660004"/>
                  </a:cubicBezTo>
                  <a:cubicBezTo>
                    <a:pt x="682234" y="5660004"/>
                    <a:pt x="678223" y="5655992"/>
                    <a:pt x="678223" y="5651043"/>
                  </a:cubicBezTo>
                  <a:cubicBezTo>
                    <a:pt x="678223" y="5646094"/>
                    <a:pt x="682234" y="5642083"/>
                    <a:pt x="687182" y="5642083"/>
                  </a:cubicBezTo>
                  <a:close/>
                  <a:moveTo>
                    <a:pt x="518423" y="5642083"/>
                  </a:moveTo>
                  <a:cubicBezTo>
                    <a:pt x="523372" y="5642083"/>
                    <a:pt x="527384" y="5646094"/>
                    <a:pt x="527384" y="5651043"/>
                  </a:cubicBezTo>
                  <a:cubicBezTo>
                    <a:pt x="527384" y="5655992"/>
                    <a:pt x="523372" y="5660004"/>
                    <a:pt x="518423" y="5660004"/>
                  </a:cubicBezTo>
                  <a:cubicBezTo>
                    <a:pt x="513475" y="5660004"/>
                    <a:pt x="509463" y="5655992"/>
                    <a:pt x="509463" y="5651043"/>
                  </a:cubicBezTo>
                  <a:cubicBezTo>
                    <a:pt x="509463" y="5646094"/>
                    <a:pt x="513475" y="5642083"/>
                    <a:pt x="518423" y="5642083"/>
                  </a:cubicBezTo>
                  <a:close/>
                  <a:moveTo>
                    <a:pt x="349684" y="5642083"/>
                  </a:moveTo>
                  <a:cubicBezTo>
                    <a:pt x="354633" y="5642083"/>
                    <a:pt x="358645" y="5646094"/>
                    <a:pt x="358645" y="5651043"/>
                  </a:cubicBezTo>
                  <a:cubicBezTo>
                    <a:pt x="358645" y="5655992"/>
                    <a:pt x="354633" y="5660004"/>
                    <a:pt x="349684" y="5660004"/>
                  </a:cubicBezTo>
                  <a:cubicBezTo>
                    <a:pt x="344736" y="5660004"/>
                    <a:pt x="340724" y="5655992"/>
                    <a:pt x="340724" y="5651043"/>
                  </a:cubicBezTo>
                  <a:cubicBezTo>
                    <a:pt x="340724" y="5646094"/>
                    <a:pt x="344736" y="5642083"/>
                    <a:pt x="349684" y="5642083"/>
                  </a:cubicBezTo>
                  <a:close/>
                  <a:moveTo>
                    <a:pt x="179365" y="5642083"/>
                  </a:moveTo>
                  <a:cubicBezTo>
                    <a:pt x="184314" y="5642083"/>
                    <a:pt x="188326" y="5646094"/>
                    <a:pt x="188326" y="5651043"/>
                  </a:cubicBezTo>
                  <a:cubicBezTo>
                    <a:pt x="188326" y="5655992"/>
                    <a:pt x="184314" y="5660004"/>
                    <a:pt x="179365" y="5660004"/>
                  </a:cubicBezTo>
                  <a:cubicBezTo>
                    <a:pt x="174417" y="5660004"/>
                    <a:pt x="170405" y="5655992"/>
                    <a:pt x="170405" y="5651043"/>
                  </a:cubicBezTo>
                  <a:cubicBezTo>
                    <a:pt x="170405" y="5646094"/>
                    <a:pt x="174417" y="5642083"/>
                    <a:pt x="179365" y="5642083"/>
                  </a:cubicBezTo>
                  <a:close/>
                  <a:moveTo>
                    <a:pt x="9047" y="5642083"/>
                  </a:moveTo>
                  <a:cubicBezTo>
                    <a:pt x="13995" y="5642083"/>
                    <a:pt x="18007" y="5646094"/>
                    <a:pt x="18007" y="5651043"/>
                  </a:cubicBezTo>
                  <a:cubicBezTo>
                    <a:pt x="18007" y="5655992"/>
                    <a:pt x="13995" y="5660004"/>
                    <a:pt x="9047" y="5660004"/>
                  </a:cubicBezTo>
                  <a:cubicBezTo>
                    <a:pt x="4098" y="5660004"/>
                    <a:pt x="87" y="5655992"/>
                    <a:pt x="87" y="5651043"/>
                  </a:cubicBezTo>
                  <a:cubicBezTo>
                    <a:pt x="87" y="5646094"/>
                    <a:pt x="4098" y="5642083"/>
                    <a:pt x="9047" y="5642083"/>
                  </a:cubicBezTo>
                  <a:close/>
                  <a:moveTo>
                    <a:pt x="6933679" y="5471102"/>
                  </a:moveTo>
                  <a:cubicBezTo>
                    <a:pt x="6938628" y="5471102"/>
                    <a:pt x="6942639" y="5475113"/>
                    <a:pt x="6942639" y="5480062"/>
                  </a:cubicBezTo>
                  <a:cubicBezTo>
                    <a:pt x="6942639" y="5485011"/>
                    <a:pt x="6938628" y="5489023"/>
                    <a:pt x="6933679" y="5489023"/>
                  </a:cubicBezTo>
                  <a:cubicBezTo>
                    <a:pt x="6928730" y="5489023"/>
                    <a:pt x="6924718" y="5485011"/>
                    <a:pt x="6924718" y="5480062"/>
                  </a:cubicBezTo>
                  <a:cubicBezTo>
                    <a:pt x="6924718" y="5475113"/>
                    <a:pt x="6928730" y="5471102"/>
                    <a:pt x="6933679" y="5471102"/>
                  </a:cubicBezTo>
                  <a:close/>
                  <a:moveTo>
                    <a:pt x="6763357" y="5471102"/>
                  </a:moveTo>
                  <a:cubicBezTo>
                    <a:pt x="6768306" y="5471102"/>
                    <a:pt x="6772318" y="5475113"/>
                    <a:pt x="6772318" y="5480062"/>
                  </a:cubicBezTo>
                  <a:cubicBezTo>
                    <a:pt x="6772318" y="5485011"/>
                    <a:pt x="6768306" y="5489023"/>
                    <a:pt x="6763357" y="5489023"/>
                  </a:cubicBezTo>
                  <a:cubicBezTo>
                    <a:pt x="6758408" y="5489023"/>
                    <a:pt x="6754397" y="5485011"/>
                    <a:pt x="6754397" y="5480062"/>
                  </a:cubicBezTo>
                  <a:cubicBezTo>
                    <a:pt x="6754397" y="5475113"/>
                    <a:pt x="6758408" y="5471102"/>
                    <a:pt x="6763357" y="5471102"/>
                  </a:cubicBezTo>
                  <a:close/>
                  <a:moveTo>
                    <a:pt x="6593035" y="5471102"/>
                  </a:moveTo>
                  <a:cubicBezTo>
                    <a:pt x="6597984" y="5471102"/>
                    <a:pt x="6601996" y="5475113"/>
                    <a:pt x="6601996" y="5480062"/>
                  </a:cubicBezTo>
                  <a:cubicBezTo>
                    <a:pt x="6601996" y="5485011"/>
                    <a:pt x="6597984" y="5489023"/>
                    <a:pt x="6593035" y="5489023"/>
                  </a:cubicBezTo>
                  <a:cubicBezTo>
                    <a:pt x="6588086" y="5489023"/>
                    <a:pt x="6584075" y="5485011"/>
                    <a:pt x="6584075" y="5480062"/>
                  </a:cubicBezTo>
                  <a:cubicBezTo>
                    <a:pt x="6584075" y="5475113"/>
                    <a:pt x="6588086" y="5471102"/>
                    <a:pt x="6593035" y="5471102"/>
                  </a:cubicBezTo>
                  <a:close/>
                  <a:moveTo>
                    <a:pt x="6424294" y="5471102"/>
                  </a:moveTo>
                  <a:cubicBezTo>
                    <a:pt x="6429243" y="5471102"/>
                    <a:pt x="6433255" y="5475113"/>
                    <a:pt x="6433255" y="5480062"/>
                  </a:cubicBezTo>
                  <a:cubicBezTo>
                    <a:pt x="6433255" y="5485011"/>
                    <a:pt x="6429243" y="5489023"/>
                    <a:pt x="6424294" y="5489023"/>
                  </a:cubicBezTo>
                  <a:cubicBezTo>
                    <a:pt x="6419345" y="5489023"/>
                    <a:pt x="6415334" y="5485011"/>
                    <a:pt x="6415334" y="5480062"/>
                  </a:cubicBezTo>
                  <a:cubicBezTo>
                    <a:pt x="6415334" y="5475113"/>
                    <a:pt x="6419345" y="5471102"/>
                    <a:pt x="6424294" y="5471102"/>
                  </a:cubicBezTo>
                  <a:close/>
                  <a:moveTo>
                    <a:pt x="6255553" y="5471102"/>
                  </a:moveTo>
                  <a:cubicBezTo>
                    <a:pt x="6260502" y="5471102"/>
                    <a:pt x="6264514" y="5475113"/>
                    <a:pt x="6264514" y="5480062"/>
                  </a:cubicBezTo>
                  <a:cubicBezTo>
                    <a:pt x="6264514" y="5485011"/>
                    <a:pt x="6260502" y="5489023"/>
                    <a:pt x="6255553" y="5489023"/>
                  </a:cubicBezTo>
                  <a:cubicBezTo>
                    <a:pt x="6250604" y="5489023"/>
                    <a:pt x="6246593" y="5485011"/>
                    <a:pt x="6246593" y="5480062"/>
                  </a:cubicBezTo>
                  <a:cubicBezTo>
                    <a:pt x="6246593" y="5475113"/>
                    <a:pt x="6250604" y="5471102"/>
                    <a:pt x="6255553" y="5471102"/>
                  </a:cubicBezTo>
                  <a:close/>
                  <a:moveTo>
                    <a:pt x="6086811" y="5471102"/>
                  </a:moveTo>
                  <a:cubicBezTo>
                    <a:pt x="6091760" y="5471102"/>
                    <a:pt x="6095772" y="5475113"/>
                    <a:pt x="6095772" y="5480062"/>
                  </a:cubicBezTo>
                  <a:cubicBezTo>
                    <a:pt x="6095772" y="5485011"/>
                    <a:pt x="6091760" y="5489023"/>
                    <a:pt x="6086811" y="5489023"/>
                  </a:cubicBezTo>
                  <a:cubicBezTo>
                    <a:pt x="6081862" y="5489023"/>
                    <a:pt x="6077851" y="5485011"/>
                    <a:pt x="6077851" y="5480062"/>
                  </a:cubicBezTo>
                  <a:cubicBezTo>
                    <a:pt x="6077851" y="5475113"/>
                    <a:pt x="6081862" y="5471102"/>
                    <a:pt x="6086811" y="5471102"/>
                  </a:cubicBezTo>
                  <a:close/>
                  <a:moveTo>
                    <a:pt x="5918069" y="5471102"/>
                  </a:moveTo>
                  <a:cubicBezTo>
                    <a:pt x="5923018" y="5471102"/>
                    <a:pt x="5927030" y="5475113"/>
                    <a:pt x="5927030" y="5480062"/>
                  </a:cubicBezTo>
                  <a:cubicBezTo>
                    <a:pt x="5927030" y="5485011"/>
                    <a:pt x="5923018" y="5489023"/>
                    <a:pt x="5918069" y="5489023"/>
                  </a:cubicBezTo>
                  <a:cubicBezTo>
                    <a:pt x="5913120" y="5489023"/>
                    <a:pt x="5909109" y="5485011"/>
                    <a:pt x="5909109" y="5480062"/>
                  </a:cubicBezTo>
                  <a:cubicBezTo>
                    <a:pt x="5909109" y="5475113"/>
                    <a:pt x="5913120" y="5471102"/>
                    <a:pt x="5918069" y="5471102"/>
                  </a:cubicBezTo>
                  <a:close/>
                  <a:moveTo>
                    <a:pt x="5749328" y="5471102"/>
                  </a:moveTo>
                  <a:cubicBezTo>
                    <a:pt x="5754277" y="5471102"/>
                    <a:pt x="5758289" y="5475113"/>
                    <a:pt x="5758289" y="5480062"/>
                  </a:cubicBezTo>
                  <a:cubicBezTo>
                    <a:pt x="5758289" y="5485011"/>
                    <a:pt x="5754277" y="5489023"/>
                    <a:pt x="5749328" y="5489023"/>
                  </a:cubicBezTo>
                  <a:cubicBezTo>
                    <a:pt x="5744379" y="5489023"/>
                    <a:pt x="5740368" y="5485011"/>
                    <a:pt x="5740368" y="5480062"/>
                  </a:cubicBezTo>
                  <a:cubicBezTo>
                    <a:pt x="5740368" y="5475113"/>
                    <a:pt x="5744379" y="5471102"/>
                    <a:pt x="5749328" y="5471102"/>
                  </a:cubicBezTo>
                  <a:close/>
                  <a:moveTo>
                    <a:pt x="5580586" y="5471102"/>
                  </a:moveTo>
                  <a:cubicBezTo>
                    <a:pt x="5585535" y="5471102"/>
                    <a:pt x="5589547" y="5475113"/>
                    <a:pt x="5589547" y="5480062"/>
                  </a:cubicBezTo>
                  <a:cubicBezTo>
                    <a:pt x="5589547" y="5485011"/>
                    <a:pt x="5585535" y="5489023"/>
                    <a:pt x="5580586" y="5489023"/>
                  </a:cubicBezTo>
                  <a:cubicBezTo>
                    <a:pt x="5575637" y="5489023"/>
                    <a:pt x="5571626" y="5485011"/>
                    <a:pt x="5571626" y="5480062"/>
                  </a:cubicBezTo>
                  <a:cubicBezTo>
                    <a:pt x="5571626" y="5475113"/>
                    <a:pt x="5575637" y="5471102"/>
                    <a:pt x="5580586" y="5471102"/>
                  </a:cubicBezTo>
                  <a:close/>
                  <a:moveTo>
                    <a:pt x="5411845" y="5471102"/>
                  </a:moveTo>
                  <a:cubicBezTo>
                    <a:pt x="5416794" y="5471102"/>
                    <a:pt x="5420806" y="5475113"/>
                    <a:pt x="5420806" y="5480062"/>
                  </a:cubicBezTo>
                  <a:cubicBezTo>
                    <a:pt x="5420806" y="5485011"/>
                    <a:pt x="5416794" y="5489023"/>
                    <a:pt x="5411845" y="5489023"/>
                  </a:cubicBezTo>
                  <a:cubicBezTo>
                    <a:pt x="5406896" y="5489023"/>
                    <a:pt x="5402885" y="5485011"/>
                    <a:pt x="5402885" y="5480062"/>
                  </a:cubicBezTo>
                  <a:cubicBezTo>
                    <a:pt x="5402885" y="5475113"/>
                    <a:pt x="5406896" y="5471102"/>
                    <a:pt x="5411845" y="5471102"/>
                  </a:cubicBezTo>
                  <a:close/>
                  <a:moveTo>
                    <a:pt x="5243103" y="5471102"/>
                  </a:moveTo>
                  <a:cubicBezTo>
                    <a:pt x="5248052" y="5471102"/>
                    <a:pt x="5252064" y="5475113"/>
                    <a:pt x="5252064" y="5480062"/>
                  </a:cubicBezTo>
                  <a:cubicBezTo>
                    <a:pt x="5252064" y="5485011"/>
                    <a:pt x="5248052" y="5489023"/>
                    <a:pt x="5243103" y="5489023"/>
                  </a:cubicBezTo>
                  <a:cubicBezTo>
                    <a:pt x="5238154" y="5489023"/>
                    <a:pt x="5234143" y="5485011"/>
                    <a:pt x="5234143" y="5480062"/>
                  </a:cubicBezTo>
                  <a:cubicBezTo>
                    <a:pt x="5234143" y="5475113"/>
                    <a:pt x="5238154" y="5471102"/>
                    <a:pt x="5243103" y="5471102"/>
                  </a:cubicBezTo>
                  <a:close/>
                  <a:moveTo>
                    <a:pt x="5074362" y="5471102"/>
                  </a:moveTo>
                  <a:cubicBezTo>
                    <a:pt x="5079311" y="5471102"/>
                    <a:pt x="5083323" y="5475113"/>
                    <a:pt x="5083323" y="5480062"/>
                  </a:cubicBezTo>
                  <a:cubicBezTo>
                    <a:pt x="5083323" y="5485011"/>
                    <a:pt x="5079311" y="5489023"/>
                    <a:pt x="5074362" y="5489023"/>
                  </a:cubicBezTo>
                  <a:cubicBezTo>
                    <a:pt x="5069413" y="5489023"/>
                    <a:pt x="5065402" y="5485011"/>
                    <a:pt x="5065402" y="5480062"/>
                  </a:cubicBezTo>
                  <a:cubicBezTo>
                    <a:pt x="5065402" y="5475113"/>
                    <a:pt x="5069413" y="5471102"/>
                    <a:pt x="5074362" y="5471102"/>
                  </a:cubicBezTo>
                  <a:close/>
                  <a:moveTo>
                    <a:pt x="4905620" y="5471102"/>
                  </a:moveTo>
                  <a:cubicBezTo>
                    <a:pt x="4910569" y="5471102"/>
                    <a:pt x="4914581" y="5475113"/>
                    <a:pt x="4914581" y="5480062"/>
                  </a:cubicBezTo>
                  <a:cubicBezTo>
                    <a:pt x="4914581" y="5485011"/>
                    <a:pt x="4910569" y="5489023"/>
                    <a:pt x="4905620" y="5489023"/>
                  </a:cubicBezTo>
                  <a:cubicBezTo>
                    <a:pt x="4900671" y="5489023"/>
                    <a:pt x="4896660" y="5485011"/>
                    <a:pt x="4896660" y="5480062"/>
                  </a:cubicBezTo>
                  <a:cubicBezTo>
                    <a:pt x="4896660" y="5475113"/>
                    <a:pt x="4900671" y="5471102"/>
                    <a:pt x="4905620" y="5471102"/>
                  </a:cubicBezTo>
                  <a:close/>
                  <a:moveTo>
                    <a:pt x="4736878" y="5471102"/>
                  </a:moveTo>
                  <a:cubicBezTo>
                    <a:pt x="4741827" y="5471102"/>
                    <a:pt x="4745839" y="5475113"/>
                    <a:pt x="4745839" y="5480062"/>
                  </a:cubicBezTo>
                  <a:cubicBezTo>
                    <a:pt x="4745839" y="5485011"/>
                    <a:pt x="4741827" y="5489023"/>
                    <a:pt x="4736878" y="5489023"/>
                  </a:cubicBezTo>
                  <a:cubicBezTo>
                    <a:pt x="4731929" y="5489023"/>
                    <a:pt x="4727918" y="5485011"/>
                    <a:pt x="4727918" y="5480062"/>
                  </a:cubicBezTo>
                  <a:cubicBezTo>
                    <a:pt x="4727918" y="5475113"/>
                    <a:pt x="4731929" y="5471102"/>
                    <a:pt x="4736878" y="5471102"/>
                  </a:cubicBezTo>
                  <a:close/>
                  <a:moveTo>
                    <a:pt x="4568137" y="5471102"/>
                  </a:moveTo>
                  <a:cubicBezTo>
                    <a:pt x="4573086" y="5471102"/>
                    <a:pt x="4577098" y="5475113"/>
                    <a:pt x="4577098" y="5480062"/>
                  </a:cubicBezTo>
                  <a:cubicBezTo>
                    <a:pt x="4577098" y="5485011"/>
                    <a:pt x="4573086" y="5489023"/>
                    <a:pt x="4568137" y="5489023"/>
                  </a:cubicBezTo>
                  <a:cubicBezTo>
                    <a:pt x="4563188" y="5489023"/>
                    <a:pt x="4559177" y="5485011"/>
                    <a:pt x="4559177" y="5480062"/>
                  </a:cubicBezTo>
                  <a:cubicBezTo>
                    <a:pt x="4559177" y="5475113"/>
                    <a:pt x="4563188" y="5471102"/>
                    <a:pt x="4568137" y="5471102"/>
                  </a:cubicBezTo>
                  <a:close/>
                  <a:moveTo>
                    <a:pt x="4399396" y="5471102"/>
                  </a:moveTo>
                  <a:cubicBezTo>
                    <a:pt x="4404345" y="5471102"/>
                    <a:pt x="4408357" y="5475113"/>
                    <a:pt x="4408357" y="5480062"/>
                  </a:cubicBezTo>
                  <a:cubicBezTo>
                    <a:pt x="4408357" y="5485011"/>
                    <a:pt x="4404345" y="5489023"/>
                    <a:pt x="4399396" y="5489023"/>
                  </a:cubicBezTo>
                  <a:cubicBezTo>
                    <a:pt x="4394447" y="5489023"/>
                    <a:pt x="4390436" y="5485011"/>
                    <a:pt x="4390436" y="5480062"/>
                  </a:cubicBezTo>
                  <a:cubicBezTo>
                    <a:pt x="4390436" y="5475113"/>
                    <a:pt x="4394447" y="5471102"/>
                    <a:pt x="4399396" y="5471102"/>
                  </a:cubicBezTo>
                  <a:close/>
                  <a:moveTo>
                    <a:pt x="4230654" y="5471102"/>
                  </a:moveTo>
                  <a:cubicBezTo>
                    <a:pt x="4235603" y="5471102"/>
                    <a:pt x="4239615" y="5475113"/>
                    <a:pt x="4239615" y="5480062"/>
                  </a:cubicBezTo>
                  <a:cubicBezTo>
                    <a:pt x="4239615" y="5485011"/>
                    <a:pt x="4235603" y="5489023"/>
                    <a:pt x="4230654" y="5489023"/>
                  </a:cubicBezTo>
                  <a:cubicBezTo>
                    <a:pt x="4225705" y="5489023"/>
                    <a:pt x="4221694" y="5485011"/>
                    <a:pt x="4221694" y="5480062"/>
                  </a:cubicBezTo>
                  <a:cubicBezTo>
                    <a:pt x="4221694" y="5475113"/>
                    <a:pt x="4225705" y="5471102"/>
                    <a:pt x="4230654" y="5471102"/>
                  </a:cubicBezTo>
                  <a:close/>
                  <a:moveTo>
                    <a:pt x="4061912" y="5471102"/>
                  </a:moveTo>
                  <a:cubicBezTo>
                    <a:pt x="4066861" y="5471102"/>
                    <a:pt x="4070873" y="5475113"/>
                    <a:pt x="4070873" y="5480062"/>
                  </a:cubicBezTo>
                  <a:cubicBezTo>
                    <a:pt x="4070873" y="5485011"/>
                    <a:pt x="4066861" y="5489023"/>
                    <a:pt x="4061912" y="5489023"/>
                  </a:cubicBezTo>
                  <a:cubicBezTo>
                    <a:pt x="4056963" y="5489023"/>
                    <a:pt x="4052952" y="5485011"/>
                    <a:pt x="4052952" y="5480062"/>
                  </a:cubicBezTo>
                  <a:cubicBezTo>
                    <a:pt x="4052952" y="5475113"/>
                    <a:pt x="4056963" y="5471102"/>
                    <a:pt x="4061912" y="5471102"/>
                  </a:cubicBezTo>
                  <a:close/>
                  <a:moveTo>
                    <a:pt x="3893170" y="5471102"/>
                  </a:moveTo>
                  <a:cubicBezTo>
                    <a:pt x="3898119" y="5471102"/>
                    <a:pt x="3902131" y="5475113"/>
                    <a:pt x="3902131" y="5480062"/>
                  </a:cubicBezTo>
                  <a:cubicBezTo>
                    <a:pt x="3902131" y="5485011"/>
                    <a:pt x="3898119" y="5489023"/>
                    <a:pt x="3893170" y="5489023"/>
                  </a:cubicBezTo>
                  <a:cubicBezTo>
                    <a:pt x="3888221" y="5489023"/>
                    <a:pt x="3884210" y="5485011"/>
                    <a:pt x="3884210" y="5480062"/>
                  </a:cubicBezTo>
                  <a:cubicBezTo>
                    <a:pt x="3884210" y="5475113"/>
                    <a:pt x="3888221" y="5471102"/>
                    <a:pt x="3893170" y="5471102"/>
                  </a:cubicBezTo>
                  <a:close/>
                  <a:moveTo>
                    <a:pt x="3724429" y="5471102"/>
                  </a:moveTo>
                  <a:cubicBezTo>
                    <a:pt x="3729378" y="5471102"/>
                    <a:pt x="3733390" y="5475113"/>
                    <a:pt x="3733390" y="5480062"/>
                  </a:cubicBezTo>
                  <a:cubicBezTo>
                    <a:pt x="3733390" y="5485011"/>
                    <a:pt x="3729378" y="5489023"/>
                    <a:pt x="3724429" y="5489023"/>
                  </a:cubicBezTo>
                  <a:cubicBezTo>
                    <a:pt x="3719481" y="5489023"/>
                    <a:pt x="3715469" y="5485011"/>
                    <a:pt x="3715469" y="5480062"/>
                  </a:cubicBezTo>
                  <a:cubicBezTo>
                    <a:pt x="3715469" y="5475113"/>
                    <a:pt x="3719481" y="5471102"/>
                    <a:pt x="3724429" y="5471102"/>
                  </a:cubicBezTo>
                  <a:close/>
                  <a:moveTo>
                    <a:pt x="3555688" y="5471102"/>
                  </a:moveTo>
                  <a:cubicBezTo>
                    <a:pt x="3560637" y="5471102"/>
                    <a:pt x="3564649" y="5475113"/>
                    <a:pt x="3564649" y="5480062"/>
                  </a:cubicBezTo>
                  <a:cubicBezTo>
                    <a:pt x="3564649" y="5485011"/>
                    <a:pt x="3560637" y="5489023"/>
                    <a:pt x="3555688" y="5489023"/>
                  </a:cubicBezTo>
                  <a:cubicBezTo>
                    <a:pt x="3550740" y="5489023"/>
                    <a:pt x="3546728" y="5485011"/>
                    <a:pt x="3546728" y="5480062"/>
                  </a:cubicBezTo>
                  <a:cubicBezTo>
                    <a:pt x="3546728" y="5475113"/>
                    <a:pt x="3550740" y="5471102"/>
                    <a:pt x="3555688" y="5471102"/>
                  </a:cubicBezTo>
                  <a:close/>
                  <a:moveTo>
                    <a:pt x="3387014" y="5471102"/>
                  </a:moveTo>
                  <a:cubicBezTo>
                    <a:pt x="3391962" y="5471102"/>
                    <a:pt x="3395974" y="5475113"/>
                    <a:pt x="3395974" y="5480062"/>
                  </a:cubicBezTo>
                  <a:cubicBezTo>
                    <a:pt x="3395974" y="5485011"/>
                    <a:pt x="3391962" y="5489023"/>
                    <a:pt x="3387014" y="5489023"/>
                  </a:cubicBezTo>
                  <a:cubicBezTo>
                    <a:pt x="3382032" y="5489023"/>
                    <a:pt x="3378020" y="5485011"/>
                    <a:pt x="3378020" y="5480062"/>
                  </a:cubicBezTo>
                  <a:cubicBezTo>
                    <a:pt x="3378020" y="5475113"/>
                    <a:pt x="3382032" y="5471102"/>
                    <a:pt x="3387014" y="5471102"/>
                  </a:cubicBezTo>
                  <a:close/>
                  <a:moveTo>
                    <a:pt x="3218256" y="5471102"/>
                  </a:moveTo>
                  <a:cubicBezTo>
                    <a:pt x="3223217" y="5471102"/>
                    <a:pt x="3227229" y="5475113"/>
                    <a:pt x="3227229" y="5480062"/>
                  </a:cubicBezTo>
                  <a:cubicBezTo>
                    <a:pt x="3227229" y="5485011"/>
                    <a:pt x="3223217" y="5489023"/>
                    <a:pt x="3218256" y="5489023"/>
                  </a:cubicBezTo>
                  <a:cubicBezTo>
                    <a:pt x="3213305" y="5489023"/>
                    <a:pt x="3209300" y="5485011"/>
                    <a:pt x="3209300" y="5480062"/>
                  </a:cubicBezTo>
                  <a:cubicBezTo>
                    <a:pt x="3209300" y="5475113"/>
                    <a:pt x="3213305" y="5471102"/>
                    <a:pt x="3218256" y="5471102"/>
                  </a:cubicBezTo>
                  <a:close/>
                  <a:moveTo>
                    <a:pt x="3049546" y="5471102"/>
                  </a:moveTo>
                  <a:cubicBezTo>
                    <a:pt x="3054480" y="5471102"/>
                    <a:pt x="3058493" y="5475113"/>
                    <a:pt x="3058493" y="5480062"/>
                  </a:cubicBezTo>
                  <a:cubicBezTo>
                    <a:pt x="3058493" y="5485011"/>
                    <a:pt x="3054480" y="5489023"/>
                    <a:pt x="3049546" y="5489023"/>
                  </a:cubicBezTo>
                  <a:cubicBezTo>
                    <a:pt x="3044583" y="5489023"/>
                    <a:pt x="3040573" y="5485011"/>
                    <a:pt x="3040573" y="5480062"/>
                  </a:cubicBezTo>
                  <a:cubicBezTo>
                    <a:pt x="3040573" y="5475113"/>
                    <a:pt x="3044583" y="5471102"/>
                    <a:pt x="3049546" y="5471102"/>
                  </a:cubicBezTo>
                  <a:close/>
                  <a:moveTo>
                    <a:pt x="2880810" y="5471102"/>
                  </a:moveTo>
                  <a:cubicBezTo>
                    <a:pt x="2885755" y="5471102"/>
                    <a:pt x="2889766" y="5475113"/>
                    <a:pt x="2889766" y="5480062"/>
                  </a:cubicBezTo>
                  <a:cubicBezTo>
                    <a:pt x="2889766" y="5485011"/>
                    <a:pt x="2885755" y="5489023"/>
                    <a:pt x="2880810" y="5489023"/>
                  </a:cubicBezTo>
                  <a:cubicBezTo>
                    <a:pt x="2875858" y="5489023"/>
                    <a:pt x="2871847" y="5485011"/>
                    <a:pt x="2871847" y="5480062"/>
                  </a:cubicBezTo>
                  <a:cubicBezTo>
                    <a:pt x="2871847" y="5475113"/>
                    <a:pt x="2875858" y="5471102"/>
                    <a:pt x="2880810" y="5471102"/>
                  </a:cubicBezTo>
                  <a:close/>
                  <a:moveTo>
                    <a:pt x="2712051" y="5471102"/>
                  </a:moveTo>
                  <a:cubicBezTo>
                    <a:pt x="2717023" y="5471102"/>
                    <a:pt x="2721035" y="5475113"/>
                    <a:pt x="2721035" y="5480062"/>
                  </a:cubicBezTo>
                  <a:cubicBezTo>
                    <a:pt x="2721035" y="5485011"/>
                    <a:pt x="2717023" y="5489023"/>
                    <a:pt x="2712051" y="5489023"/>
                  </a:cubicBezTo>
                  <a:cubicBezTo>
                    <a:pt x="2707106" y="5489023"/>
                    <a:pt x="2703095" y="5485011"/>
                    <a:pt x="2703095" y="5480062"/>
                  </a:cubicBezTo>
                  <a:cubicBezTo>
                    <a:pt x="2703095" y="5475113"/>
                    <a:pt x="2707106" y="5471102"/>
                    <a:pt x="2712051" y="5471102"/>
                  </a:cubicBezTo>
                  <a:close/>
                  <a:moveTo>
                    <a:pt x="2543346" y="5471102"/>
                  </a:moveTo>
                  <a:cubicBezTo>
                    <a:pt x="2548294" y="5471102"/>
                    <a:pt x="2552304" y="5475113"/>
                    <a:pt x="2552304" y="5480062"/>
                  </a:cubicBezTo>
                  <a:cubicBezTo>
                    <a:pt x="2552304" y="5485011"/>
                    <a:pt x="2548294" y="5489023"/>
                    <a:pt x="2543346" y="5489023"/>
                  </a:cubicBezTo>
                  <a:cubicBezTo>
                    <a:pt x="2538392" y="5489023"/>
                    <a:pt x="2534373" y="5485011"/>
                    <a:pt x="2534373" y="5480062"/>
                  </a:cubicBezTo>
                  <a:cubicBezTo>
                    <a:pt x="2534373" y="5475113"/>
                    <a:pt x="2538392" y="5471102"/>
                    <a:pt x="2543346" y="5471102"/>
                  </a:cubicBezTo>
                  <a:close/>
                  <a:moveTo>
                    <a:pt x="2374568" y="5471102"/>
                  </a:moveTo>
                  <a:cubicBezTo>
                    <a:pt x="2379524" y="5471102"/>
                    <a:pt x="2383557" y="5475113"/>
                    <a:pt x="2383557" y="5480062"/>
                  </a:cubicBezTo>
                  <a:cubicBezTo>
                    <a:pt x="2383557" y="5485011"/>
                    <a:pt x="2379524" y="5489023"/>
                    <a:pt x="2374568" y="5489023"/>
                  </a:cubicBezTo>
                  <a:cubicBezTo>
                    <a:pt x="2369619" y="5489023"/>
                    <a:pt x="2365605" y="5485011"/>
                    <a:pt x="2365605" y="5480062"/>
                  </a:cubicBezTo>
                  <a:cubicBezTo>
                    <a:pt x="2365605" y="5475113"/>
                    <a:pt x="2369619" y="5471102"/>
                    <a:pt x="2374568" y="5471102"/>
                  </a:cubicBezTo>
                  <a:close/>
                  <a:moveTo>
                    <a:pt x="2205853" y="5471102"/>
                  </a:moveTo>
                  <a:cubicBezTo>
                    <a:pt x="2210798" y="5471102"/>
                    <a:pt x="2214810" y="5475113"/>
                    <a:pt x="2214810" y="5480062"/>
                  </a:cubicBezTo>
                  <a:cubicBezTo>
                    <a:pt x="2214810" y="5485011"/>
                    <a:pt x="2210798" y="5489023"/>
                    <a:pt x="2205853" y="5489023"/>
                  </a:cubicBezTo>
                  <a:cubicBezTo>
                    <a:pt x="2200885" y="5489023"/>
                    <a:pt x="2196874" y="5485011"/>
                    <a:pt x="2196874" y="5480062"/>
                  </a:cubicBezTo>
                  <a:cubicBezTo>
                    <a:pt x="2196874" y="5475113"/>
                    <a:pt x="2200885" y="5471102"/>
                    <a:pt x="2205853" y="5471102"/>
                  </a:cubicBezTo>
                  <a:close/>
                  <a:moveTo>
                    <a:pt x="2037108" y="5471102"/>
                  </a:moveTo>
                  <a:cubicBezTo>
                    <a:pt x="2042063" y="5471102"/>
                    <a:pt x="2046059" y="5475113"/>
                    <a:pt x="2046059" y="5480062"/>
                  </a:cubicBezTo>
                  <a:cubicBezTo>
                    <a:pt x="2046059" y="5485011"/>
                    <a:pt x="2042063" y="5489023"/>
                    <a:pt x="2037108" y="5489023"/>
                  </a:cubicBezTo>
                  <a:cubicBezTo>
                    <a:pt x="2032163" y="5489023"/>
                    <a:pt x="2028161" y="5485011"/>
                    <a:pt x="2028161" y="5480062"/>
                  </a:cubicBezTo>
                  <a:cubicBezTo>
                    <a:pt x="2028161" y="5475113"/>
                    <a:pt x="2032163" y="5471102"/>
                    <a:pt x="2037108" y="5471102"/>
                  </a:cubicBezTo>
                  <a:close/>
                  <a:moveTo>
                    <a:pt x="1868388" y="5471102"/>
                  </a:moveTo>
                  <a:cubicBezTo>
                    <a:pt x="1873331" y="5471102"/>
                    <a:pt x="1877341" y="5475113"/>
                    <a:pt x="1877341" y="5480062"/>
                  </a:cubicBezTo>
                  <a:cubicBezTo>
                    <a:pt x="1877341" y="5485011"/>
                    <a:pt x="1873331" y="5489023"/>
                    <a:pt x="1868388" y="5489023"/>
                  </a:cubicBezTo>
                  <a:cubicBezTo>
                    <a:pt x="1863433" y="5489023"/>
                    <a:pt x="1859417" y="5485011"/>
                    <a:pt x="1859417" y="5480062"/>
                  </a:cubicBezTo>
                  <a:cubicBezTo>
                    <a:pt x="1859417" y="5475113"/>
                    <a:pt x="1863433" y="5471102"/>
                    <a:pt x="1868388" y="5471102"/>
                  </a:cubicBezTo>
                  <a:close/>
                  <a:moveTo>
                    <a:pt x="1699637" y="5471102"/>
                  </a:moveTo>
                  <a:cubicBezTo>
                    <a:pt x="1704594" y="5471102"/>
                    <a:pt x="1708605" y="5475113"/>
                    <a:pt x="1708605" y="5480062"/>
                  </a:cubicBezTo>
                  <a:cubicBezTo>
                    <a:pt x="1708605" y="5485011"/>
                    <a:pt x="1704594" y="5489023"/>
                    <a:pt x="1699637" y="5489023"/>
                  </a:cubicBezTo>
                  <a:cubicBezTo>
                    <a:pt x="1694690" y="5489023"/>
                    <a:pt x="1690676" y="5485011"/>
                    <a:pt x="1690676" y="5480062"/>
                  </a:cubicBezTo>
                  <a:cubicBezTo>
                    <a:pt x="1690676" y="5475113"/>
                    <a:pt x="1694690" y="5471102"/>
                    <a:pt x="1699637" y="5471102"/>
                  </a:cubicBezTo>
                  <a:close/>
                  <a:moveTo>
                    <a:pt x="1530898" y="5471102"/>
                  </a:moveTo>
                  <a:cubicBezTo>
                    <a:pt x="1535848" y="5471102"/>
                    <a:pt x="1539859" y="5475113"/>
                    <a:pt x="1539859" y="5480062"/>
                  </a:cubicBezTo>
                  <a:cubicBezTo>
                    <a:pt x="1539859" y="5485011"/>
                    <a:pt x="1535848" y="5489023"/>
                    <a:pt x="1530898" y="5489023"/>
                  </a:cubicBezTo>
                  <a:cubicBezTo>
                    <a:pt x="1525948" y="5489023"/>
                    <a:pt x="1521936" y="5485011"/>
                    <a:pt x="1521936" y="5480062"/>
                  </a:cubicBezTo>
                  <a:cubicBezTo>
                    <a:pt x="1521936" y="5475113"/>
                    <a:pt x="1525948" y="5471102"/>
                    <a:pt x="1530898" y="5471102"/>
                  </a:cubicBezTo>
                  <a:close/>
                  <a:moveTo>
                    <a:pt x="1362150" y="5471102"/>
                  </a:moveTo>
                  <a:cubicBezTo>
                    <a:pt x="1367102" y="5471102"/>
                    <a:pt x="1371111" y="5475113"/>
                    <a:pt x="1371111" y="5480062"/>
                  </a:cubicBezTo>
                  <a:cubicBezTo>
                    <a:pt x="1371111" y="5485011"/>
                    <a:pt x="1367102" y="5489023"/>
                    <a:pt x="1362150" y="5489023"/>
                  </a:cubicBezTo>
                  <a:cubicBezTo>
                    <a:pt x="1357201" y="5489023"/>
                    <a:pt x="1353189" y="5485011"/>
                    <a:pt x="1353189" y="5480062"/>
                  </a:cubicBezTo>
                  <a:cubicBezTo>
                    <a:pt x="1353189" y="5475113"/>
                    <a:pt x="1357201" y="5471102"/>
                    <a:pt x="1362150" y="5471102"/>
                  </a:cubicBezTo>
                  <a:close/>
                  <a:moveTo>
                    <a:pt x="1193408" y="5471102"/>
                  </a:moveTo>
                  <a:cubicBezTo>
                    <a:pt x="1198357" y="5471102"/>
                    <a:pt x="1202369" y="5475113"/>
                    <a:pt x="1202369" y="5480062"/>
                  </a:cubicBezTo>
                  <a:cubicBezTo>
                    <a:pt x="1202369" y="5485011"/>
                    <a:pt x="1198357" y="5489023"/>
                    <a:pt x="1193408" y="5489023"/>
                  </a:cubicBezTo>
                  <a:cubicBezTo>
                    <a:pt x="1188460" y="5489023"/>
                    <a:pt x="1184450" y="5485011"/>
                    <a:pt x="1184450" y="5480062"/>
                  </a:cubicBezTo>
                  <a:cubicBezTo>
                    <a:pt x="1184450" y="5475113"/>
                    <a:pt x="1188460" y="5471102"/>
                    <a:pt x="1193408" y="5471102"/>
                  </a:cubicBezTo>
                  <a:close/>
                  <a:moveTo>
                    <a:pt x="1024659" y="5471102"/>
                  </a:moveTo>
                  <a:cubicBezTo>
                    <a:pt x="1029611" y="5471102"/>
                    <a:pt x="1033624" y="5475113"/>
                    <a:pt x="1033624" y="5480062"/>
                  </a:cubicBezTo>
                  <a:cubicBezTo>
                    <a:pt x="1033624" y="5485011"/>
                    <a:pt x="1029611" y="5489023"/>
                    <a:pt x="1024659" y="5489023"/>
                  </a:cubicBezTo>
                  <a:cubicBezTo>
                    <a:pt x="1019711" y="5489023"/>
                    <a:pt x="1015699" y="5485011"/>
                    <a:pt x="1015699" y="5480062"/>
                  </a:cubicBezTo>
                  <a:cubicBezTo>
                    <a:pt x="1015699" y="5475113"/>
                    <a:pt x="1019711" y="5471102"/>
                    <a:pt x="1024659" y="5471102"/>
                  </a:cubicBezTo>
                  <a:close/>
                  <a:moveTo>
                    <a:pt x="855927" y="5471102"/>
                  </a:moveTo>
                  <a:cubicBezTo>
                    <a:pt x="860875" y="5471102"/>
                    <a:pt x="864887" y="5475113"/>
                    <a:pt x="864887" y="5480062"/>
                  </a:cubicBezTo>
                  <a:cubicBezTo>
                    <a:pt x="864887" y="5485011"/>
                    <a:pt x="860875" y="5489023"/>
                    <a:pt x="855927" y="5489023"/>
                  </a:cubicBezTo>
                  <a:cubicBezTo>
                    <a:pt x="850977" y="5489023"/>
                    <a:pt x="846967" y="5485011"/>
                    <a:pt x="846967" y="5480062"/>
                  </a:cubicBezTo>
                  <a:cubicBezTo>
                    <a:pt x="846967" y="5475113"/>
                    <a:pt x="850977" y="5471102"/>
                    <a:pt x="855927" y="5471102"/>
                  </a:cubicBezTo>
                  <a:close/>
                  <a:moveTo>
                    <a:pt x="687187" y="5471102"/>
                  </a:moveTo>
                  <a:cubicBezTo>
                    <a:pt x="692136" y="5471102"/>
                    <a:pt x="696147" y="5475113"/>
                    <a:pt x="696147" y="5480062"/>
                  </a:cubicBezTo>
                  <a:cubicBezTo>
                    <a:pt x="696147" y="5485011"/>
                    <a:pt x="692136" y="5489023"/>
                    <a:pt x="687187" y="5489023"/>
                  </a:cubicBezTo>
                  <a:cubicBezTo>
                    <a:pt x="682239" y="5489023"/>
                    <a:pt x="678228" y="5485011"/>
                    <a:pt x="678228" y="5480062"/>
                  </a:cubicBezTo>
                  <a:cubicBezTo>
                    <a:pt x="678228" y="5475113"/>
                    <a:pt x="682239" y="5471102"/>
                    <a:pt x="687187" y="5471102"/>
                  </a:cubicBezTo>
                  <a:close/>
                  <a:moveTo>
                    <a:pt x="518427" y="5471102"/>
                  </a:moveTo>
                  <a:cubicBezTo>
                    <a:pt x="523376" y="5471102"/>
                    <a:pt x="527388" y="5475113"/>
                    <a:pt x="527388" y="5480062"/>
                  </a:cubicBezTo>
                  <a:cubicBezTo>
                    <a:pt x="527388" y="5485011"/>
                    <a:pt x="523376" y="5489023"/>
                    <a:pt x="518427" y="5489023"/>
                  </a:cubicBezTo>
                  <a:cubicBezTo>
                    <a:pt x="513478" y="5489023"/>
                    <a:pt x="509467" y="5485011"/>
                    <a:pt x="509467" y="5480062"/>
                  </a:cubicBezTo>
                  <a:cubicBezTo>
                    <a:pt x="509467" y="5475113"/>
                    <a:pt x="513478" y="5471102"/>
                    <a:pt x="518427" y="5471102"/>
                  </a:cubicBezTo>
                  <a:close/>
                  <a:moveTo>
                    <a:pt x="349688" y="5471102"/>
                  </a:moveTo>
                  <a:cubicBezTo>
                    <a:pt x="354637" y="5471102"/>
                    <a:pt x="358649" y="5475113"/>
                    <a:pt x="358649" y="5480062"/>
                  </a:cubicBezTo>
                  <a:cubicBezTo>
                    <a:pt x="358649" y="5485011"/>
                    <a:pt x="354637" y="5489023"/>
                    <a:pt x="349688" y="5489023"/>
                  </a:cubicBezTo>
                  <a:cubicBezTo>
                    <a:pt x="344740" y="5489023"/>
                    <a:pt x="340728" y="5485011"/>
                    <a:pt x="340728" y="5480062"/>
                  </a:cubicBezTo>
                  <a:cubicBezTo>
                    <a:pt x="340728" y="5475113"/>
                    <a:pt x="344740" y="5471102"/>
                    <a:pt x="349688" y="5471102"/>
                  </a:cubicBezTo>
                  <a:close/>
                  <a:moveTo>
                    <a:pt x="179369" y="5471102"/>
                  </a:moveTo>
                  <a:cubicBezTo>
                    <a:pt x="184318" y="5471102"/>
                    <a:pt x="188330" y="5475113"/>
                    <a:pt x="188330" y="5480062"/>
                  </a:cubicBezTo>
                  <a:cubicBezTo>
                    <a:pt x="188330" y="5485011"/>
                    <a:pt x="184318" y="5489023"/>
                    <a:pt x="179369" y="5489023"/>
                  </a:cubicBezTo>
                  <a:cubicBezTo>
                    <a:pt x="174421" y="5489023"/>
                    <a:pt x="170409" y="5485011"/>
                    <a:pt x="170409" y="5480062"/>
                  </a:cubicBezTo>
                  <a:cubicBezTo>
                    <a:pt x="170409" y="5475113"/>
                    <a:pt x="174421" y="5471102"/>
                    <a:pt x="179369" y="5471102"/>
                  </a:cubicBezTo>
                  <a:close/>
                  <a:moveTo>
                    <a:pt x="9051" y="5471102"/>
                  </a:moveTo>
                  <a:cubicBezTo>
                    <a:pt x="14000" y="5471102"/>
                    <a:pt x="18011" y="5475113"/>
                    <a:pt x="18011" y="5480062"/>
                  </a:cubicBezTo>
                  <a:cubicBezTo>
                    <a:pt x="18011" y="5485011"/>
                    <a:pt x="14000" y="5489023"/>
                    <a:pt x="9051" y="5489023"/>
                  </a:cubicBezTo>
                  <a:cubicBezTo>
                    <a:pt x="4103" y="5489023"/>
                    <a:pt x="91" y="5485011"/>
                    <a:pt x="91" y="5480062"/>
                  </a:cubicBezTo>
                  <a:cubicBezTo>
                    <a:pt x="91" y="5475113"/>
                    <a:pt x="4103" y="5471102"/>
                    <a:pt x="9051" y="5471102"/>
                  </a:cubicBezTo>
                  <a:close/>
                  <a:moveTo>
                    <a:pt x="6933679" y="5300120"/>
                  </a:moveTo>
                  <a:cubicBezTo>
                    <a:pt x="6938628" y="5300120"/>
                    <a:pt x="6942639" y="5304131"/>
                    <a:pt x="6942639" y="5309080"/>
                  </a:cubicBezTo>
                  <a:cubicBezTo>
                    <a:pt x="6942639" y="5314029"/>
                    <a:pt x="6938628" y="5318041"/>
                    <a:pt x="6933679" y="5318041"/>
                  </a:cubicBezTo>
                  <a:cubicBezTo>
                    <a:pt x="6928730" y="5318041"/>
                    <a:pt x="6924718" y="5314029"/>
                    <a:pt x="6924718" y="5309080"/>
                  </a:cubicBezTo>
                  <a:cubicBezTo>
                    <a:pt x="6924718" y="5304131"/>
                    <a:pt x="6928730" y="5300120"/>
                    <a:pt x="6933679" y="5300120"/>
                  </a:cubicBezTo>
                  <a:close/>
                  <a:moveTo>
                    <a:pt x="6763357" y="5300120"/>
                  </a:moveTo>
                  <a:cubicBezTo>
                    <a:pt x="6768306" y="5300120"/>
                    <a:pt x="6772318" y="5304131"/>
                    <a:pt x="6772318" y="5309080"/>
                  </a:cubicBezTo>
                  <a:cubicBezTo>
                    <a:pt x="6772318" y="5314029"/>
                    <a:pt x="6768306" y="5318041"/>
                    <a:pt x="6763357" y="5318041"/>
                  </a:cubicBezTo>
                  <a:cubicBezTo>
                    <a:pt x="6758408" y="5318041"/>
                    <a:pt x="6754397" y="5314029"/>
                    <a:pt x="6754397" y="5309080"/>
                  </a:cubicBezTo>
                  <a:cubicBezTo>
                    <a:pt x="6754397" y="5304131"/>
                    <a:pt x="6758408" y="5300120"/>
                    <a:pt x="6763357" y="5300120"/>
                  </a:cubicBezTo>
                  <a:close/>
                  <a:moveTo>
                    <a:pt x="6593035" y="5300120"/>
                  </a:moveTo>
                  <a:cubicBezTo>
                    <a:pt x="6597984" y="5300120"/>
                    <a:pt x="6601996" y="5304131"/>
                    <a:pt x="6601996" y="5309080"/>
                  </a:cubicBezTo>
                  <a:cubicBezTo>
                    <a:pt x="6601996" y="5314029"/>
                    <a:pt x="6597984" y="5318041"/>
                    <a:pt x="6593035" y="5318041"/>
                  </a:cubicBezTo>
                  <a:cubicBezTo>
                    <a:pt x="6588086" y="5318041"/>
                    <a:pt x="6584075" y="5314029"/>
                    <a:pt x="6584075" y="5309080"/>
                  </a:cubicBezTo>
                  <a:cubicBezTo>
                    <a:pt x="6584075" y="5304131"/>
                    <a:pt x="6588086" y="5300120"/>
                    <a:pt x="6593035" y="5300120"/>
                  </a:cubicBezTo>
                  <a:close/>
                  <a:moveTo>
                    <a:pt x="6424294" y="5300120"/>
                  </a:moveTo>
                  <a:cubicBezTo>
                    <a:pt x="6429243" y="5300120"/>
                    <a:pt x="6433255" y="5304131"/>
                    <a:pt x="6433255" y="5309080"/>
                  </a:cubicBezTo>
                  <a:cubicBezTo>
                    <a:pt x="6433255" y="5314029"/>
                    <a:pt x="6429243" y="5318041"/>
                    <a:pt x="6424294" y="5318041"/>
                  </a:cubicBezTo>
                  <a:cubicBezTo>
                    <a:pt x="6419345" y="5318041"/>
                    <a:pt x="6415334" y="5314029"/>
                    <a:pt x="6415334" y="5309080"/>
                  </a:cubicBezTo>
                  <a:cubicBezTo>
                    <a:pt x="6415334" y="5304131"/>
                    <a:pt x="6419345" y="5300120"/>
                    <a:pt x="6424294" y="5300120"/>
                  </a:cubicBezTo>
                  <a:close/>
                  <a:moveTo>
                    <a:pt x="6255553" y="5300120"/>
                  </a:moveTo>
                  <a:cubicBezTo>
                    <a:pt x="6260502" y="5300120"/>
                    <a:pt x="6264514" y="5304131"/>
                    <a:pt x="6264514" y="5309080"/>
                  </a:cubicBezTo>
                  <a:cubicBezTo>
                    <a:pt x="6264514" y="5314029"/>
                    <a:pt x="6260502" y="5318041"/>
                    <a:pt x="6255553" y="5318041"/>
                  </a:cubicBezTo>
                  <a:cubicBezTo>
                    <a:pt x="6250604" y="5318041"/>
                    <a:pt x="6246593" y="5314029"/>
                    <a:pt x="6246593" y="5309080"/>
                  </a:cubicBezTo>
                  <a:cubicBezTo>
                    <a:pt x="6246593" y="5304131"/>
                    <a:pt x="6250604" y="5300120"/>
                    <a:pt x="6255553" y="5300120"/>
                  </a:cubicBezTo>
                  <a:close/>
                  <a:moveTo>
                    <a:pt x="6086811" y="5300120"/>
                  </a:moveTo>
                  <a:cubicBezTo>
                    <a:pt x="6091760" y="5300120"/>
                    <a:pt x="6095772" y="5304131"/>
                    <a:pt x="6095772" y="5309080"/>
                  </a:cubicBezTo>
                  <a:cubicBezTo>
                    <a:pt x="6095772" y="5314029"/>
                    <a:pt x="6091760" y="5318041"/>
                    <a:pt x="6086811" y="5318041"/>
                  </a:cubicBezTo>
                  <a:cubicBezTo>
                    <a:pt x="6081862" y="5318041"/>
                    <a:pt x="6077851" y="5314029"/>
                    <a:pt x="6077851" y="5309080"/>
                  </a:cubicBezTo>
                  <a:cubicBezTo>
                    <a:pt x="6077851" y="5304131"/>
                    <a:pt x="6081862" y="5300120"/>
                    <a:pt x="6086811" y="5300120"/>
                  </a:cubicBezTo>
                  <a:close/>
                  <a:moveTo>
                    <a:pt x="5918069" y="5300120"/>
                  </a:moveTo>
                  <a:cubicBezTo>
                    <a:pt x="5923018" y="5300120"/>
                    <a:pt x="5927030" y="5304131"/>
                    <a:pt x="5927030" y="5309080"/>
                  </a:cubicBezTo>
                  <a:cubicBezTo>
                    <a:pt x="5927030" y="5314029"/>
                    <a:pt x="5923018" y="5318041"/>
                    <a:pt x="5918069" y="5318041"/>
                  </a:cubicBezTo>
                  <a:cubicBezTo>
                    <a:pt x="5913120" y="5318041"/>
                    <a:pt x="5909109" y="5314029"/>
                    <a:pt x="5909109" y="5309080"/>
                  </a:cubicBezTo>
                  <a:cubicBezTo>
                    <a:pt x="5909109" y="5304131"/>
                    <a:pt x="5913120" y="5300120"/>
                    <a:pt x="5918069" y="5300120"/>
                  </a:cubicBezTo>
                  <a:close/>
                  <a:moveTo>
                    <a:pt x="5749328" y="5300120"/>
                  </a:moveTo>
                  <a:cubicBezTo>
                    <a:pt x="5754277" y="5300120"/>
                    <a:pt x="5758289" y="5304131"/>
                    <a:pt x="5758289" y="5309080"/>
                  </a:cubicBezTo>
                  <a:cubicBezTo>
                    <a:pt x="5758289" y="5314029"/>
                    <a:pt x="5754277" y="5318041"/>
                    <a:pt x="5749328" y="5318041"/>
                  </a:cubicBezTo>
                  <a:cubicBezTo>
                    <a:pt x="5744379" y="5318041"/>
                    <a:pt x="5740368" y="5314029"/>
                    <a:pt x="5740368" y="5309080"/>
                  </a:cubicBezTo>
                  <a:cubicBezTo>
                    <a:pt x="5740368" y="5304131"/>
                    <a:pt x="5744379" y="5300120"/>
                    <a:pt x="5749328" y="5300120"/>
                  </a:cubicBezTo>
                  <a:close/>
                  <a:moveTo>
                    <a:pt x="5580586" y="5300120"/>
                  </a:moveTo>
                  <a:cubicBezTo>
                    <a:pt x="5585535" y="5300120"/>
                    <a:pt x="5589547" y="5304131"/>
                    <a:pt x="5589547" y="5309080"/>
                  </a:cubicBezTo>
                  <a:cubicBezTo>
                    <a:pt x="5589547" y="5314029"/>
                    <a:pt x="5585535" y="5318041"/>
                    <a:pt x="5580586" y="5318041"/>
                  </a:cubicBezTo>
                  <a:cubicBezTo>
                    <a:pt x="5575637" y="5318041"/>
                    <a:pt x="5571626" y="5314029"/>
                    <a:pt x="5571626" y="5309080"/>
                  </a:cubicBezTo>
                  <a:cubicBezTo>
                    <a:pt x="5571626" y="5304131"/>
                    <a:pt x="5575637" y="5300120"/>
                    <a:pt x="5580586" y="5300120"/>
                  </a:cubicBezTo>
                  <a:close/>
                  <a:moveTo>
                    <a:pt x="5411845" y="5300120"/>
                  </a:moveTo>
                  <a:cubicBezTo>
                    <a:pt x="5416794" y="5300120"/>
                    <a:pt x="5420806" y="5304131"/>
                    <a:pt x="5420806" y="5309080"/>
                  </a:cubicBezTo>
                  <a:cubicBezTo>
                    <a:pt x="5420806" y="5314029"/>
                    <a:pt x="5416794" y="5318041"/>
                    <a:pt x="5411845" y="5318041"/>
                  </a:cubicBezTo>
                  <a:cubicBezTo>
                    <a:pt x="5406896" y="5318041"/>
                    <a:pt x="5402885" y="5314029"/>
                    <a:pt x="5402885" y="5309080"/>
                  </a:cubicBezTo>
                  <a:cubicBezTo>
                    <a:pt x="5402885" y="5304131"/>
                    <a:pt x="5406896" y="5300120"/>
                    <a:pt x="5411845" y="5300120"/>
                  </a:cubicBezTo>
                  <a:close/>
                  <a:moveTo>
                    <a:pt x="5243103" y="5300120"/>
                  </a:moveTo>
                  <a:cubicBezTo>
                    <a:pt x="5248052" y="5300120"/>
                    <a:pt x="5252064" y="5304131"/>
                    <a:pt x="5252064" y="5309080"/>
                  </a:cubicBezTo>
                  <a:cubicBezTo>
                    <a:pt x="5252064" y="5314029"/>
                    <a:pt x="5248052" y="5318041"/>
                    <a:pt x="5243103" y="5318041"/>
                  </a:cubicBezTo>
                  <a:cubicBezTo>
                    <a:pt x="5238154" y="5318041"/>
                    <a:pt x="5234143" y="5314029"/>
                    <a:pt x="5234143" y="5309080"/>
                  </a:cubicBezTo>
                  <a:cubicBezTo>
                    <a:pt x="5234143" y="5304131"/>
                    <a:pt x="5238154" y="5300120"/>
                    <a:pt x="5243103" y="5300120"/>
                  </a:cubicBezTo>
                  <a:close/>
                  <a:moveTo>
                    <a:pt x="5074362" y="5300120"/>
                  </a:moveTo>
                  <a:cubicBezTo>
                    <a:pt x="5079311" y="5300120"/>
                    <a:pt x="5083323" y="5304131"/>
                    <a:pt x="5083323" y="5309080"/>
                  </a:cubicBezTo>
                  <a:cubicBezTo>
                    <a:pt x="5083323" y="5314029"/>
                    <a:pt x="5079311" y="5318041"/>
                    <a:pt x="5074362" y="5318041"/>
                  </a:cubicBezTo>
                  <a:cubicBezTo>
                    <a:pt x="5069413" y="5318041"/>
                    <a:pt x="5065402" y="5314029"/>
                    <a:pt x="5065402" y="5309080"/>
                  </a:cubicBezTo>
                  <a:cubicBezTo>
                    <a:pt x="5065402" y="5304131"/>
                    <a:pt x="5069413" y="5300120"/>
                    <a:pt x="5074362" y="5300120"/>
                  </a:cubicBezTo>
                  <a:close/>
                  <a:moveTo>
                    <a:pt x="4905620" y="5300120"/>
                  </a:moveTo>
                  <a:cubicBezTo>
                    <a:pt x="4910569" y="5300120"/>
                    <a:pt x="4914581" y="5304131"/>
                    <a:pt x="4914581" y="5309080"/>
                  </a:cubicBezTo>
                  <a:cubicBezTo>
                    <a:pt x="4914581" y="5314029"/>
                    <a:pt x="4910569" y="5318041"/>
                    <a:pt x="4905620" y="5318041"/>
                  </a:cubicBezTo>
                  <a:cubicBezTo>
                    <a:pt x="4900671" y="5318041"/>
                    <a:pt x="4896660" y="5314029"/>
                    <a:pt x="4896660" y="5309080"/>
                  </a:cubicBezTo>
                  <a:cubicBezTo>
                    <a:pt x="4896660" y="5304131"/>
                    <a:pt x="4900671" y="5300120"/>
                    <a:pt x="4905620" y="5300120"/>
                  </a:cubicBezTo>
                  <a:close/>
                  <a:moveTo>
                    <a:pt x="4736878" y="5300120"/>
                  </a:moveTo>
                  <a:cubicBezTo>
                    <a:pt x="4741827" y="5300120"/>
                    <a:pt x="4745839" y="5304131"/>
                    <a:pt x="4745839" y="5309080"/>
                  </a:cubicBezTo>
                  <a:cubicBezTo>
                    <a:pt x="4745839" y="5314029"/>
                    <a:pt x="4741827" y="5318041"/>
                    <a:pt x="4736878" y="5318041"/>
                  </a:cubicBezTo>
                  <a:cubicBezTo>
                    <a:pt x="4731929" y="5318041"/>
                    <a:pt x="4727918" y="5314029"/>
                    <a:pt x="4727918" y="5309080"/>
                  </a:cubicBezTo>
                  <a:cubicBezTo>
                    <a:pt x="4727918" y="5304131"/>
                    <a:pt x="4731929" y="5300120"/>
                    <a:pt x="4736878" y="5300120"/>
                  </a:cubicBezTo>
                  <a:close/>
                  <a:moveTo>
                    <a:pt x="4568137" y="5300120"/>
                  </a:moveTo>
                  <a:cubicBezTo>
                    <a:pt x="4573086" y="5300120"/>
                    <a:pt x="4577098" y="5304131"/>
                    <a:pt x="4577098" y="5309080"/>
                  </a:cubicBezTo>
                  <a:cubicBezTo>
                    <a:pt x="4577098" y="5314029"/>
                    <a:pt x="4573086" y="5318041"/>
                    <a:pt x="4568137" y="5318041"/>
                  </a:cubicBezTo>
                  <a:cubicBezTo>
                    <a:pt x="4563188" y="5318041"/>
                    <a:pt x="4559177" y="5314029"/>
                    <a:pt x="4559177" y="5309080"/>
                  </a:cubicBezTo>
                  <a:cubicBezTo>
                    <a:pt x="4559177" y="5304131"/>
                    <a:pt x="4563188" y="5300120"/>
                    <a:pt x="4568137" y="5300120"/>
                  </a:cubicBezTo>
                  <a:close/>
                  <a:moveTo>
                    <a:pt x="4399396" y="5300120"/>
                  </a:moveTo>
                  <a:cubicBezTo>
                    <a:pt x="4404345" y="5300120"/>
                    <a:pt x="4408357" y="5304131"/>
                    <a:pt x="4408357" y="5309080"/>
                  </a:cubicBezTo>
                  <a:cubicBezTo>
                    <a:pt x="4408357" y="5314029"/>
                    <a:pt x="4404345" y="5318041"/>
                    <a:pt x="4399396" y="5318041"/>
                  </a:cubicBezTo>
                  <a:cubicBezTo>
                    <a:pt x="4394447" y="5318041"/>
                    <a:pt x="4390436" y="5314029"/>
                    <a:pt x="4390436" y="5309080"/>
                  </a:cubicBezTo>
                  <a:cubicBezTo>
                    <a:pt x="4390436" y="5304131"/>
                    <a:pt x="4394447" y="5300120"/>
                    <a:pt x="4399396" y="5300120"/>
                  </a:cubicBezTo>
                  <a:close/>
                  <a:moveTo>
                    <a:pt x="4230654" y="5300120"/>
                  </a:moveTo>
                  <a:cubicBezTo>
                    <a:pt x="4235603" y="5300120"/>
                    <a:pt x="4239615" y="5304131"/>
                    <a:pt x="4239615" y="5309080"/>
                  </a:cubicBezTo>
                  <a:cubicBezTo>
                    <a:pt x="4239615" y="5314029"/>
                    <a:pt x="4235603" y="5318041"/>
                    <a:pt x="4230654" y="5318041"/>
                  </a:cubicBezTo>
                  <a:cubicBezTo>
                    <a:pt x="4225705" y="5318041"/>
                    <a:pt x="4221694" y="5314029"/>
                    <a:pt x="4221694" y="5309080"/>
                  </a:cubicBezTo>
                  <a:cubicBezTo>
                    <a:pt x="4221694" y="5304131"/>
                    <a:pt x="4225705" y="5300120"/>
                    <a:pt x="4230654" y="5300120"/>
                  </a:cubicBezTo>
                  <a:close/>
                  <a:moveTo>
                    <a:pt x="4061912" y="5300120"/>
                  </a:moveTo>
                  <a:cubicBezTo>
                    <a:pt x="4066861" y="5300120"/>
                    <a:pt x="4070873" y="5304131"/>
                    <a:pt x="4070873" y="5309080"/>
                  </a:cubicBezTo>
                  <a:cubicBezTo>
                    <a:pt x="4070873" y="5314029"/>
                    <a:pt x="4066861" y="5318041"/>
                    <a:pt x="4061912" y="5318041"/>
                  </a:cubicBezTo>
                  <a:cubicBezTo>
                    <a:pt x="4056963" y="5318041"/>
                    <a:pt x="4052952" y="5314029"/>
                    <a:pt x="4052952" y="5309080"/>
                  </a:cubicBezTo>
                  <a:cubicBezTo>
                    <a:pt x="4052952" y="5304131"/>
                    <a:pt x="4056963" y="5300120"/>
                    <a:pt x="4061912" y="5300120"/>
                  </a:cubicBezTo>
                  <a:close/>
                  <a:moveTo>
                    <a:pt x="3893170" y="5300120"/>
                  </a:moveTo>
                  <a:cubicBezTo>
                    <a:pt x="3898119" y="5300120"/>
                    <a:pt x="3902131" y="5304131"/>
                    <a:pt x="3902131" y="5309080"/>
                  </a:cubicBezTo>
                  <a:cubicBezTo>
                    <a:pt x="3902131" y="5314029"/>
                    <a:pt x="3898119" y="5318041"/>
                    <a:pt x="3893170" y="5318041"/>
                  </a:cubicBezTo>
                  <a:cubicBezTo>
                    <a:pt x="3888221" y="5318041"/>
                    <a:pt x="3884210" y="5314029"/>
                    <a:pt x="3884210" y="5309080"/>
                  </a:cubicBezTo>
                  <a:cubicBezTo>
                    <a:pt x="3884210" y="5304131"/>
                    <a:pt x="3888221" y="5300120"/>
                    <a:pt x="3893170" y="5300120"/>
                  </a:cubicBezTo>
                  <a:close/>
                  <a:moveTo>
                    <a:pt x="3724429" y="5300120"/>
                  </a:moveTo>
                  <a:cubicBezTo>
                    <a:pt x="3729378" y="5300120"/>
                    <a:pt x="3733390" y="5304131"/>
                    <a:pt x="3733390" y="5309080"/>
                  </a:cubicBezTo>
                  <a:cubicBezTo>
                    <a:pt x="3733390" y="5314029"/>
                    <a:pt x="3729378" y="5318041"/>
                    <a:pt x="3724429" y="5318041"/>
                  </a:cubicBezTo>
                  <a:cubicBezTo>
                    <a:pt x="3719481" y="5318041"/>
                    <a:pt x="3715469" y="5314029"/>
                    <a:pt x="3715469" y="5309080"/>
                  </a:cubicBezTo>
                  <a:cubicBezTo>
                    <a:pt x="3715469" y="5304131"/>
                    <a:pt x="3719481" y="5300120"/>
                    <a:pt x="3724429" y="5300120"/>
                  </a:cubicBezTo>
                  <a:close/>
                  <a:moveTo>
                    <a:pt x="3555688" y="5300120"/>
                  </a:moveTo>
                  <a:cubicBezTo>
                    <a:pt x="3560637" y="5300120"/>
                    <a:pt x="3564649" y="5304131"/>
                    <a:pt x="3564649" y="5309080"/>
                  </a:cubicBezTo>
                  <a:cubicBezTo>
                    <a:pt x="3564649" y="5314029"/>
                    <a:pt x="3560637" y="5318041"/>
                    <a:pt x="3555688" y="5318041"/>
                  </a:cubicBezTo>
                  <a:cubicBezTo>
                    <a:pt x="3550740" y="5318041"/>
                    <a:pt x="3546728" y="5314029"/>
                    <a:pt x="3546728" y="5309080"/>
                  </a:cubicBezTo>
                  <a:cubicBezTo>
                    <a:pt x="3546728" y="5304131"/>
                    <a:pt x="3550740" y="5300120"/>
                    <a:pt x="3555688" y="5300120"/>
                  </a:cubicBezTo>
                  <a:close/>
                  <a:moveTo>
                    <a:pt x="3387017" y="5300120"/>
                  </a:moveTo>
                  <a:cubicBezTo>
                    <a:pt x="3391965" y="5300120"/>
                    <a:pt x="3395977" y="5304131"/>
                    <a:pt x="3395977" y="5309080"/>
                  </a:cubicBezTo>
                  <a:cubicBezTo>
                    <a:pt x="3395977" y="5314029"/>
                    <a:pt x="3391965" y="5318041"/>
                    <a:pt x="3387017" y="5318041"/>
                  </a:cubicBezTo>
                  <a:cubicBezTo>
                    <a:pt x="3382034" y="5318041"/>
                    <a:pt x="3378021" y="5314029"/>
                    <a:pt x="3378021" y="5309080"/>
                  </a:cubicBezTo>
                  <a:cubicBezTo>
                    <a:pt x="3378021" y="5304131"/>
                    <a:pt x="3382034" y="5300120"/>
                    <a:pt x="3387017" y="5300120"/>
                  </a:cubicBezTo>
                  <a:close/>
                  <a:moveTo>
                    <a:pt x="3218259" y="5300120"/>
                  </a:moveTo>
                  <a:cubicBezTo>
                    <a:pt x="3223220" y="5300120"/>
                    <a:pt x="3227232" y="5304131"/>
                    <a:pt x="3227232" y="5309080"/>
                  </a:cubicBezTo>
                  <a:cubicBezTo>
                    <a:pt x="3227232" y="5314029"/>
                    <a:pt x="3223220" y="5318041"/>
                    <a:pt x="3218259" y="5318041"/>
                  </a:cubicBezTo>
                  <a:cubicBezTo>
                    <a:pt x="3213307" y="5318041"/>
                    <a:pt x="3209303" y="5314029"/>
                    <a:pt x="3209303" y="5309080"/>
                  </a:cubicBezTo>
                  <a:cubicBezTo>
                    <a:pt x="3209303" y="5304131"/>
                    <a:pt x="3213307" y="5300120"/>
                    <a:pt x="3218259" y="5300120"/>
                  </a:cubicBezTo>
                  <a:close/>
                  <a:moveTo>
                    <a:pt x="3049549" y="5300120"/>
                  </a:moveTo>
                  <a:cubicBezTo>
                    <a:pt x="3054483" y="5300120"/>
                    <a:pt x="3058496" y="5304131"/>
                    <a:pt x="3058496" y="5309080"/>
                  </a:cubicBezTo>
                  <a:cubicBezTo>
                    <a:pt x="3058496" y="5314029"/>
                    <a:pt x="3054483" y="5318041"/>
                    <a:pt x="3049549" y="5318041"/>
                  </a:cubicBezTo>
                  <a:cubicBezTo>
                    <a:pt x="3044586" y="5318041"/>
                    <a:pt x="3040576" y="5314029"/>
                    <a:pt x="3040576" y="5309080"/>
                  </a:cubicBezTo>
                  <a:cubicBezTo>
                    <a:pt x="3040576" y="5304131"/>
                    <a:pt x="3044586" y="5300120"/>
                    <a:pt x="3049549" y="5300120"/>
                  </a:cubicBezTo>
                  <a:close/>
                  <a:moveTo>
                    <a:pt x="2880814" y="5300120"/>
                  </a:moveTo>
                  <a:cubicBezTo>
                    <a:pt x="2885759" y="5300120"/>
                    <a:pt x="2889770" y="5304131"/>
                    <a:pt x="2889770" y="5309080"/>
                  </a:cubicBezTo>
                  <a:cubicBezTo>
                    <a:pt x="2889770" y="5314029"/>
                    <a:pt x="2885759" y="5318041"/>
                    <a:pt x="2880814" y="5318041"/>
                  </a:cubicBezTo>
                  <a:cubicBezTo>
                    <a:pt x="2875863" y="5318041"/>
                    <a:pt x="2871851" y="5314029"/>
                    <a:pt x="2871851" y="5309080"/>
                  </a:cubicBezTo>
                  <a:cubicBezTo>
                    <a:pt x="2871851" y="5304131"/>
                    <a:pt x="2875863" y="5300120"/>
                    <a:pt x="2880814" y="5300120"/>
                  </a:cubicBezTo>
                  <a:close/>
                  <a:moveTo>
                    <a:pt x="2712054" y="5300120"/>
                  </a:moveTo>
                  <a:cubicBezTo>
                    <a:pt x="2717028" y="5300120"/>
                    <a:pt x="2721038" y="5304131"/>
                    <a:pt x="2721038" y="5309080"/>
                  </a:cubicBezTo>
                  <a:cubicBezTo>
                    <a:pt x="2721038" y="5314029"/>
                    <a:pt x="2717028" y="5318041"/>
                    <a:pt x="2712054" y="5318041"/>
                  </a:cubicBezTo>
                  <a:cubicBezTo>
                    <a:pt x="2707109" y="5318041"/>
                    <a:pt x="2703098" y="5314029"/>
                    <a:pt x="2703098" y="5309080"/>
                  </a:cubicBezTo>
                  <a:cubicBezTo>
                    <a:pt x="2703098" y="5304131"/>
                    <a:pt x="2707109" y="5300120"/>
                    <a:pt x="2712054" y="5300120"/>
                  </a:cubicBezTo>
                  <a:close/>
                  <a:moveTo>
                    <a:pt x="2543351" y="5300120"/>
                  </a:moveTo>
                  <a:cubicBezTo>
                    <a:pt x="2548298" y="5300120"/>
                    <a:pt x="2552308" y="5304131"/>
                    <a:pt x="2552308" y="5309080"/>
                  </a:cubicBezTo>
                  <a:cubicBezTo>
                    <a:pt x="2552308" y="5314029"/>
                    <a:pt x="2548298" y="5318041"/>
                    <a:pt x="2543351" y="5318041"/>
                  </a:cubicBezTo>
                  <a:cubicBezTo>
                    <a:pt x="2538397" y="5318041"/>
                    <a:pt x="2534379" y="5314029"/>
                    <a:pt x="2534379" y="5309080"/>
                  </a:cubicBezTo>
                  <a:cubicBezTo>
                    <a:pt x="2534379" y="5304131"/>
                    <a:pt x="2538397" y="5300120"/>
                    <a:pt x="2543351" y="5300120"/>
                  </a:cubicBezTo>
                  <a:close/>
                  <a:moveTo>
                    <a:pt x="2374571" y="5300120"/>
                  </a:moveTo>
                  <a:cubicBezTo>
                    <a:pt x="2379528" y="5300120"/>
                    <a:pt x="2383561" y="5304131"/>
                    <a:pt x="2383561" y="5309080"/>
                  </a:cubicBezTo>
                  <a:cubicBezTo>
                    <a:pt x="2383561" y="5314029"/>
                    <a:pt x="2379528" y="5318041"/>
                    <a:pt x="2374571" y="5318041"/>
                  </a:cubicBezTo>
                  <a:cubicBezTo>
                    <a:pt x="2369622" y="5318041"/>
                    <a:pt x="2365608" y="5314029"/>
                    <a:pt x="2365608" y="5309080"/>
                  </a:cubicBezTo>
                  <a:cubicBezTo>
                    <a:pt x="2365608" y="5304131"/>
                    <a:pt x="2369622" y="5300120"/>
                    <a:pt x="2374571" y="5300120"/>
                  </a:cubicBezTo>
                  <a:close/>
                  <a:moveTo>
                    <a:pt x="2205857" y="5300120"/>
                  </a:moveTo>
                  <a:cubicBezTo>
                    <a:pt x="2210802" y="5300120"/>
                    <a:pt x="2214814" y="5304131"/>
                    <a:pt x="2214814" y="5309080"/>
                  </a:cubicBezTo>
                  <a:cubicBezTo>
                    <a:pt x="2214814" y="5314029"/>
                    <a:pt x="2210802" y="5318041"/>
                    <a:pt x="2205857" y="5318041"/>
                  </a:cubicBezTo>
                  <a:cubicBezTo>
                    <a:pt x="2200888" y="5318041"/>
                    <a:pt x="2196877" y="5314029"/>
                    <a:pt x="2196877" y="5309080"/>
                  </a:cubicBezTo>
                  <a:cubicBezTo>
                    <a:pt x="2196877" y="5304131"/>
                    <a:pt x="2200888" y="5300120"/>
                    <a:pt x="2205857" y="5300120"/>
                  </a:cubicBezTo>
                  <a:close/>
                  <a:moveTo>
                    <a:pt x="2037112" y="5300120"/>
                  </a:moveTo>
                  <a:cubicBezTo>
                    <a:pt x="2042067" y="5300120"/>
                    <a:pt x="2046063" y="5304131"/>
                    <a:pt x="2046063" y="5309080"/>
                  </a:cubicBezTo>
                  <a:cubicBezTo>
                    <a:pt x="2046063" y="5314029"/>
                    <a:pt x="2042067" y="5318041"/>
                    <a:pt x="2037112" y="5318041"/>
                  </a:cubicBezTo>
                  <a:cubicBezTo>
                    <a:pt x="2032167" y="5318041"/>
                    <a:pt x="2028166" y="5314029"/>
                    <a:pt x="2028166" y="5309080"/>
                  </a:cubicBezTo>
                  <a:cubicBezTo>
                    <a:pt x="2028166" y="5304131"/>
                    <a:pt x="2032167" y="5300120"/>
                    <a:pt x="2037112" y="5300120"/>
                  </a:cubicBezTo>
                  <a:close/>
                  <a:moveTo>
                    <a:pt x="1868393" y="5300120"/>
                  </a:moveTo>
                  <a:cubicBezTo>
                    <a:pt x="1873336" y="5300120"/>
                    <a:pt x="1877346" y="5304131"/>
                    <a:pt x="1877346" y="5309080"/>
                  </a:cubicBezTo>
                  <a:cubicBezTo>
                    <a:pt x="1877346" y="5314029"/>
                    <a:pt x="1873336" y="5318041"/>
                    <a:pt x="1868393" y="5318041"/>
                  </a:cubicBezTo>
                  <a:cubicBezTo>
                    <a:pt x="1863438" y="5318041"/>
                    <a:pt x="1859422" y="5314029"/>
                    <a:pt x="1859422" y="5309080"/>
                  </a:cubicBezTo>
                  <a:cubicBezTo>
                    <a:pt x="1859422" y="5304131"/>
                    <a:pt x="1863438" y="5300120"/>
                    <a:pt x="1868393" y="5300120"/>
                  </a:cubicBezTo>
                  <a:close/>
                  <a:moveTo>
                    <a:pt x="1699642" y="5300120"/>
                  </a:moveTo>
                  <a:cubicBezTo>
                    <a:pt x="1704598" y="5300120"/>
                    <a:pt x="1708610" y="5304131"/>
                    <a:pt x="1708610" y="5309080"/>
                  </a:cubicBezTo>
                  <a:cubicBezTo>
                    <a:pt x="1708610" y="5314029"/>
                    <a:pt x="1704598" y="5318041"/>
                    <a:pt x="1699642" y="5318041"/>
                  </a:cubicBezTo>
                  <a:cubicBezTo>
                    <a:pt x="1694694" y="5318041"/>
                    <a:pt x="1690680" y="5314029"/>
                    <a:pt x="1690680" y="5309080"/>
                  </a:cubicBezTo>
                  <a:cubicBezTo>
                    <a:pt x="1690680" y="5304131"/>
                    <a:pt x="1694694" y="5300120"/>
                    <a:pt x="1699642" y="5300120"/>
                  </a:cubicBezTo>
                  <a:close/>
                  <a:moveTo>
                    <a:pt x="1530902" y="5300120"/>
                  </a:moveTo>
                  <a:cubicBezTo>
                    <a:pt x="1535853" y="5300120"/>
                    <a:pt x="1539864" y="5304131"/>
                    <a:pt x="1539864" y="5309080"/>
                  </a:cubicBezTo>
                  <a:cubicBezTo>
                    <a:pt x="1539864" y="5314029"/>
                    <a:pt x="1535853" y="5318041"/>
                    <a:pt x="1530902" y="5318041"/>
                  </a:cubicBezTo>
                  <a:cubicBezTo>
                    <a:pt x="1525953" y="5318041"/>
                    <a:pt x="1521941" y="5314029"/>
                    <a:pt x="1521941" y="5309080"/>
                  </a:cubicBezTo>
                  <a:cubicBezTo>
                    <a:pt x="1521941" y="5304131"/>
                    <a:pt x="1525953" y="5300120"/>
                    <a:pt x="1530902" y="5300120"/>
                  </a:cubicBezTo>
                  <a:close/>
                  <a:moveTo>
                    <a:pt x="1362154" y="5300120"/>
                  </a:moveTo>
                  <a:cubicBezTo>
                    <a:pt x="1367106" y="5300120"/>
                    <a:pt x="1371115" y="5304131"/>
                    <a:pt x="1371115" y="5309080"/>
                  </a:cubicBezTo>
                  <a:cubicBezTo>
                    <a:pt x="1371115" y="5314029"/>
                    <a:pt x="1367106" y="5318041"/>
                    <a:pt x="1362154" y="5318041"/>
                  </a:cubicBezTo>
                  <a:cubicBezTo>
                    <a:pt x="1357205" y="5318041"/>
                    <a:pt x="1353194" y="5314029"/>
                    <a:pt x="1353194" y="5309080"/>
                  </a:cubicBezTo>
                  <a:cubicBezTo>
                    <a:pt x="1353194" y="5304131"/>
                    <a:pt x="1357205" y="5300120"/>
                    <a:pt x="1362154" y="5300120"/>
                  </a:cubicBezTo>
                  <a:close/>
                  <a:moveTo>
                    <a:pt x="1193413" y="5300120"/>
                  </a:moveTo>
                  <a:cubicBezTo>
                    <a:pt x="1198361" y="5300120"/>
                    <a:pt x="1202373" y="5304131"/>
                    <a:pt x="1202373" y="5309080"/>
                  </a:cubicBezTo>
                  <a:cubicBezTo>
                    <a:pt x="1202373" y="5314029"/>
                    <a:pt x="1198361" y="5318041"/>
                    <a:pt x="1193413" y="5318041"/>
                  </a:cubicBezTo>
                  <a:cubicBezTo>
                    <a:pt x="1188465" y="5318041"/>
                    <a:pt x="1184454" y="5314029"/>
                    <a:pt x="1184454" y="5309080"/>
                  </a:cubicBezTo>
                  <a:cubicBezTo>
                    <a:pt x="1184454" y="5304131"/>
                    <a:pt x="1188465" y="5300120"/>
                    <a:pt x="1193413" y="5300120"/>
                  </a:cubicBezTo>
                  <a:close/>
                  <a:moveTo>
                    <a:pt x="1024663" y="5300120"/>
                  </a:moveTo>
                  <a:cubicBezTo>
                    <a:pt x="1029614" y="5300120"/>
                    <a:pt x="1033628" y="5304131"/>
                    <a:pt x="1033628" y="5309080"/>
                  </a:cubicBezTo>
                  <a:cubicBezTo>
                    <a:pt x="1033628" y="5314029"/>
                    <a:pt x="1029614" y="5318041"/>
                    <a:pt x="1024663" y="5318041"/>
                  </a:cubicBezTo>
                  <a:cubicBezTo>
                    <a:pt x="1019715" y="5318041"/>
                    <a:pt x="1015702" y="5314029"/>
                    <a:pt x="1015702" y="5309080"/>
                  </a:cubicBezTo>
                  <a:cubicBezTo>
                    <a:pt x="1015702" y="5304131"/>
                    <a:pt x="1019715" y="5300120"/>
                    <a:pt x="1024663" y="5300120"/>
                  </a:cubicBezTo>
                  <a:close/>
                  <a:moveTo>
                    <a:pt x="855932" y="5300120"/>
                  </a:moveTo>
                  <a:cubicBezTo>
                    <a:pt x="860880" y="5300120"/>
                    <a:pt x="864892" y="5304131"/>
                    <a:pt x="864892" y="5309080"/>
                  </a:cubicBezTo>
                  <a:cubicBezTo>
                    <a:pt x="864892" y="5314029"/>
                    <a:pt x="860880" y="5318041"/>
                    <a:pt x="855932" y="5318041"/>
                  </a:cubicBezTo>
                  <a:cubicBezTo>
                    <a:pt x="850982" y="5318041"/>
                    <a:pt x="846971" y="5314029"/>
                    <a:pt x="846971" y="5309080"/>
                  </a:cubicBezTo>
                  <a:cubicBezTo>
                    <a:pt x="846971" y="5304131"/>
                    <a:pt x="850982" y="5300120"/>
                    <a:pt x="855932" y="5300120"/>
                  </a:cubicBezTo>
                  <a:close/>
                  <a:moveTo>
                    <a:pt x="687192" y="5300120"/>
                  </a:moveTo>
                  <a:cubicBezTo>
                    <a:pt x="692140" y="5300120"/>
                    <a:pt x="696152" y="5304131"/>
                    <a:pt x="696152" y="5309080"/>
                  </a:cubicBezTo>
                  <a:cubicBezTo>
                    <a:pt x="696152" y="5314029"/>
                    <a:pt x="692140" y="5318041"/>
                    <a:pt x="687192" y="5318041"/>
                  </a:cubicBezTo>
                  <a:cubicBezTo>
                    <a:pt x="682243" y="5318041"/>
                    <a:pt x="678232" y="5314029"/>
                    <a:pt x="678232" y="5309080"/>
                  </a:cubicBezTo>
                  <a:cubicBezTo>
                    <a:pt x="678232" y="5304131"/>
                    <a:pt x="682243" y="5300120"/>
                    <a:pt x="687192" y="5300120"/>
                  </a:cubicBezTo>
                  <a:close/>
                  <a:moveTo>
                    <a:pt x="518431" y="5300120"/>
                  </a:moveTo>
                  <a:cubicBezTo>
                    <a:pt x="523380" y="5300120"/>
                    <a:pt x="527391" y="5304131"/>
                    <a:pt x="527391" y="5309080"/>
                  </a:cubicBezTo>
                  <a:cubicBezTo>
                    <a:pt x="527391" y="5314029"/>
                    <a:pt x="523380" y="5318041"/>
                    <a:pt x="518431" y="5318041"/>
                  </a:cubicBezTo>
                  <a:cubicBezTo>
                    <a:pt x="513482" y="5318041"/>
                    <a:pt x="509470" y="5314029"/>
                    <a:pt x="509470" y="5309080"/>
                  </a:cubicBezTo>
                  <a:cubicBezTo>
                    <a:pt x="509470" y="5304131"/>
                    <a:pt x="513482" y="5300120"/>
                    <a:pt x="518431" y="5300120"/>
                  </a:cubicBezTo>
                  <a:close/>
                  <a:moveTo>
                    <a:pt x="349692" y="5300120"/>
                  </a:moveTo>
                  <a:cubicBezTo>
                    <a:pt x="354641" y="5300120"/>
                    <a:pt x="358653" y="5304131"/>
                    <a:pt x="358653" y="5309080"/>
                  </a:cubicBezTo>
                  <a:cubicBezTo>
                    <a:pt x="358653" y="5314029"/>
                    <a:pt x="354641" y="5318041"/>
                    <a:pt x="349692" y="5318041"/>
                  </a:cubicBezTo>
                  <a:cubicBezTo>
                    <a:pt x="344744" y="5318041"/>
                    <a:pt x="340732" y="5314029"/>
                    <a:pt x="340732" y="5309080"/>
                  </a:cubicBezTo>
                  <a:cubicBezTo>
                    <a:pt x="340732" y="5304131"/>
                    <a:pt x="344744" y="5300120"/>
                    <a:pt x="349692" y="5300120"/>
                  </a:cubicBezTo>
                  <a:close/>
                  <a:moveTo>
                    <a:pt x="179373" y="5300120"/>
                  </a:moveTo>
                  <a:cubicBezTo>
                    <a:pt x="184322" y="5300120"/>
                    <a:pt x="188334" y="5304131"/>
                    <a:pt x="188334" y="5309080"/>
                  </a:cubicBezTo>
                  <a:cubicBezTo>
                    <a:pt x="188334" y="5314029"/>
                    <a:pt x="184322" y="5318041"/>
                    <a:pt x="179373" y="5318041"/>
                  </a:cubicBezTo>
                  <a:cubicBezTo>
                    <a:pt x="174425" y="5318041"/>
                    <a:pt x="170413" y="5314029"/>
                    <a:pt x="170413" y="5309080"/>
                  </a:cubicBezTo>
                  <a:cubicBezTo>
                    <a:pt x="170413" y="5304131"/>
                    <a:pt x="174425" y="5300120"/>
                    <a:pt x="179373" y="5300120"/>
                  </a:cubicBezTo>
                  <a:close/>
                  <a:moveTo>
                    <a:pt x="9055" y="5300120"/>
                  </a:moveTo>
                  <a:cubicBezTo>
                    <a:pt x="14004" y="5300120"/>
                    <a:pt x="18015" y="5304131"/>
                    <a:pt x="18015" y="5309080"/>
                  </a:cubicBezTo>
                  <a:cubicBezTo>
                    <a:pt x="18015" y="5314029"/>
                    <a:pt x="14004" y="5318041"/>
                    <a:pt x="9055" y="5318041"/>
                  </a:cubicBezTo>
                  <a:cubicBezTo>
                    <a:pt x="4107" y="5318041"/>
                    <a:pt x="95" y="5314029"/>
                    <a:pt x="95" y="5309080"/>
                  </a:cubicBezTo>
                  <a:cubicBezTo>
                    <a:pt x="95" y="5304131"/>
                    <a:pt x="4107" y="5300120"/>
                    <a:pt x="9055" y="5300120"/>
                  </a:cubicBezTo>
                  <a:close/>
                  <a:moveTo>
                    <a:pt x="6933679" y="5129139"/>
                  </a:moveTo>
                  <a:cubicBezTo>
                    <a:pt x="6938628" y="5129139"/>
                    <a:pt x="6942639" y="5133150"/>
                    <a:pt x="6942639" y="5138099"/>
                  </a:cubicBezTo>
                  <a:cubicBezTo>
                    <a:pt x="6942639" y="5143048"/>
                    <a:pt x="6938628" y="5147060"/>
                    <a:pt x="6933679" y="5147060"/>
                  </a:cubicBezTo>
                  <a:cubicBezTo>
                    <a:pt x="6928730" y="5147060"/>
                    <a:pt x="6924718" y="5143048"/>
                    <a:pt x="6924718" y="5138099"/>
                  </a:cubicBezTo>
                  <a:cubicBezTo>
                    <a:pt x="6924718" y="5133150"/>
                    <a:pt x="6928730" y="5129139"/>
                    <a:pt x="6933679" y="5129139"/>
                  </a:cubicBezTo>
                  <a:close/>
                  <a:moveTo>
                    <a:pt x="6763357" y="5129139"/>
                  </a:moveTo>
                  <a:cubicBezTo>
                    <a:pt x="6768306" y="5129139"/>
                    <a:pt x="6772318" y="5133150"/>
                    <a:pt x="6772318" y="5138099"/>
                  </a:cubicBezTo>
                  <a:cubicBezTo>
                    <a:pt x="6772318" y="5143048"/>
                    <a:pt x="6768306" y="5147060"/>
                    <a:pt x="6763357" y="5147060"/>
                  </a:cubicBezTo>
                  <a:cubicBezTo>
                    <a:pt x="6758408" y="5147060"/>
                    <a:pt x="6754397" y="5143048"/>
                    <a:pt x="6754397" y="5138099"/>
                  </a:cubicBezTo>
                  <a:cubicBezTo>
                    <a:pt x="6754397" y="5133150"/>
                    <a:pt x="6758408" y="5129139"/>
                    <a:pt x="6763357" y="5129139"/>
                  </a:cubicBezTo>
                  <a:close/>
                  <a:moveTo>
                    <a:pt x="6593035" y="5129139"/>
                  </a:moveTo>
                  <a:cubicBezTo>
                    <a:pt x="6597984" y="5129139"/>
                    <a:pt x="6601996" y="5133150"/>
                    <a:pt x="6601996" y="5138099"/>
                  </a:cubicBezTo>
                  <a:cubicBezTo>
                    <a:pt x="6601996" y="5143048"/>
                    <a:pt x="6597984" y="5147060"/>
                    <a:pt x="6593035" y="5147060"/>
                  </a:cubicBezTo>
                  <a:cubicBezTo>
                    <a:pt x="6588086" y="5147060"/>
                    <a:pt x="6584075" y="5143048"/>
                    <a:pt x="6584075" y="5138099"/>
                  </a:cubicBezTo>
                  <a:cubicBezTo>
                    <a:pt x="6584075" y="5133150"/>
                    <a:pt x="6588086" y="5129139"/>
                    <a:pt x="6593035" y="5129139"/>
                  </a:cubicBezTo>
                  <a:close/>
                  <a:moveTo>
                    <a:pt x="6424294" y="5129139"/>
                  </a:moveTo>
                  <a:cubicBezTo>
                    <a:pt x="6429243" y="5129139"/>
                    <a:pt x="6433255" y="5133150"/>
                    <a:pt x="6433255" y="5138099"/>
                  </a:cubicBezTo>
                  <a:cubicBezTo>
                    <a:pt x="6433255" y="5143048"/>
                    <a:pt x="6429243" y="5147060"/>
                    <a:pt x="6424294" y="5147060"/>
                  </a:cubicBezTo>
                  <a:cubicBezTo>
                    <a:pt x="6419345" y="5147060"/>
                    <a:pt x="6415334" y="5143048"/>
                    <a:pt x="6415334" y="5138099"/>
                  </a:cubicBezTo>
                  <a:cubicBezTo>
                    <a:pt x="6415334" y="5133150"/>
                    <a:pt x="6419345" y="5129139"/>
                    <a:pt x="6424294" y="5129139"/>
                  </a:cubicBezTo>
                  <a:close/>
                  <a:moveTo>
                    <a:pt x="6255553" y="5129139"/>
                  </a:moveTo>
                  <a:cubicBezTo>
                    <a:pt x="6260502" y="5129139"/>
                    <a:pt x="6264514" y="5133150"/>
                    <a:pt x="6264514" y="5138099"/>
                  </a:cubicBezTo>
                  <a:cubicBezTo>
                    <a:pt x="6264514" y="5143048"/>
                    <a:pt x="6260502" y="5147060"/>
                    <a:pt x="6255553" y="5147060"/>
                  </a:cubicBezTo>
                  <a:cubicBezTo>
                    <a:pt x="6250604" y="5147060"/>
                    <a:pt x="6246593" y="5143048"/>
                    <a:pt x="6246593" y="5138099"/>
                  </a:cubicBezTo>
                  <a:cubicBezTo>
                    <a:pt x="6246593" y="5133150"/>
                    <a:pt x="6250604" y="5129139"/>
                    <a:pt x="6255553" y="5129139"/>
                  </a:cubicBezTo>
                  <a:close/>
                  <a:moveTo>
                    <a:pt x="6086811" y="5129139"/>
                  </a:moveTo>
                  <a:cubicBezTo>
                    <a:pt x="6091760" y="5129139"/>
                    <a:pt x="6095772" y="5133150"/>
                    <a:pt x="6095772" y="5138099"/>
                  </a:cubicBezTo>
                  <a:cubicBezTo>
                    <a:pt x="6095772" y="5143048"/>
                    <a:pt x="6091760" y="5147060"/>
                    <a:pt x="6086811" y="5147060"/>
                  </a:cubicBezTo>
                  <a:cubicBezTo>
                    <a:pt x="6081862" y="5147060"/>
                    <a:pt x="6077851" y="5143048"/>
                    <a:pt x="6077851" y="5138099"/>
                  </a:cubicBezTo>
                  <a:cubicBezTo>
                    <a:pt x="6077851" y="5133150"/>
                    <a:pt x="6081862" y="5129139"/>
                    <a:pt x="6086811" y="5129139"/>
                  </a:cubicBezTo>
                  <a:close/>
                  <a:moveTo>
                    <a:pt x="5918069" y="5129139"/>
                  </a:moveTo>
                  <a:cubicBezTo>
                    <a:pt x="5923018" y="5129139"/>
                    <a:pt x="5927030" y="5133150"/>
                    <a:pt x="5927030" y="5138099"/>
                  </a:cubicBezTo>
                  <a:cubicBezTo>
                    <a:pt x="5927030" y="5143048"/>
                    <a:pt x="5923018" y="5147060"/>
                    <a:pt x="5918069" y="5147060"/>
                  </a:cubicBezTo>
                  <a:cubicBezTo>
                    <a:pt x="5913120" y="5147060"/>
                    <a:pt x="5909109" y="5143048"/>
                    <a:pt x="5909109" y="5138099"/>
                  </a:cubicBezTo>
                  <a:cubicBezTo>
                    <a:pt x="5909109" y="5133150"/>
                    <a:pt x="5913120" y="5129139"/>
                    <a:pt x="5918069" y="5129139"/>
                  </a:cubicBezTo>
                  <a:close/>
                  <a:moveTo>
                    <a:pt x="5749328" y="5129139"/>
                  </a:moveTo>
                  <a:cubicBezTo>
                    <a:pt x="5754277" y="5129139"/>
                    <a:pt x="5758289" y="5133150"/>
                    <a:pt x="5758289" y="5138099"/>
                  </a:cubicBezTo>
                  <a:cubicBezTo>
                    <a:pt x="5758289" y="5143048"/>
                    <a:pt x="5754277" y="5147060"/>
                    <a:pt x="5749328" y="5147060"/>
                  </a:cubicBezTo>
                  <a:cubicBezTo>
                    <a:pt x="5744379" y="5147060"/>
                    <a:pt x="5740368" y="5143048"/>
                    <a:pt x="5740368" y="5138099"/>
                  </a:cubicBezTo>
                  <a:cubicBezTo>
                    <a:pt x="5740368" y="5133150"/>
                    <a:pt x="5744379" y="5129139"/>
                    <a:pt x="5749328" y="5129139"/>
                  </a:cubicBezTo>
                  <a:close/>
                  <a:moveTo>
                    <a:pt x="5580586" y="5129139"/>
                  </a:moveTo>
                  <a:cubicBezTo>
                    <a:pt x="5585535" y="5129139"/>
                    <a:pt x="5589547" y="5133150"/>
                    <a:pt x="5589547" y="5138099"/>
                  </a:cubicBezTo>
                  <a:cubicBezTo>
                    <a:pt x="5589547" y="5143048"/>
                    <a:pt x="5585535" y="5147060"/>
                    <a:pt x="5580586" y="5147060"/>
                  </a:cubicBezTo>
                  <a:cubicBezTo>
                    <a:pt x="5575637" y="5147060"/>
                    <a:pt x="5571626" y="5143048"/>
                    <a:pt x="5571626" y="5138099"/>
                  </a:cubicBezTo>
                  <a:cubicBezTo>
                    <a:pt x="5571626" y="5133150"/>
                    <a:pt x="5575637" y="5129139"/>
                    <a:pt x="5580586" y="5129139"/>
                  </a:cubicBezTo>
                  <a:close/>
                  <a:moveTo>
                    <a:pt x="5411845" y="5129139"/>
                  </a:moveTo>
                  <a:cubicBezTo>
                    <a:pt x="5416794" y="5129139"/>
                    <a:pt x="5420806" y="5133150"/>
                    <a:pt x="5420806" y="5138099"/>
                  </a:cubicBezTo>
                  <a:cubicBezTo>
                    <a:pt x="5420806" y="5143048"/>
                    <a:pt x="5416794" y="5147060"/>
                    <a:pt x="5411845" y="5147060"/>
                  </a:cubicBezTo>
                  <a:cubicBezTo>
                    <a:pt x="5406896" y="5147060"/>
                    <a:pt x="5402885" y="5143048"/>
                    <a:pt x="5402885" y="5138099"/>
                  </a:cubicBezTo>
                  <a:cubicBezTo>
                    <a:pt x="5402885" y="5133150"/>
                    <a:pt x="5406896" y="5129139"/>
                    <a:pt x="5411845" y="5129139"/>
                  </a:cubicBezTo>
                  <a:close/>
                  <a:moveTo>
                    <a:pt x="5243103" y="5129139"/>
                  </a:moveTo>
                  <a:cubicBezTo>
                    <a:pt x="5248052" y="5129139"/>
                    <a:pt x="5252064" y="5133150"/>
                    <a:pt x="5252064" y="5138099"/>
                  </a:cubicBezTo>
                  <a:cubicBezTo>
                    <a:pt x="5252064" y="5143048"/>
                    <a:pt x="5248052" y="5147060"/>
                    <a:pt x="5243103" y="5147060"/>
                  </a:cubicBezTo>
                  <a:cubicBezTo>
                    <a:pt x="5238154" y="5147060"/>
                    <a:pt x="5234143" y="5143048"/>
                    <a:pt x="5234143" y="5138099"/>
                  </a:cubicBezTo>
                  <a:cubicBezTo>
                    <a:pt x="5234143" y="5133150"/>
                    <a:pt x="5238154" y="5129139"/>
                    <a:pt x="5243103" y="5129139"/>
                  </a:cubicBezTo>
                  <a:close/>
                  <a:moveTo>
                    <a:pt x="5074362" y="5129139"/>
                  </a:moveTo>
                  <a:cubicBezTo>
                    <a:pt x="5079311" y="5129139"/>
                    <a:pt x="5083323" y="5133150"/>
                    <a:pt x="5083323" y="5138099"/>
                  </a:cubicBezTo>
                  <a:cubicBezTo>
                    <a:pt x="5083323" y="5143048"/>
                    <a:pt x="5079311" y="5147060"/>
                    <a:pt x="5074362" y="5147060"/>
                  </a:cubicBezTo>
                  <a:cubicBezTo>
                    <a:pt x="5069413" y="5147060"/>
                    <a:pt x="5065402" y="5143048"/>
                    <a:pt x="5065402" y="5138099"/>
                  </a:cubicBezTo>
                  <a:cubicBezTo>
                    <a:pt x="5065402" y="5133150"/>
                    <a:pt x="5069413" y="5129139"/>
                    <a:pt x="5074362" y="5129139"/>
                  </a:cubicBezTo>
                  <a:close/>
                  <a:moveTo>
                    <a:pt x="4905620" y="5129139"/>
                  </a:moveTo>
                  <a:cubicBezTo>
                    <a:pt x="4910569" y="5129139"/>
                    <a:pt x="4914581" y="5133150"/>
                    <a:pt x="4914581" y="5138099"/>
                  </a:cubicBezTo>
                  <a:cubicBezTo>
                    <a:pt x="4914581" y="5143048"/>
                    <a:pt x="4910569" y="5147060"/>
                    <a:pt x="4905620" y="5147060"/>
                  </a:cubicBezTo>
                  <a:cubicBezTo>
                    <a:pt x="4900671" y="5147060"/>
                    <a:pt x="4896660" y="5143048"/>
                    <a:pt x="4896660" y="5138099"/>
                  </a:cubicBezTo>
                  <a:cubicBezTo>
                    <a:pt x="4896660" y="5133150"/>
                    <a:pt x="4900671" y="5129139"/>
                    <a:pt x="4905620" y="5129139"/>
                  </a:cubicBezTo>
                  <a:close/>
                  <a:moveTo>
                    <a:pt x="4736878" y="5129139"/>
                  </a:moveTo>
                  <a:cubicBezTo>
                    <a:pt x="4741827" y="5129139"/>
                    <a:pt x="4745839" y="5133150"/>
                    <a:pt x="4745839" y="5138099"/>
                  </a:cubicBezTo>
                  <a:cubicBezTo>
                    <a:pt x="4745839" y="5143048"/>
                    <a:pt x="4741827" y="5147060"/>
                    <a:pt x="4736878" y="5147060"/>
                  </a:cubicBezTo>
                  <a:cubicBezTo>
                    <a:pt x="4731929" y="5147060"/>
                    <a:pt x="4727918" y="5143048"/>
                    <a:pt x="4727918" y="5138099"/>
                  </a:cubicBezTo>
                  <a:cubicBezTo>
                    <a:pt x="4727918" y="5133150"/>
                    <a:pt x="4731929" y="5129139"/>
                    <a:pt x="4736878" y="5129139"/>
                  </a:cubicBezTo>
                  <a:close/>
                  <a:moveTo>
                    <a:pt x="4568137" y="5129139"/>
                  </a:moveTo>
                  <a:cubicBezTo>
                    <a:pt x="4573086" y="5129139"/>
                    <a:pt x="4577098" y="5133150"/>
                    <a:pt x="4577098" y="5138099"/>
                  </a:cubicBezTo>
                  <a:cubicBezTo>
                    <a:pt x="4577098" y="5143048"/>
                    <a:pt x="4573086" y="5147060"/>
                    <a:pt x="4568137" y="5147060"/>
                  </a:cubicBezTo>
                  <a:cubicBezTo>
                    <a:pt x="4563188" y="5147060"/>
                    <a:pt x="4559177" y="5143048"/>
                    <a:pt x="4559177" y="5138099"/>
                  </a:cubicBezTo>
                  <a:cubicBezTo>
                    <a:pt x="4559177" y="5133150"/>
                    <a:pt x="4563188" y="5129139"/>
                    <a:pt x="4568137" y="5129139"/>
                  </a:cubicBezTo>
                  <a:close/>
                  <a:moveTo>
                    <a:pt x="4399396" y="5129139"/>
                  </a:moveTo>
                  <a:cubicBezTo>
                    <a:pt x="4404345" y="5129139"/>
                    <a:pt x="4408357" y="5133150"/>
                    <a:pt x="4408357" y="5138099"/>
                  </a:cubicBezTo>
                  <a:cubicBezTo>
                    <a:pt x="4408357" y="5143048"/>
                    <a:pt x="4404345" y="5147060"/>
                    <a:pt x="4399396" y="5147060"/>
                  </a:cubicBezTo>
                  <a:cubicBezTo>
                    <a:pt x="4394447" y="5147060"/>
                    <a:pt x="4390436" y="5143048"/>
                    <a:pt x="4390436" y="5138099"/>
                  </a:cubicBezTo>
                  <a:cubicBezTo>
                    <a:pt x="4390436" y="5133150"/>
                    <a:pt x="4394447" y="5129139"/>
                    <a:pt x="4399396" y="5129139"/>
                  </a:cubicBezTo>
                  <a:close/>
                  <a:moveTo>
                    <a:pt x="4230654" y="5129139"/>
                  </a:moveTo>
                  <a:cubicBezTo>
                    <a:pt x="4235603" y="5129139"/>
                    <a:pt x="4239615" y="5133150"/>
                    <a:pt x="4239615" y="5138099"/>
                  </a:cubicBezTo>
                  <a:cubicBezTo>
                    <a:pt x="4239615" y="5143048"/>
                    <a:pt x="4235603" y="5147060"/>
                    <a:pt x="4230654" y="5147060"/>
                  </a:cubicBezTo>
                  <a:cubicBezTo>
                    <a:pt x="4225705" y="5147060"/>
                    <a:pt x="4221694" y="5143048"/>
                    <a:pt x="4221694" y="5138099"/>
                  </a:cubicBezTo>
                  <a:cubicBezTo>
                    <a:pt x="4221694" y="5133150"/>
                    <a:pt x="4225705" y="5129139"/>
                    <a:pt x="4230654" y="5129139"/>
                  </a:cubicBezTo>
                  <a:close/>
                  <a:moveTo>
                    <a:pt x="4061912" y="5129139"/>
                  </a:moveTo>
                  <a:cubicBezTo>
                    <a:pt x="4066861" y="5129139"/>
                    <a:pt x="4070873" y="5133150"/>
                    <a:pt x="4070873" y="5138099"/>
                  </a:cubicBezTo>
                  <a:cubicBezTo>
                    <a:pt x="4070873" y="5143048"/>
                    <a:pt x="4066861" y="5147060"/>
                    <a:pt x="4061912" y="5147060"/>
                  </a:cubicBezTo>
                  <a:cubicBezTo>
                    <a:pt x="4056963" y="5147060"/>
                    <a:pt x="4052952" y="5143048"/>
                    <a:pt x="4052952" y="5138099"/>
                  </a:cubicBezTo>
                  <a:cubicBezTo>
                    <a:pt x="4052952" y="5133150"/>
                    <a:pt x="4056963" y="5129139"/>
                    <a:pt x="4061912" y="5129139"/>
                  </a:cubicBezTo>
                  <a:close/>
                  <a:moveTo>
                    <a:pt x="3893170" y="5129139"/>
                  </a:moveTo>
                  <a:cubicBezTo>
                    <a:pt x="3898119" y="5129139"/>
                    <a:pt x="3902131" y="5133150"/>
                    <a:pt x="3902131" y="5138099"/>
                  </a:cubicBezTo>
                  <a:cubicBezTo>
                    <a:pt x="3902131" y="5143048"/>
                    <a:pt x="3898119" y="5147060"/>
                    <a:pt x="3893170" y="5147060"/>
                  </a:cubicBezTo>
                  <a:cubicBezTo>
                    <a:pt x="3888221" y="5147060"/>
                    <a:pt x="3884210" y="5143048"/>
                    <a:pt x="3884210" y="5138099"/>
                  </a:cubicBezTo>
                  <a:cubicBezTo>
                    <a:pt x="3884210" y="5133150"/>
                    <a:pt x="3888221" y="5129139"/>
                    <a:pt x="3893170" y="5129139"/>
                  </a:cubicBezTo>
                  <a:close/>
                  <a:moveTo>
                    <a:pt x="3724429" y="5129139"/>
                  </a:moveTo>
                  <a:cubicBezTo>
                    <a:pt x="3729378" y="5129139"/>
                    <a:pt x="3733390" y="5133150"/>
                    <a:pt x="3733390" y="5138099"/>
                  </a:cubicBezTo>
                  <a:cubicBezTo>
                    <a:pt x="3733390" y="5143048"/>
                    <a:pt x="3729378" y="5147060"/>
                    <a:pt x="3724429" y="5147060"/>
                  </a:cubicBezTo>
                  <a:cubicBezTo>
                    <a:pt x="3719481" y="5147060"/>
                    <a:pt x="3715469" y="5143048"/>
                    <a:pt x="3715469" y="5138099"/>
                  </a:cubicBezTo>
                  <a:cubicBezTo>
                    <a:pt x="3715469" y="5133150"/>
                    <a:pt x="3719481" y="5129139"/>
                    <a:pt x="3724429" y="5129139"/>
                  </a:cubicBezTo>
                  <a:close/>
                  <a:moveTo>
                    <a:pt x="3555688" y="5129139"/>
                  </a:moveTo>
                  <a:cubicBezTo>
                    <a:pt x="3560637" y="5129139"/>
                    <a:pt x="3564649" y="5133150"/>
                    <a:pt x="3564649" y="5138099"/>
                  </a:cubicBezTo>
                  <a:cubicBezTo>
                    <a:pt x="3564649" y="5143048"/>
                    <a:pt x="3560637" y="5147060"/>
                    <a:pt x="3555688" y="5147060"/>
                  </a:cubicBezTo>
                  <a:cubicBezTo>
                    <a:pt x="3550740" y="5147060"/>
                    <a:pt x="3546728" y="5143048"/>
                    <a:pt x="3546728" y="5138099"/>
                  </a:cubicBezTo>
                  <a:cubicBezTo>
                    <a:pt x="3546728" y="5133150"/>
                    <a:pt x="3550740" y="5129139"/>
                    <a:pt x="3555688" y="5129139"/>
                  </a:cubicBezTo>
                  <a:close/>
                  <a:moveTo>
                    <a:pt x="3387020" y="5129139"/>
                  </a:moveTo>
                  <a:cubicBezTo>
                    <a:pt x="3391968" y="5129139"/>
                    <a:pt x="3395980" y="5133150"/>
                    <a:pt x="3395980" y="5138099"/>
                  </a:cubicBezTo>
                  <a:cubicBezTo>
                    <a:pt x="3395980" y="5143048"/>
                    <a:pt x="3391968" y="5147060"/>
                    <a:pt x="3387020" y="5147060"/>
                  </a:cubicBezTo>
                  <a:cubicBezTo>
                    <a:pt x="3382035" y="5147060"/>
                    <a:pt x="3378023" y="5143048"/>
                    <a:pt x="3378023" y="5138099"/>
                  </a:cubicBezTo>
                  <a:cubicBezTo>
                    <a:pt x="3378023" y="5133150"/>
                    <a:pt x="3382035" y="5129139"/>
                    <a:pt x="3387020" y="5129139"/>
                  </a:cubicBezTo>
                  <a:close/>
                  <a:moveTo>
                    <a:pt x="3218262" y="5129139"/>
                  </a:moveTo>
                  <a:cubicBezTo>
                    <a:pt x="3223223" y="5129139"/>
                    <a:pt x="3227234" y="5133150"/>
                    <a:pt x="3227234" y="5138099"/>
                  </a:cubicBezTo>
                  <a:cubicBezTo>
                    <a:pt x="3227234" y="5143048"/>
                    <a:pt x="3223223" y="5147060"/>
                    <a:pt x="3218262" y="5147060"/>
                  </a:cubicBezTo>
                  <a:cubicBezTo>
                    <a:pt x="3213308" y="5147060"/>
                    <a:pt x="3209305" y="5143048"/>
                    <a:pt x="3209305" y="5138099"/>
                  </a:cubicBezTo>
                  <a:cubicBezTo>
                    <a:pt x="3209305" y="5133150"/>
                    <a:pt x="3213308" y="5129139"/>
                    <a:pt x="3218262" y="5129139"/>
                  </a:cubicBezTo>
                  <a:close/>
                  <a:moveTo>
                    <a:pt x="3049552" y="5129139"/>
                  </a:moveTo>
                  <a:cubicBezTo>
                    <a:pt x="3054486" y="5129139"/>
                    <a:pt x="3058499" y="5133150"/>
                    <a:pt x="3058499" y="5138099"/>
                  </a:cubicBezTo>
                  <a:cubicBezTo>
                    <a:pt x="3058499" y="5143048"/>
                    <a:pt x="3054486" y="5147060"/>
                    <a:pt x="3049552" y="5147060"/>
                  </a:cubicBezTo>
                  <a:cubicBezTo>
                    <a:pt x="3044589" y="5147060"/>
                    <a:pt x="3040580" y="5143048"/>
                    <a:pt x="3040580" y="5138099"/>
                  </a:cubicBezTo>
                  <a:cubicBezTo>
                    <a:pt x="3040580" y="5133150"/>
                    <a:pt x="3044589" y="5129139"/>
                    <a:pt x="3049552" y="5129139"/>
                  </a:cubicBezTo>
                  <a:close/>
                  <a:moveTo>
                    <a:pt x="2880817" y="5129139"/>
                  </a:moveTo>
                  <a:cubicBezTo>
                    <a:pt x="2885763" y="5129139"/>
                    <a:pt x="2889774" y="5133150"/>
                    <a:pt x="2889774" y="5138099"/>
                  </a:cubicBezTo>
                  <a:cubicBezTo>
                    <a:pt x="2889774" y="5143048"/>
                    <a:pt x="2885763" y="5147060"/>
                    <a:pt x="2880817" y="5147060"/>
                  </a:cubicBezTo>
                  <a:cubicBezTo>
                    <a:pt x="2875867" y="5147060"/>
                    <a:pt x="2871855" y="5143048"/>
                    <a:pt x="2871855" y="5138099"/>
                  </a:cubicBezTo>
                  <a:cubicBezTo>
                    <a:pt x="2871855" y="5133150"/>
                    <a:pt x="2875867" y="5129139"/>
                    <a:pt x="2880817" y="5129139"/>
                  </a:cubicBezTo>
                  <a:close/>
                  <a:moveTo>
                    <a:pt x="2712057" y="5129139"/>
                  </a:moveTo>
                  <a:cubicBezTo>
                    <a:pt x="2717031" y="5129139"/>
                    <a:pt x="2721041" y="5133150"/>
                    <a:pt x="2721041" y="5138099"/>
                  </a:cubicBezTo>
                  <a:cubicBezTo>
                    <a:pt x="2721041" y="5143048"/>
                    <a:pt x="2717031" y="5147060"/>
                    <a:pt x="2712057" y="5147060"/>
                  </a:cubicBezTo>
                  <a:cubicBezTo>
                    <a:pt x="2707112" y="5147060"/>
                    <a:pt x="2703101" y="5143048"/>
                    <a:pt x="2703101" y="5138099"/>
                  </a:cubicBezTo>
                  <a:cubicBezTo>
                    <a:pt x="2703101" y="5133150"/>
                    <a:pt x="2707112" y="5129139"/>
                    <a:pt x="2712057" y="5129139"/>
                  </a:cubicBezTo>
                  <a:close/>
                  <a:moveTo>
                    <a:pt x="2543355" y="5129139"/>
                  </a:moveTo>
                  <a:cubicBezTo>
                    <a:pt x="2548303" y="5129139"/>
                    <a:pt x="2552313" y="5133150"/>
                    <a:pt x="2552313" y="5138099"/>
                  </a:cubicBezTo>
                  <a:cubicBezTo>
                    <a:pt x="2552313" y="5143048"/>
                    <a:pt x="2548303" y="5147060"/>
                    <a:pt x="2543355" y="5147060"/>
                  </a:cubicBezTo>
                  <a:cubicBezTo>
                    <a:pt x="2538402" y="5147060"/>
                    <a:pt x="2534383" y="5143048"/>
                    <a:pt x="2534383" y="5138099"/>
                  </a:cubicBezTo>
                  <a:cubicBezTo>
                    <a:pt x="2534383" y="5133150"/>
                    <a:pt x="2538402" y="5129139"/>
                    <a:pt x="2543355" y="5129139"/>
                  </a:cubicBezTo>
                  <a:close/>
                  <a:moveTo>
                    <a:pt x="2374574" y="5129139"/>
                  </a:moveTo>
                  <a:cubicBezTo>
                    <a:pt x="2379533" y="5129139"/>
                    <a:pt x="2383566" y="5133150"/>
                    <a:pt x="2383566" y="5138099"/>
                  </a:cubicBezTo>
                  <a:cubicBezTo>
                    <a:pt x="2383566" y="5143048"/>
                    <a:pt x="2379533" y="5147060"/>
                    <a:pt x="2374574" y="5147060"/>
                  </a:cubicBezTo>
                  <a:cubicBezTo>
                    <a:pt x="2369625" y="5147060"/>
                    <a:pt x="2365611" y="5143048"/>
                    <a:pt x="2365611" y="5138099"/>
                  </a:cubicBezTo>
                  <a:cubicBezTo>
                    <a:pt x="2365611" y="5133150"/>
                    <a:pt x="2369625" y="5129139"/>
                    <a:pt x="2374574" y="5129139"/>
                  </a:cubicBezTo>
                  <a:close/>
                  <a:moveTo>
                    <a:pt x="2205862" y="5129139"/>
                  </a:moveTo>
                  <a:cubicBezTo>
                    <a:pt x="2210807" y="5129139"/>
                    <a:pt x="2214818" y="5133150"/>
                    <a:pt x="2214818" y="5138099"/>
                  </a:cubicBezTo>
                  <a:cubicBezTo>
                    <a:pt x="2214818" y="5143048"/>
                    <a:pt x="2210807" y="5147060"/>
                    <a:pt x="2205862" y="5147060"/>
                  </a:cubicBezTo>
                  <a:cubicBezTo>
                    <a:pt x="2200891" y="5147060"/>
                    <a:pt x="2196880" y="5143048"/>
                    <a:pt x="2196880" y="5138099"/>
                  </a:cubicBezTo>
                  <a:cubicBezTo>
                    <a:pt x="2196880" y="5133150"/>
                    <a:pt x="2200891" y="5129139"/>
                    <a:pt x="2205862" y="5129139"/>
                  </a:cubicBezTo>
                  <a:close/>
                  <a:moveTo>
                    <a:pt x="2037117" y="5129139"/>
                  </a:moveTo>
                  <a:cubicBezTo>
                    <a:pt x="2042071" y="5129139"/>
                    <a:pt x="2046067" y="5133150"/>
                    <a:pt x="2046067" y="5138099"/>
                  </a:cubicBezTo>
                  <a:cubicBezTo>
                    <a:pt x="2046067" y="5143048"/>
                    <a:pt x="2042071" y="5147060"/>
                    <a:pt x="2037117" y="5147060"/>
                  </a:cubicBezTo>
                  <a:cubicBezTo>
                    <a:pt x="2032172" y="5147060"/>
                    <a:pt x="2028170" y="5143048"/>
                    <a:pt x="2028170" y="5138099"/>
                  </a:cubicBezTo>
                  <a:cubicBezTo>
                    <a:pt x="2028170" y="5133150"/>
                    <a:pt x="2032172" y="5129139"/>
                    <a:pt x="2037117" y="5129139"/>
                  </a:cubicBezTo>
                  <a:close/>
                  <a:moveTo>
                    <a:pt x="1868397" y="5129139"/>
                  </a:moveTo>
                  <a:cubicBezTo>
                    <a:pt x="1873341" y="5129139"/>
                    <a:pt x="1877351" y="5133150"/>
                    <a:pt x="1877351" y="5138099"/>
                  </a:cubicBezTo>
                  <a:cubicBezTo>
                    <a:pt x="1877351" y="5143048"/>
                    <a:pt x="1873341" y="5147060"/>
                    <a:pt x="1868397" y="5147060"/>
                  </a:cubicBezTo>
                  <a:cubicBezTo>
                    <a:pt x="1863442" y="5147060"/>
                    <a:pt x="1859426" y="5143048"/>
                    <a:pt x="1859426" y="5138099"/>
                  </a:cubicBezTo>
                  <a:cubicBezTo>
                    <a:pt x="1859426" y="5133150"/>
                    <a:pt x="1863442" y="5129139"/>
                    <a:pt x="1868397" y="5129139"/>
                  </a:cubicBezTo>
                  <a:close/>
                  <a:moveTo>
                    <a:pt x="1699646" y="5129139"/>
                  </a:moveTo>
                  <a:cubicBezTo>
                    <a:pt x="1704604" y="5129139"/>
                    <a:pt x="1708615" y="5133150"/>
                    <a:pt x="1708615" y="5138099"/>
                  </a:cubicBezTo>
                  <a:cubicBezTo>
                    <a:pt x="1708615" y="5143048"/>
                    <a:pt x="1704604" y="5147060"/>
                    <a:pt x="1699646" y="5147060"/>
                  </a:cubicBezTo>
                  <a:cubicBezTo>
                    <a:pt x="1694699" y="5147060"/>
                    <a:pt x="1690685" y="5143048"/>
                    <a:pt x="1690685" y="5138099"/>
                  </a:cubicBezTo>
                  <a:cubicBezTo>
                    <a:pt x="1690685" y="5133150"/>
                    <a:pt x="1694699" y="5129139"/>
                    <a:pt x="1699646" y="5129139"/>
                  </a:cubicBezTo>
                  <a:close/>
                  <a:moveTo>
                    <a:pt x="1530907" y="5129139"/>
                  </a:moveTo>
                  <a:cubicBezTo>
                    <a:pt x="1535857" y="5129139"/>
                    <a:pt x="1539869" y="5133150"/>
                    <a:pt x="1539869" y="5138099"/>
                  </a:cubicBezTo>
                  <a:cubicBezTo>
                    <a:pt x="1539869" y="5143048"/>
                    <a:pt x="1535857" y="5147060"/>
                    <a:pt x="1530907" y="5147060"/>
                  </a:cubicBezTo>
                  <a:cubicBezTo>
                    <a:pt x="1525958" y="5147060"/>
                    <a:pt x="1521946" y="5143048"/>
                    <a:pt x="1521946" y="5138099"/>
                  </a:cubicBezTo>
                  <a:cubicBezTo>
                    <a:pt x="1521946" y="5133150"/>
                    <a:pt x="1525958" y="5129139"/>
                    <a:pt x="1530907" y="5129139"/>
                  </a:cubicBezTo>
                  <a:close/>
                  <a:moveTo>
                    <a:pt x="1362159" y="5129139"/>
                  </a:moveTo>
                  <a:cubicBezTo>
                    <a:pt x="1367111" y="5129139"/>
                    <a:pt x="1371120" y="5133150"/>
                    <a:pt x="1371120" y="5138099"/>
                  </a:cubicBezTo>
                  <a:cubicBezTo>
                    <a:pt x="1371120" y="5143048"/>
                    <a:pt x="1367111" y="5147060"/>
                    <a:pt x="1362159" y="5147060"/>
                  </a:cubicBezTo>
                  <a:cubicBezTo>
                    <a:pt x="1357210" y="5147060"/>
                    <a:pt x="1353198" y="5143048"/>
                    <a:pt x="1353198" y="5138099"/>
                  </a:cubicBezTo>
                  <a:cubicBezTo>
                    <a:pt x="1353198" y="5133150"/>
                    <a:pt x="1357210" y="5129139"/>
                    <a:pt x="1362159" y="5129139"/>
                  </a:cubicBezTo>
                  <a:close/>
                  <a:moveTo>
                    <a:pt x="1193417" y="5129139"/>
                  </a:moveTo>
                  <a:cubicBezTo>
                    <a:pt x="1198366" y="5129139"/>
                    <a:pt x="1202378" y="5133150"/>
                    <a:pt x="1202378" y="5138099"/>
                  </a:cubicBezTo>
                  <a:cubicBezTo>
                    <a:pt x="1202378" y="5143048"/>
                    <a:pt x="1198366" y="5147060"/>
                    <a:pt x="1193417" y="5147060"/>
                  </a:cubicBezTo>
                  <a:cubicBezTo>
                    <a:pt x="1188470" y="5147060"/>
                    <a:pt x="1184459" y="5143048"/>
                    <a:pt x="1184459" y="5138099"/>
                  </a:cubicBezTo>
                  <a:cubicBezTo>
                    <a:pt x="1184459" y="5133150"/>
                    <a:pt x="1188470" y="5129139"/>
                    <a:pt x="1193417" y="5129139"/>
                  </a:cubicBezTo>
                  <a:close/>
                  <a:moveTo>
                    <a:pt x="1024667" y="5129139"/>
                  </a:moveTo>
                  <a:cubicBezTo>
                    <a:pt x="1029619" y="5129139"/>
                    <a:pt x="1033633" y="5133150"/>
                    <a:pt x="1033633" y="5138099"/>
                  </a:cubicBezTo>
                  <a:cubicBezTo>
                    <a:pt x="1033633" y="5143048"/>
                    <a:pt x="1029619" y="5147060"/>
                    <a:pt x="1024667" y="5147060"/>
                  </a:cubicBezTo>
                  <a:cubicBezTo>
                    <a:pt x="1019719" y="5147060"/>
                    <a:pt x="1015707" y="5143048"/>
                    <a:pt x="1015707" y="5138099"/>
                  </a:cubicBezTo>
                  <a:cubicBezTo>
                    <a:pt x="1015707" y="5133150"/>
                    <a:pt x="1019719" y="5129139"/>
                    <a:pt x="1024667" y="5129139"/>
                  </a:cubicBezTo>
                  <a:close/>
                  <a:moveTo>
                    <a:pt x="855936" y="5129139"/>
                  </a:moveTo>
                  <a:cubicBezTo>
                    <a:pt x="860884" y="5129139"/>
                    <a:pt x="864896" y="5133150"/>
                    <a:pt x="864896" y="5138099"/>
                  </a:cubicBezTo>
                  <a:cubicBezTo>
                    <a:pt x="864896" y="5143048"/>
                    <a:pt x="860884" y="5147060"/>
                    <a:pt x="855936" y="5147060"/>
                  </a:cubicBezTo>
                  <a:cubicBezTo>
                    <a:pt x="850987" y="5147060"/>
                    <a:pt x="846975" y="5143048"/>
                    <a:pt x="846975" y="5138099"/>
                  </a:cubicBezTo>
                  <a:cubicBezTo>
                    <a:pt x="846975" y="5133150"/>
                    <a:pt x="850987" y="5129139"/>
                    <a:pt x="855936" y="5129139"/>
                  </a:cubicBezTo>
                  <a:close/>
                  <a:moveTo>
                    <a:pt x="687196" y="5129139"/>
                  </a:moveTo>
                  <a:cubicBezTo>
                    <a:pt x="692145" y="5129139"/>
                    <a:pt x="696157" y="5133150"/>
                    <a:pt x="696157" y="5138099"/>
                  </a:cubicBezTo>
                  <a:cubicBezTo>
                    <a:pt x="696157" y="5143048"/>
                    <a:pt x="692145" y="5147060"/>
                    <a:pt x="687196" y="5147060"/>
                  </a:cubicBezTo>
                  <a:cubicBezTo>
                    <a:pt x="682248" y="5147060"/>
                    <a:pt x="678237" y="5143048"/>
                    <a:pt x="678237" y="5138099"/>
                  </a:cubicBezTo>
                  <a:cubicBezTo>
                    <a:pt x="678237" y="5133150"/>
                    <a:pt x="682248" y="5129139"/>
                    <a:pt x="687196" y="5129139"/>
                  </a:cubicBezTo>
                  <a:close/>
                  <a:moveTo>
                    <a:pt x="518435" y="5129139"/>
                  </a:moveTo>
                  <a:cubicBezTo>
                    <a:pt x="523383" y="5129139"/>
                    <a:pt x="527395" y="5133150"/>
                    <a:pt x="527395" y="5138099"/>
                  </a:cubicBezTo>
                  <a:cubicBezTo>
                    <a:pt x="527395" y="5143048"/>
                    <a:pt x="523383" y="5147060"/>
                    <a:pt x="518435" y="5147060"/>
                  </a:cubicBezTo>
                  <a:cubicBezTo>
                    <a:pt x="513486" y="5147060"/>
                    <a:pt x="509474" y="5143048"/>
                    <a:pt x="509474" y="5138099"/>
                  </a:cubicBezTo>
                  <a:cubicBezTo>
                    <a:pt x="509474" y="5133150"/>
                    <a:pt x="513486" y="5129139"/>
                    <a:pt x="518435" y="5129139"/>
                  </a:cubicBezTo>
                  <a:close/>
                  <a:moveTo>
                    <a:pt x="349696" y="5129139"/>
                  </a:moveTo>
                  <a:cubicBezTo>
                    <a:pt x="354645" y="5129139"/>
                    <a:pt x="358657" y="5133150"/>
                    <a:pt x="358657" y="5138099"/>
                  </a:cubicBezTo>
                  <a:cubicBezTo>
                    <a:pt x="358657" y="5143048"/>
                    <a:pt x="354645" y="5147060"/>
                    <a:pt x="349696" y="5147060"/>
                  </a:cubicBezTo>
                  <a:cubicBezTo>
                    <a:pt x="344748" y="5147060"/>
                    <a:pt x="340736" y="5143048"/>
                    <a:pt x="340736" y="5138099"/>
                  </a:cubicBezTo>
                  <a:cubicBezTo>
                    <a:pt x="340736" y="5133150"/>
                    <a:pt x="344748" y="5129139"/>
                    <a:pt x="349696" y="5129139"/>
                  </a:cubicBezTo>
                  <a:close/>
                  <a:moveTo>
                    <a:pt x="179377" y="5129139"/>
                  </a:moveTo>
                  <a:cubicBezTo>
                    <a:pt x="184326" y="5129139"/>
                    <a:pt x="188338" y="5133150"/>
                    <a:pt x="188338" y="5138099"/>
                  </a:cubicBezTo>
                  <a:cubicBezTo>
                    <a:pt x="188338" y="5143048"/>
                    <a:pt x="184326" y="5147060"/>
                    <a:pt x="179377" y="5147060"/>
                  </a:cubicBezTo>
                  <a:cubicBezTo>
                    <a:pt x="174429" y="5147060"/>
                    <a:pt x="170417" y="5143048"/>
                    <a:pt x="170417" y="5138099"/>
                  </a:cubicBezTo>
                  <a:cubicBezTo>
                    <a:pt x="170417" y="5133150"/>
                    <a:pt x="174429" y="5129139"/>
                    <a:pt x="179377" y="5129139"/>
                  </a:cubicBezTo>
                  <a:close/>
                  <a:moveTo>
                    <a:pt x="9060" y="5129139"/>
                  </a:moveTo>
                  <a:cubicBezTo>
                    <a:pt x="14008" y="5129139"/>
                    <a:pt x="18019" y="5133150"/>
                    <a:pt x="18019" y="5138099"/>
                  </a:cubicBezTo>
                  <a:cubicBezTo>
                    <a:pt x="18019" y="5143048"/>
                    <a:pt x="14008" y="5147060"/>
                    <a:pt x="9060" y="5147060"/>
                  </a:cubicBezTo>
                  <a:cubicBezTo>
                    <a:pt x="4111" y="5147060"/>
                    <a:pt x="99" y="5143048"/>
                    <a:pt x="99" y="5138099"/>
                  </a:cubicBezTo>
                  <a:cubicBezTo>
                    <a:pt x="99" y="5133150"/>
                    <a:pt x="4111" y="5129139"/>
                    <a:pt x="9060" y="5129139"/>
                  </a:cubicBezTo>
                  <a:close/>
                  <a:moveTo>
                    <a:pt x="6933679" y="4958158"/>
                  </a:moveTo>
                  <a:cubicBezTo>
                    <a:pt x="6938628" y="4958158"/>
                    <a:pt x="6942639" y="4962169"/>
                    <a:pt x="6942639" y="4967118"/>
                  </a:cubicBezTo>
                  <a:cubicBezTo>
                    <a:pt x="6942639" y="4972067"/>
                    <a:pt x="6938628" y="4976079"/>
                    <a:pt x="6933679" y="4976079"/>
                  </a:cubicBezTo>
                  <a:cubicBezTo>
                    <a:pt x="6928730" y="4976079"/>
                    <a:pt x="6924718" y="4972067"/>
                    <a:pt x="6924718" y="4967118"/>
                  </a:cubicBezTo>
                  <a:cubicBezTo>
                    <a:pt x="6924718" y="4962169"/>
                    <a:pt x="6928730" y="4958158"/>
                    <a:pt x="6933679" y="4958158"/>
                  </a:cubicBezTo>
                  <a:close/>
                  <a:moveTo>
                    <a:pt x="6763357" y="4958158"/>
                  </a:moveTo>
                  <a:cubicBezTo>
                    <a:pt x="6768306" y="4958158"/>
                    <a:pt x="6772318" y="4962169"/>
                    <a:pt x="6772318" y="4967118"/>
                  </a:cubicBezTo>
                  <a:cubicBezTo>
                    <a:pt x="6772318" y="4972067"/>
                    <a:pt x="6768306" y="4976079"/>
                    <a:pt x="6763357" y="4976079"/>
                  </a:cubicBezTo>
                  <a:cubicBezTo>
                    <a:pt x="6758408" y="4976079"/>
                    <a:pt x="6754397" y="4972067"/>
                    <a:pt x="6754397" y="4967118"/>
                  </a:cubicBezTo>
                  <a:cubicBezTo>
                    <a:pt x="6754397" y="4962169"/>
                    <a:pt x="6758408" y="4958158"/>
                    <a:pt x="6763357" y="4958158"/>
                  </a:cubicBezTo>
                  <a:close/>
                  <a:moveTo>
                    <a:pt x="6593035" y="4958158"/>
                  </a:moveTo>
                  <a:cubicBezTo>
                    <a:pt x="6597984" y="4958158"/>
                    <a:pt x="6601996" y="4962169"/>
                    <a:pt x="6601996" y="4967118"/>
                  </a:cubicBezTo>
                  <a:cubicBezTo>
                    <a:pt x="6601996" y="4972067"/>
                    <a:pt x="6597984" y="4976079"/>
                    <a:pt x="6593035" y="4976079"/>
                  </a:cubicBezTo>
                  <a:cubicBezTo>
                    <a:pt x="6588086" y="4976079"/>
                    <a:pt x="6584075" y="4972067"/>
                    <a:pt x="6584075" y="4967118"/>
                  </a:cubicBezTo>
                  <a:cubicBezTo>
                    <a:pt x="6584075" y="4962169"/>
                    <a:pt x="6588086" y="4958158"/>
                    <a:pt x="6593035" y="4958158"/>
                  </a:cubicBezTo>
                  <a:close/>
                  <a:moveTo>
                    <a:pt x="6424294" y="4958158"/>
                  </a:moveTo>
                  <a:cubicBezTo>
                    <a:pt x="6429243" y="4958158"/>
                    <a:pt x="6433255" y="4962169"/>
                    <a:pt x="6433255" y="4967118"/>
                  </a:cubicBezTo>
                  <a:cubicBezTo>
                    <a:pt x="6433255" y="4972067"/>
                    <a:pt x="6429243" y="4976079"/>
                    <a:pt x="6424294" y="4976079"/>
                  </a:cubicBezTo>
                  <a:cubicBezTo>
                    <a:pt x="6419345" y="4976079"/>
                    <a:pt x="6415334" y="4972067"/>
                    <a:pt x="6415334" y="4967118"/>
                  </a:cubicBezTo>
                  <a:cubicBezTo>
                    <a:pt x="6415334" y="4962169"/>
                    <a:pt x="6419345" y="4958158"/>
                    <a:pt x="6424294" y="4958158"/>
                  </a:cubicBezTo>
                  <a:close/>
                  <a:moveTo>
                    <a:pt x="6255553" y="4958158"/>
                  </a:moveTo>
                  <a:cubicBezTo>
                    <a:pt x="6260502" y="4958158"/>
                    <a:pt x="6264514" y="4962169"/>
                    <a:pt x="6264514" y="4967118"/>
                  </a:cubicBezTo>
                  <a:cubicBezTo>
                    <a:pt x="6264514" y="4972067"/>
                    <a:pt x="6260502" y="4976079"/>
                    <a:pt x="6255553" y="4976079"/>
                  </a:cubicBezTo>
                  <a:cubicBezTo>
                    <a:pt x="6250604" y="4976079"/>
                    <a:pt x="6246593" y="4972067"/>
                    <a:pt x="6246593" y="4967118"/>
                  </a:cubicBezTo>
                  <a:cubicBezTo>
                    <a:pt x="6246593" y="4962169"/>
                    <a:pt x="6250604" y="4958158"/>
                    <a:pt x="6255553" y="4958158"/>
                  </a:cubicBezTo>
                  <a:close/>
                  <a:moveTo>
                    <a:pt x="6086811" y="4958158"/>
                  </a:moveTo>
                  <a:cubicBezTo>
                    <a:pt x="6091760" y="4958158"/>
                    <a:pt x="6095772" y="4962169"/>
                    <a:pt x="6095772" y="4967118"/>
                  </a:cubicBezTo>
                  <a:cubicBezTo>
                    <a:pt x="6095772" y="4972067"/>
                    <a:pt x="6091760" y="4976079"/>
                    <a:pt x="6086811" y="4976079"/>
                  </a:cubicBezTo>
                  <a:cubicBezTo>
                    <a:pt x="6081862" y="4976079"/>
                    <a:pt x="6077851" y="4972067"/>
                    <a:pt x="6077851" y="4967118"/>
                  </a:cubicBezTo>
                  <a:cubicBezTo>
                    <a:pt x="6077851" y="4962169"/>
                    <a:pt x="6081862" y="4958158"/>
                    <a:pt x="6086811" y="4958158"/>
                  </a:cubicBezTo>
                  <a:close/>
                  <a:moveTo>
                    <a:pt x="5918069" y="4958158"/>
                  </a:moveTo>
                  <a:cubicBezTo>
                    <a:pt x="5923018" y="4958158"/>
                    <a:pt x="5927030" y="4962169"/>
                    <a:pt x="5927030" y="4967118"/>
                  </a:cubicBezTo>
                  <a:cubicBezTo>
                    <a:pt x="5927030" y="4972067"/>
                    <a:pt x="5923018" y="4976079"/>
                    <a:pt x="5918069" y="4976079"/>
                  </a:cubicBezTo>
                  <a:cubicBezTo>
                    <a:pt x="5913120" y="4976079"/>
                    <a:pt x="5909109" y="4972067"/>
                    <a:pt x="5909109" y="4967118"/>
                  </a:cubicBezTo>
                  <a:cubicBezTo>
                    <a:pt x="5909109" y="4962169"/>
                    <a:pt x="5913120" y="4958158"/>
                    <a:pt x="5918069" y="4958158"/>
                  </a:cubicBezTo>
                  <a:close/>
                  <a:moveTo>
                    <a:pt x="5749328" y="4958158"/>
                  </a:moveTo>
                  <a:cubicBezTo>
                    <a:pt x="5754277" y="4958158"/>
                    <a:pt x="5758289" y="4962169"/>
                    <a:pt x="5758289" y="4967118"/>
                  </a:cubicBezTo>
                  <a:cubicBezTo>
                    <a:pt x="5758289" y="4972067"/>
                    <a:pt x="5754277" y="4976079"/>
                    <a:pt x="5749328" y="4976079"/>
                  </a:cubicBezTo>
                  <a:cubicBezTo>
                    <a:pt x="5744379" y="4976079"/>
                    <a:pt x="5740368" y="4972067"/>
                    <a:pt x="5740368" y="4967118"/>
                  </a:cubicBezTo>
                  <a:cubicBezTo>
                    <a:pt x="5740368" y="4962169"/>
                    <a:pt x="5744379" y="4958158"/>
                    <a:pt x="5749328" y="4958158"/>
                  </a:cubicBezTo>
                  <a:close/>
                  <a:moveTo>
                    <a:pt x="5580586" y="4958158"/>
                  </a:moveTo>
                  <a:cubicBezTo>
                    <a:pt x="5585535" y="4958158"/>
                    <a:pt x="5589547" y="4962169"/>
                    <a:pt x="5589547" y="4967118"/>
                  </a:cubicBezTo>
                  <a:cubicBezTo>
                    <a:pt x="5589547" y="4972067"/>
                    <a:pt x="5585535" y="4976079"/>
                    <a:pt x="5580586" y="4976079"/>
                  </a:cubicBezTo>
                  <a:cubicBezTo>
                    <a:pt x="5575637" y="4976079"/>
                    <a:pt x="5571626" y="4972067"/>
                    <a:pt x="5571626" y="4967118"/>
                  </a:cubicBezTo>
                  <a:cubicBezTo>
                    <a:pt x="5571626" y="4962169"/>
                    <a:pt x="5575637" y="4958158"/>
                    <a:pt x="5580586" y="4958158"/>
                  </a:cubicBezTo>
                  <a:close/>
                  <a:moveTo>
                    <a:pt x="5411845" y="4958158"/>
                  </a:moveTo>
                  <a:cubicBezTo>
                    <a:pt x="5416794" y="4958158"/>
                    <a:pt x="5420806" y="4962169"/>
                    <a:pt x="5420806" y="4967118"/>
                  </a:cubicBezTo>
                  <a:cubicBezTo>
                    <a:pt x="5420806" y="4972067"/>
                    <a:pt x="5416794" y="4976079"/>
                    <a:pt x="5411845" y="4976079"/>
                  </a:cubicBezTo>
                  <a:cubicBezTo>
                    <a:pt x="5406896" y="4976079"/>
                    <a:pt x="5402885" y="4972067"/>
                    <a:pt x="5402885" y="4967118"/>
                  </a:cubicBezTo>
                  <a:cubicBezTo>
                    <a:pt x="5402885" y="4962169"/>
                    <a:pt x="5406896" y="4958158"/>
                    <a:pt x="5411845" y="4958158"/>
                  </a:cubicBezTo>
                  <a:close/>
                  <a:moveTo>
                    <a:pt x="5243103" y="4958158"/>
                  </a:moveTo>
                  <a:cubicBezTo>
                    <a:pt x="5248052" y="4958158"/>
                    <a:pt x="5252064" y="4962169"/>
                    <a:pt x="5252064" y="4967118"/>
                  </a:cubicBezTo>
                  <a:cubicBezTo>
                    <a:pt x="5252064" y="4972067"/>
                    <a:pt x="5248052" y="4976079"/>
                    <a:pt x="5243103" y="4976079"/>
                  </a:cubicBezTo>
                  <a:cubicBezTo>
                    <a:pt x="5238154" y="4976079"/>
                    <a:pt x="5234143" y="4972067"/>
                    <a:pt x="5234143" y="4967118"/>
                  </a:cubicBezTo>
                  <a:cubicBezTo>
                    <a:pt x="5234143" y="4962169"/>
                    <a:pt x="5238154" y="4958158"/>
                    <a:pt x="5243103" y="4958158"/>
                  </a:cubicBezTo>
                  <a:close/>
                  <a:moveTo>
                    <a:pt x="5074362" y="4958158"/>
                  </a:moveTo>
                  <a:cubicBezTo>
                    <a:pt x="5079311" y="4958158"/>
                    <a:pt x="5083323" y="4962169"/>
                    <a:pt x="5083323" y="4967118"/>
                  </a:cubicBezTo>
                  <a:cubicBezTo>
                    <a:pt x="5083323" y="4972067"/>
                    <a:pt x="5079311" y="4976079"/>
                    <a:pt x="5074362" y="4976079"/>
                  </a:cubicBezTo>
                  <a:cubicBezTo>
                    <a:pt x="5069413" y="4976079"/>
                    <a:pt x="5065402" y="4972067"/>
                    <a:pt x="5065402" y="4967118"/>
                  </a:cubicBezTo>
                  <a:cubicBezTo>
                    <a:pt x="5065402" y="4962169"/>
                    <a:pt x="5069413" y="4958158"/>
                    <a:pt x="5074362" y="4958158"/>
                  </a:cubicBezTo>
                  <a:close/>
                  <a:moveTo>
                    <a:pt x="4905620" y="4958158"/>
                  </a:moveTo>
                  <a:cubicBezTo>
                    <a:pt x="4910569" y="4958158"/>
                    <a:pt x="4914581" y="4962169"/>
                    <a:pt x="4914581" y="4967118"/>
                  </a:cubicBezTo>
                  <a:cubicBezTo>
                    <a:pt x="4914581" y="4972067"/>
                    <a:pt x="4910569" y="4976079"/>
                    <a:pt x="4905620" y="4976079"/>
                  </a:cubicBezTo>
                  <a:cubicBezTo>
                    <a:pt x="4900671" y="4976079"/>
                    <a:pt x="4896660" y="4972067"/>
                    <a:pt x="4896660" y="4967118"/>
                  </a:cubicBezTo>
                  <a:cubicBezTo>
                    <a:pt x="4896660" y="4962169"/>
                    <a:pt x="4900671" y="4958158"/>
                    <a:pt x="4905620" y="4958158"/>
                  </a:cubicBezTo>
                  <a:close/>
                  <a:moveTo>
                    <a:pt x="4736878" y="4958158"/>
                  </a:moveTo>
                  <a:cubicBezTo>
                    <a:pt x="4741827" y="4958158"/>
                    <a:pt x="4745839" y="4962169"/>
                    <a:pt x="4745839" y="4967118"/>
                  </a:cubicBezTo>
                  <a:cubicBezTo>
                    <a:pt x="4745839" y="4972067"/>
                    <a:pt x="4741827" y="4976079"/>
                    <a:pt x="4736878" y="4976079"/>
                  </a:cubicBezTo>
                  <a:cubicBezTo>
                    <a:pt x="4731929" y="4976079"/>
                    <a:pt x="4727918" y="4972067"/>
                    <a:pt x="4727918" y="4967118"/>
                  </a:cubicBezTo>
                  <a:cubicBezTo>
                    <a:pt x="4727918" y="4962169"/>
                    <a:pt x="4731929" y="4958158"/>
                    <a:pt x="4736878" y="4958158"/>
                  </a:cubicBezTo>
                  <a:close/>
                  <a:moveTo>
                    <a:pt x="4568137" y="4958158"/>
                  </a:moveTo>
                  <a:cubicBezTo>
                    <a:pt x="4573086" y="4958158"/>
                    <a:pt x="4577098" y="4962169"/>
                    <a:pt x="4577098" y="4967118"/>
                  </a:cubicBezTo>
                  <a:cubicBezTo>
                    <a:pt x="4577098" y="4972067"/>
                    <a:pt x="4573086" y="4976079"/>
                    <a:pt x="4568137" y="4976079"/>
                  </a:cubicBezTo>
                  <a:cubicBezTo>
                    <a:pt x="4563188" y="4976079"/>
                    <a:pt x="4559177" y="4972067"/>
                    <a:pt x="4559177" y="4967118"/>
                  </a:cubicBezTo>
                  <a:cubicBezTo>
                    <a:pt x="4559177" y="4962169"/>
                    <a:pt x="4563188" y="4958158"/>
                    <a:pt x="4568137" y="4958158"/>
                  </a:cubicBezTo>
                  <a:close/>
                  <a:moveTo>
                    <a:pt x="4399396" y="4958158"/>
                  </a:moveTo>
                  <a:cubicBezTo>
                    <a:pt x="4404345" y="4958158"/>
                    <a:pt x="4408357" y="4962169"/>
                    <a:pt x="4408357" y="4967118"/>
                  </a:cubicBezTo>
                  <a:cubicBezTo>
                    <a:pt x="4408357" y="4972067"/>
                    <a:pt x="4404345" y="4976079"/>
                    <a:pt x="4399396" y="4976079"/>
                  </a:cubicBezTo>
                  <a:cubicBezTo>
                    <a:pt x="4394447" y="4976079"/>
                    <a:pt x="4390436" y="4972067"/>
                    <a:pt x="4390436" y="4967118"/>
                  </a:cubicBezTo>
                  <a:cubicBezTo>
                    <a:pt x="4390436" y="4962169"/>
                    <a:pt x="4394447" y="4958158"/>
                    <a:pt x="4399396" y="4958158"/>
                  </a:cubicBezTo>
                  <a:close/>
                  <a:moveTo>
                    <a:pt x="4230654" y="4958158"/>
                  </a:moveTo>
                  <a:cubicBezTo>
                    <a:pt x="4235603" y="4958158"/>
                    <a:pt x="4239615" y="4962169"/>
                    <a:pt x="4239615" y="4967118"/>
                  </a:cubicBezTo>
                  <a:cubicBezTo>
                    <a:pt x="4239615" y="4972067"/>
                    <a:pt x="4235603" y="4976079"/>
                    <a:pt x="4230654" y="4976079"/>
                  </a:cubicBezTo>
                  <a:cubicBezTo>
                    <a:pt x="4225705" y="4976079"/>
                    <a:pt x="4221694" y="4972067"/>
                    <a:pt x="4221694" y="4967118"/>
                  </a:cubicBezTo>
                  <a:cubicBezTo>
                    <a:pt x="4221694" y="4962169"/>
                    <a:pt x="4225705" y="4958158"/>
                    <a:pt x="4230654" y="4958158"/>
                  </a:cubicBezTo>
                  <a:close/>
                  <a:moveTo>
                    <a:pt x="4061912" y="4958158"/>
                  </a:moveTo>
                  <a:cubicBezTo>
                    <a:pt x="4066861" y="4958158"/>
                    <a:pt x="4070873" y="4962169"/>
                    <a:pt x="4070873" y="4967118"/>
                  </a:cubicBezTo>
                  <a:cubicBezTo>
                    <a:pt x="4070873" y="4972067"/>
                    <a:pt x="4066861" y="4976079"/>
                    <a:pt x="4061912" y="4976079"/>
                  </a:cubicBezTo>
                  <a:cubicBezTo>
                    <a:pt x="4056963" y="4976079"/>
                    <a:pt x="4052952" y="4972067"/>
                    <a:pt x="4052952" y="4967118"/>
                  </a:cubicBezTo>
                  <a:cubicBezTo>
                    <a:pt x="4052952" y="4962169"/>
                    <a:pt x="4056963" y="4958158"/>
                    <a:pt x="4061912" y="4958158"/>
                  </a:cubicBezTo>
                  <a:close/>
                  <a:moveTo>
                    <a:pt x="3893170" y="4958158"/>
                  </a:moveTo>
                  <a:cubicBezTo>
                    <a:pt x="3898119" y="4958158"/>
                    <a:pt x="3902131" y="4962169"/>
                    <a:pt x="3902131" y="4967118"/>
                  </a:cubicBezTo>
                  <a:cubicBezTo>
                    <a:pt x="3902131" y="4972067"/>
                    <a:pt x="3898119" y="4976079"/>
                    <a:pt x="3893170" y="4976079"/>
                  </a:cubicBezTo>
                  <a:cubicBezTo>
                    <a:pt x="3888221" y="4976079"/>
                    <a:pt x="3884210" y="4972067"/>
                    <a:pt x="3884210" y="4967118"/>
                  </a:cubicBezTo>
                  <a:cubicBezTo>
                    <a:pt x="3884210" y="4962169"/>
                    <a:pt x="3888221" y="4958158"/>
                    <a:pt x="3893170" y="4958158"/>
                  </a:cubicBezTo>
                  <a:close/>
                  <a:moveTo>
                    <a:pt x="3724429" y="4958158"/>
                  </a:moveTo>
                  <a:cubicBezTo>
                    <a:pt x="3729378" y="4958158"/>
                    <a:pt x="3733390" y="4962169"/>
                    <a:pt x="3733390" y="4967118"/>
                  </a:cubicBezTo>
                  <a:cubicBezTo>
                    <a:pt x="3733390" y="4972067"/>
                    <a:pt x="3729378" y="4976079"/>
                    <a:pt x="3724429" y="4976079"/>
                  </a:cubicBezTo>
                  <a:cubicBezTo>
                    <a:pt x="3719481" y="4976079"/>
                    <a:pt x="3715469" y="4972067"/>
                    <a:pt x="3715469" y="4967118"/>
                  </a:cubicBezTo>
                  <a:cubicBezTo>
                    <a:pt x="3715469" y="4962169"/>
                    <a:pt x="3719481" y="4958158"/>
                    <a:pt x="3724429" y="4958158"/>
                  </a:cubicBezTo>
                  <a:close/>
                  <a:moveTo>
                    <a:pt x="3555688" y="4958158"/>
                  </a:moveTo>
                  <a:cubicBezTo>
                    <a:pt x="3560637" y="4958158"/>
                    <a:pt x="3564649" y="4962169"/>
                    <a:pt x="3564649" y="4967118"/>
                  </a:cubicBezTo>
                  <a:cubicBezTo>
                    <a:pt x="3564649" y="4972067"/>
                    <a:pt x="3560637" y="4976079"/>
                    <a:pt x="3555688" y="4976079"/>
                  </a:cubicBezTo>
                  <a:cubicBezTo>
                    <a:pt x="3550740" y="4976079"/>
                    <a:pt x="3546728" y="4972067"/>
                    <a:pt x="3546728" y="4967118"/>
                  </a:cubicBezTo>
                  <a:cubicBezTo>
                    <a:pt x="3546728" y="4962169"/>
                    <a:pt x="3550740" y="4958158"/>
                    <a:pt x="3555688" y="4958158"/>
                  </a:cubicBezTo>
                  <a:close/>
                  <a:moveTo>
                    <a:pt x="3387023" y="4958158"/>
                  </a:moveTo>
                  <a:cubicBezTo>
                    <a:pt x="3391971" y="4958158"/>
                    <a:pt x="3395983" y="4962169"/>
                    <a:pt x="3395983" y="4967118"/>
                  </a:cubicBezTo>
                  <a:cubicBezTo>
                    <a:pt x="3395983" y="4972067"/>
                    <a:pt x="3391971" y="4976079"/>
                    <a:pt x="3387023" y="4976079"/>
                  </a:cubicBezTo>
                  <a:cubicBezTo>
                    <a:pt x="3382037" y="4976079"/>
                    <a:pt x="3378024" y="4972067"/>
                    <a:pt x="3378024" y="4967118"/>
                  </a:cubicBezTo>
                  <a:cubicBezTo>
                    <a:pt x="3378024" y="4962169"/>
                    <a:pt x="3382037" y="4958158"/>
                    <a:pt x="3387023" y="4958158"/>
                  </a:cubicBezTo>
                  <a:close/>
                  <a:moveTo>
                    <a:pt x="3218265" y="4958158"/>
                  </a:moveTo>
                  <a:cubicBezTo>
                    <a:pt x="3223226" y="4958158"/>
                    <a:pt x="3227235" y="4962169"/>
                    <a:pt x="3227235" y="4967118"/>
                  </a:cubicBezTo>
                  <a:cubicBezTo>
                    <a:pt x="3227235" y="4972067"/>
                    <a:pt x="3223226" y="4976079"/>
                    <a:pt x="3218265" y="4976079"/>
                  </a:cubicBezTo>
                  <a:cubicBezTo>
                    <a:pt x="3213310" y="4976079"/>
                    <a:pt x="3209307" y="4972067"/>
                    <a:pt x="3209307" y="4967118"/>
                  </a:cubicBezTo>
                  <a:cubicBezTo>
                    <a:pt x="3209307" y="4962169"/>
                    <a:pt x="3213310" y="4958158"/>
                    <a:pt x="3218265" y="4958158"/>
                  </a:cubicBezTo>
                  <a:close/>
                  <a:moveTo>
                    <a:pt x="3049555" y="4958158"/>
                  </a:moveTo>
                  <a:cubicBezTo>
                    <a:pt x="3054489" y="4958158"/>
                    <a:pt x="3058502" y="4962169"/>
                    <a:pt x="3058502" y="4967118"/>
                  </a:cubicBezTo>
                  <a:cubicBezTo>
                    <a:pt x="3058502" y="4972067"/>
                    <a:pt x="3054489" y="4976079"/>
                    <a:pt x="3049555" y="4976079"/>
                  </a:cubicBezTo>
                  <a:cubicBezTo>
                    <a:pt x="3044593" y="4976079"/>
                    <a:pt x="3040585" y="4972067"/>
                    <a:pt x="3040585" y="4967118"/>
                  </a:cubicBezTo>
                  <a:cubicBezTo>
                    <a:pt x="3040585" y="4962169"/>
                    <a:pt x="3044593" y="4958158"/>
                    <a:pt x="3049555" y="4958158"/>
                  </a:cubicBezTo>
                  <a:close/>
                  <a:moveTo>
                    <a:pt x="2880821" y="4958158"/>
                  </a:moveTo>
                  <a:cubicBezTo>
                    <a:pt x="2885767" y="4958158"/>
                    <a:pt x="2889778" y="4962169"/>
                    <a:pt x="2889778" y="4967118"/>
                  </a:cubicBezTo>
                  <a:cubicBezTo>
                    <a:pt x="2889778" y="4972067"/>
                    <a:pt x="2885767" y="4976079"/>
                    <a:pt x="2880821" y="4976079"/>
                  </a:cubicBezTo>
                  <a:cubicBezTo>
                    <a:pt x="2875871" y="4976079"/>
                    <a:pt x="2871859" y="4972067"/>
                    <a:pt x="2871859" y="4967118"/>
                  </a:cubicBezTo>
                  <a:cubicBezTo>
                    <a:pt x="2871859" y="4962169"/>
                    <a:pt x="2875871" y="4958158"/>
                    <a:pt x="2880821" y="4958158"/>
                  </a:cubicBezTo>
                  <a:close/>
                  <a:moveTo>
                    <a:pt x="2712060" y="4958158"/>
                  </a:moveTo>
                  <a:cubicBezTo>
                    <a:pt x="2717034" y="4958158"/>
                    <a:pt x="2721044" y="4962169"/>
                    <a:pt x="2721044" y="4967118"/>
                  </a:cubicBezTo>
                  <a:cubicBezTo>
                    <a:pt x="2721044" y="4972067"/>
                    <a:pt x="2717034" y="4976079"/>
                    <a:pt x="2712060" y="4976079"/>
                  </a:cubicBezTo>
                  <a:cubicBezTo>
                    <a:pt x="2707115" y="4976079"/>
                    <a:pt x="2703105" y="4972067"/>
                    <a:pt x="2703105" y="4967118"/>
                  </a:cubicBezTo>
                  <a:cubicBezTo>
                    <a:pt x="2703105" y="4962169"/>
                    <a:pt x="2707115" y="4958158"/>
                    <a:pt x="2712060" y="4958158"/>
                  </a:cubicBezTo>
                  <a:close/>
                  <a:moveTo>
                    <a:pt x="2543360" y="4958158"/>
                  </a:moveTo>
                  <a:cubicBezTo>
                    <a:pt x="2548307" y="4958158"/>
                    <a:pt x="2552319" y="4962169"/>
                    <a:pt x="2552319" y="4967118"/>
                  </a:cubicBezTo>
                  <a:cubicBezTo>
                    <a:pt x="2552319" y="4972067"/>
                    <a:pt x="2548307" y="4976079"/>
                    <a:pt x="2543360" y="4976079"/>
                  </a:cubicBezTo>
                  <a:cubicBezTo>
                    <a:pt x="2538407" y="4976079"/>
                    <a:pt x="2534388" y="4972067"/>
                    <a:pt x="2534388" y="4967118"/>
                  </a:cubicBezTo>
                  <a:cubicBezTo>
                    <a:pt x="2534388" y="4962169"/>
                    <a:pt x="2538407" y="4958158"/>
                    <a:pt x="2543360" y="4958158"/>
                  </a:cubicBezTo>
                  <a:close/>
                  <a:moveTo>
                    <a:pt x="2374577" y="4958158"/>
                  </a:moveTo>
                  <a:cubicBezTo>
                    <a:pt x="2379537" y="4958158"/>
                    <a:pt x="2383570" y="4962169"/>
                    <a:pt x="2383570" y="4967118"/>
                  </a:cubicBezTo>
                  <a:cubicBezTo>
                    <a:pt x="2383570" y="4972067"/>
                    <a:pt x="2379537" y="4976079"/>
                    <a:pt x="2374577" y="4976079"/>
                  </a:cubicBezTo>
                  <a:cubicBezTo>
                    <a:pt x="2369628" y="4976079"/>
                    <a:pt x="2365614" y="4972067"/>
                    <a:pt x="2365614" y="4967118"/>
                  </a:cubicBezTo>
                  <a:cubicBezTo>
                    <a:pt x="2365614" y="4962169"/>
                    <a:pt x="2369628" y="4958158"/>
                    <a:pt x="2374577" y="4958158"/>
                  </a:cubicBezTo>
                  <a:close/>
                  <a:moveTo>
                    <a:pt x="2205866" y="4958158"/>
                  </a:moveTo>
                  <a:cubicBezTo>
                    <a:pt x="2210811" y="4958158"/>
                    <a:pt x="2214822" y="4962169"/>
                    <a:pt x="2214822" y="4967118"/>
                  </a:cubicBezTo>
                  <a:cubicBezTo>
                    <a:pt x="2214822" y="4972067"/>
                    <a:pt x="2210811" y="4976079"/>
                    <a:pt x="2205866" y="4976079"/>
                  </a:cubicBezTo>
                  <a:cubicBezTo>
                    <a:pt x="2200895" y="4976079"/>
                    <a:pt x="2196883" y="4972067"/>
                    <a:pt x="2196883" y="4967118"/>
                  </a:cubicBezTo>
                  <a:cubicBezTo>
                    <a:pt x="2196883" y="4962169"/>
                    <a:pt x="2200895" y="4958158"/>
                    <a:pt x="2205866" y="4958158"/>
                  </a:cubicBezTo>
                  <a:close/>
                  <a:moveTo>
                    <a:pt x="2037121" y="4958158"/>
                  </a:moveTo>
                  <a:cubicBezTo>
                    <a:pt x="2042076" y="4958158"/>
                    <a:pt x="2046070" y="4962169"/>
                    <a:pt x="2046070" y="4967118"/>
                  </a:cubicBezTo>
                  <a:cubicBezTo>
                    <a:pt x="2046070" y="4972067"/>
                    <a:pt x="2042076" y="4976079"/>
                    <a:pt x="2037121" y="4976079"/>
                  </a:cubicBezTo>
                  <a:cubicBezTo>
                    <a:pt x="2032177" y="4976079"/>
                    <a:pt x="2028175" y="4972067"/>
                    <a:pt x="2028175" y="4967118"/>
                  </a:cubicBezTo>
                  <a:cubicBezTo>
                    <a:pt x="2028175" y="4962169"/>
                    <a:pt x="2032177" y="4958158"/>
                    <a:pt x="2037121" y="4958158"/>
                  </a:cubicBezTo>
                  <a:close/>
                  <a:moveTo>
                    <a:pt x="1868403" y="4958158"/>
                  </a:moveTo>
                  <a:cubicBezTo>
                    <a:pt x="1873346" y="4958158"/>
                    <a:pt x="1877357" y="4962169"/>
                    <a:pt x="1877357" y="4967118"/>
                  </a:cubicBezTo>
                  <a:cubicBezTo>
                    <a:pt x="1877357" y="4972067"/>
                    <a:pt x="1873346" y="4976079"/>
                    <a:pt x="1868403" y="4976079"/>
                  </a:cubicBezTo>
                  <a:cubicBezTo>
                    <a:pt x="1863447" y="4976079"/>
                    <a:pt x="1859430" y="4972067"/>
                    <a:pt x="1859430" y="4967118"/>
                  </a:cubicBezTo>
                  <a:cubicBezTo>
                    <a:pt x="1859430" y="4962169"/>
                    <a:pt x="1863447" y="4958158"/>
                    <a:pt x="1868403" y="4958158"/>
                  </a:cubicBezTo>
                  <a:close/>
                  <a:moveTo>
                    <a:pt x="1699652" y="4958158"/>
                  </a:moveTo>
                  <a:cubicBezTo>
                    <a:pt x="1704609" y="4958158"/>
                    <a:pt x="1708620" y="4962169"/>
                    <a:pt x="1708620" y="4967118"/>
                  </a:cubicBezTo>
                  <a:cubicBezTo>
                    <a:pt x="1708620" y="4972067"/>
                    <a:pt x="1704609" y="4976079"/>
                    <a:pt x="1699652" y="4976079"/>
                  </a:cubicBezTo>
                  <a:cubicBezTo>
                    <a:pt x="1694703" y="4976079"/>
                    <a:pt x="1690689" y="4972067"/>
                    <a:pt x="1690689" y="4967118"/>
                  </a:cubicBezTo>
                  <a:cubicBezTo>
                    <a:pt x="1690689" y="4962169"/>
                    <a:pt x="1694703" y="4958158"/>
                    <a:pt x="1699652" y="4958158"/>
                  </a:cubicBezTo>
                  <a:close/>
                  <a:moveTo>
                    <a:pt x="1530912" y="4958158"/>
                  </a:moveTo>
                  <a:cubicBezTo>
                    <a:pt x="1535862" y="4958158"/>
                    <a:pt x="1539874" y="4962169"/>
                    <a:pt x="1539874" y="4967118"/>
                  </a:cubicBezTo>
                  <a:cubicBezTo>
                    <a:pt x="1539874" y="4972067"/>
                    <a:pt x="1535862" y="4976079"/>
                    <a:pt x="1530912" y="4976079"/>
                  </a:cubicBezTo>
                  <a:cubicBezTo>
                    <a:pt x="1525962" y="4976079"/>
                    <a:pt x="1521951" y="4972067"/>
                    <a:pt x="1521951" y="4967118"/>
                  </a:cubicBezTo>
                  <a:cubicBezTo>
                    <a:pt x="1521951" y="4962169"/>
                    <a:pt x="1525962" y="4958158"/>
                    <a:pt x="1530912" y="4958158"/>
                  </a:cubicBezTo>
                  <a:close/>
                  <a:moveTo>
                    <a:pt x="1362163" y="4958158"/>
                  </a:moveTo>
                  <a:cubicBezTo>
                    <a:pt x="1367116" y="4958158"/>
                    <a:pt x="1371124" y="4962169"/>
                    <a:pt x="1371124" y="4967118"/>
                  </a:cubicBezTo>
                  <a:cubicBezTo>
                    <a:pt x="1371124" y="4972067"/>
                    <a:pt x="1367116" y="4976079"/>
                    <a:pt x="1362163" y="4976079"/>
                  </a:cubicBezTo>
                  <a:cubicBezTo>
                    <a:pt x="1357214" y="4976079"/>
                    <a:pt x="1353203" y="4972067"/>
                    <a:pt x="1353203" y="4967118"/>
                  </a:cubicBezTo>
                  <a:cubicBezTo>
                    <a:pt x="1353203" y="4962169"/>
                    <a:pt x="1357214" y="4958158"/>
                    <a:pt x="1362163" y="4958158"/>
                  </a:cubicBezTo>
                  <a:close/>
                  <a:moveTo>
                    <a:pt x="1193422" y="4958158"/>
                  </a:moveTo>
                  <a:cubicBezTo>
                    <a:pt x="1198370" y="4958158"/>
                    <a:pt x="1202382" y="4962169"/>
                    <a:pt x="1202382" y="4967118"/>
                  </a:cubicBezTo>
                  <a:cubicBezTo>
                    <a:pt x="1202382" y="4972067"/>
                    <a:pt x="1198370" y="4976079"/>
                    <a:pt x="1193422" y="4976079"/>
                  </a:cubicBezTo>
                  <a:cubicBezTo>
                    <a:pt x="1188474" y="4976079"/>
                    <a:pt x="1184463" y="4972067"/>
                    <a:pt x="1184463" y="4967118"/>
                  </a:cubicBezTo>
                  <a:cubicBezTo>
                    <a:pt x="1184463" y="4962169"/>
                    <a:pt x="1188474" y="4958158"/>
                    <a:pt x="1193422" y="4958158"/>
                  </a:cubicBezTo>
                  <a:close/>
                  <a:moveTo>
                    <a:pt x="1024671" y="4958158"/>
                  </a:moveTo>
                  <a:cubicBezTo>
                    <a:pt x="1029623" y="4958158"/>
                    <a:pt x="1033637" y="4962169"/>
                    <a:pt x="1033637" y="4967118"/>
                  </a:cubicBezTo>
                  <a:cubicBezTo>
                    <a:pt x="1033637" y="4972067"/>
                    <a:pt x="1029623" y="4976079"/>
                    <a:pt x="1024671" y="4976079"/>
                  </a:cubicBezTo>
                  <a:cubicBezTo>
                    <a:pt x="1019724" y="4976079"/>
                    <a:pt x="1015711" y="4972067"/>
                    <a:pt x="1015711" y="4967118"/>
                  </a:cubicBezTo>
                  <a:cubicBezTo>
                    <a:pt x="1015711" y="4962169"/>
                    <a:pt x="1019724" y="4958158"/>
                    <a:pt x="1024671" y="4958158"/>
                  </a:cubicBezTo>
                  <a:close/>
                  <a:moveTo>
                    <a:pt x="855941" y="4958158"/>
                  </a:moveTo>
                  <a:cubicBezTo>
                    <a:pt x="860889" y="4958158"/>
                    <a:pt x="864901" y="4962169"/>
                    <a:pt x="864901" y="4967118"/>
                  </a:cubicBezTo>
                  <a:cubicBezTo>
                    <a:pt x="864901" y="4972067"/>
                    <a:pt x="860889" y="4976079"/>
                    <a:pt x="855941" y="4976079"/>
                  </a:cubicBezTo>
                  <a:cubicBezTo>
                    <a:pt x="850991" y="4976079"/>
                    <a:pt x="846980" y="4972067"/>
                    <a:pt x="846980" y="4967118"/>
                  </a:cubicBezTo>
                  <a:cubicBezTo>
                    <a:pt x="846980" y="4962169"/>
                    <a:pt x="850991" y="4958158"/>
                    <a:pt x="855941" y="4958158"/>
                  </a:cubicBezTo>
                  <a:close/>
                  <a:moveTo>
                    <a:pt x="687201" y="4958158"/>
                  </a:moveTo>
                  <a:cubicBezTo>
                    <a:pt x="692149" y="4958158"/>
                    <a:pt x="696161" y="4962169"/>
                    <a:pt x="696161" y="4967118"/>
                  </a:cubicBezTo>
                  <a:cubicBezTo>
                    <a:pt x="696161" y="4972067"/>
                    <a:pt x="692149" y="4976079"/>
                    <a:pt x="687201" y="4976079"/>
                  </a:cubicBezTo>
                  <a:cubicBezTo>
                    <a:pt x="682252" y="4976079"/>
                    <a:pt x="678242" y="4972067"/>
                    <a:pt x="678242" y="4967118"/>
                  </a:cubicBezTo>
                  <a:cubicBezTo>
                    <a:pt x="678242" y="4962169"/>
                    <a:pt x="682252" y="4958158"/>
                    <a:pt x="687201" y="4958158"/>
                  </a:cubicBezTo>
                  <a:close/>
                  <a:moveTo>
                    <a:pt x="518439" y="4958158"/>
                  </a:moveTo>
                  <a:cubicBezTo>
                    <a:pt x="523387" y="4958158"/>
                    <a:pt x="527399" y="4962169"/>
                    <a:pt x="527399" y="4967118"/>
                  </a:cubicBezTo>
                  <a:cubicBezTo>
                    <a:pt x="527399" y="4972067"/>
                    <a:pt x="523387" y="4976079"/>
                    <a:pt x="518439" y="4976079"/>
                  </a:cubicBezTo>
                  <a:cubicBezTo>
                    <a:pt x="513490" y="4976079"/>
                    <a:pt x="509478" y="4972067"/>
                    <a:pt x="509478" y="4967118"/>
                  </a:cubicBezTo>
                  <a:cubicBezTo>
                    <a:pt x="509478" y="4962169"/>
                    <a:pt x="513490" y="4958158"/>
                    <a:pt x="518439" y="4958158"/>
                  </a:cubicBezTo>
                  <a:close/>
                  <a:moveTo>
                    <a:pt x="349700" y="4958158"/>
                  </a:moveTo>
                  <a:cubicBezTo>
                    <a:pt x="354649" y="4958158"/>
                    <a:pt x="358660" y="4962169"/>
                    <a:pt x="358660" y="4967118"/>
                  </a:cubicBezTo>
                  <a:cubicBezTo>
                    <a:pt x="358660" y="4972067"/>
                    <a:pt x="354649" y="4976079"/>
                    <a:pt x="349700" y="4976079"/>
                  </a:cubicBezTo>
                  <a:cubicBezTo>
                    <a:pt x="344752" y="4976079"/>
                    <a:pt x="340740" y="4972067"/>
                    <a:pt x="340740" y="4967118"/>
                  </a:cubicBezTo>
                  <a:cubicBezTo>
                    <a:pt x="340740" y="4962169"/>
                    <a:pt x="344752" y="4958158"/>
                    <a:pt x="349700" y="4958158"/>
                  </a:cubicBezTo>
                  <a:close/>
                  <a:moveTo>
                    <a:pt x="179381" y="4958158"/>
                  </a:moveTo>
                  <a:cubicBezTo>
                    <a:pt x="184330" y="4958158"/>
                    <a:pt x="188342" y="4962169"/>
                    <a:pt x="188342" y="4967118"/>
                  </a:cubicBezTo>
                  <a:cubicBezTo>
                    <a:pt x="188342" y="4972067"/>
                    <a:pt x="184330" y="4976079"/>
                    <a:pt x="179381" y="4976079"/>
                  </a:cubicBezTo>
                  <a:cubicBezTo>
                    <a:pt x="174433" y="4976079"/>
                    <a:pt x="170421" y="4972067"/>
                    <a:pt x="170421" y="4967118"/>
                  </a:cubicBezTo>
                  <a:cubicBezTo>
                    <a:pt x="170421" y="4962169"/>
                    <a:pt x="174433" y="4958158"/>
                    <a:pt x="179381" y="4958158"/>
                  </a:cubicBezTo>
                  <a:close/>
                  <a:moveTo>
                    <a:pt x="9064" y="4958158"/>
                  </a:moveTo>
                  <a:cubicBezTo>
                    <a:pt x="14012" y="4958158"/>
                    <a:pt x="18023" y="4962169"/>
                    <a:pt x="18023" y="4967118"/>
                  </a:cubicBezTo>
                  <a:cubicBezTo>
                    <a:pt x="18023" y="4972067"/>
                    <a:pt x="14012" y="4976079"/>
                    <a:pt x="9064" y="4976079"/>
                  </a:cubicBezTo>
                  <a:cubicBezTo>
                    <a:pt x="4115" y="4976079"/>
                    <a:pt x="103" y="4972067"/>
                    <a:pt x="103" y="4967118"/>
                  </a:cubicBezTo>
                  <a:cubicBezTo>
                    <a:pt x="103" y="4962169"/>
                    <a:pt x="4115" y="4958158"/>
                    <a:pt x="9064" y="4958158"/>
                  </a:cubicBezTo>
                  <a:close/>
                  <a:moveTo>
                    <a:pt x="6933679" y="4787177"/>
                  </a:moveTo>
                  <a:cubicBezTo>
                    <a:pt x="6938628" y="4787177"/>
                    <a:pt x="6942639" y="4791188"/>
                    <a:pt x="6942639" y="4796137"/>
                  </a:cubicBezTo>
                  <a:cubicBezTo>
                    <a:pt x="6942639" y="4801086"/>
                    <a:pt x="6938628" y="4805098"/>
                    <a:pt x="6933679" y="4805098"/>
                  </a:cubicBezTo>
                  <a:cubicBezTo>
                    <a:pt x="6928730" y="4805098"/>
                    <a:pt x="6924718" y="4801086"/>
                    <a:pt x="6924718" y="4796137"/>
                  </a:cubicBezTo>
                  <a:cubicBezTo>
                    <a:pt x="6924718" y="4791188"/>
                    <a:pt x="6928730" y="4787177"/>
                    <a:pt x="6933679" y="4787177"/>
                  </a:cubicBezTo>
                  <a:close/>
                  <a:moveTo>
                    <a:pt x="6763357" y="4787177"/>
                  </a:moveTo>
                  <a:cubicBezTo>
                    <a:pt x="6768306" y="4787177"/>
                    <a:pt x="6772318" y="4791188"/>
                    <a:pt x="6772318" y="4796137"/>
                  </a:cubicBezTo>
                  <a:cubicBezTo>
                    <a:pt x="6772318" y="4801086"/>
                    <a:pt x="6768306" y="4805098"/>
                    <a:pt x="6763357" y="4805098"/>
                  </a:cubicBezTo>
                  <a:cubicBezTo>
                    <a:pt x="6758408" y="4805098"/>
                    <a:pt x="6754397" y="4801086"/>
                    <a:pt x="6754397" y="4796137"/>
                  </a:cubicBezTo>
                  <a:cubicBezTo>
                    <a:pt x="6754397" y="4791188"/>
                    <a:pt x="6758408" y="4787177"/>
                    <a:pt x="6763357" y="4787177"/>
                  </a:cubicBezTo>
                  <a:close/>
                  <a:moveTo>
                    <a:pt x="6593035" y="4787177"/>
                  </a:moveTo>
                  <a:cubicBezTo>
                    <a:pt x="6597984" y="4787177"/>
                    <a:pt x="6601996" y="4791188"/>
                    <a:pt x="6601996" y="4796137"/>
                  </a:cubicBezTo>
                  <a:cubicBezTo>
                    <a:pt x="6601996" y="4801086"/>
                    <a:pt x="6597984" y="4805098"/>
                    <a:pt x="6593035" y="4805098"/>
                  </a:cubicBezTo>
                  <a:cubicBezTo>
                    <a:pt x="6588086" y="4805098"/>
                    <a:pt x="6584075" y="4801086"/>
                    <a:pt x="6584075" y="4796137"/>
                  </a:cubicBezTo>
                  <a:cubicBezTo>
                    <a:pt x="6584075" y="4791188"/>
                    <a:pt x="6588086" y="4787177"/>
                    <a:pt x="6593035" y="4787177"/>
                  </a:cubicBezTo>
                  <a:close/>
                  <a:moveTo>
                    <a:pt x="6424294" y="4787177"/>
                  </a:moveTo>
                  <a:cubicBezTo>
                    <a:pt x="6429243" y="4787177"/>
                    <a:pt x="6433255" y="4791188"/>
                    <a:pt x="6433255" y="4796137"/>
                  </a:cubicBezTo>
                  <a:cubicBezTo>
                    <a:pt x="6433255" y="4801086"/>
                    <a:pt x="6429243" y="4805098"/>
                    <a:pt x="6424294" y="4805098"/>
                  </a:cubicBezTo>
                  <a:cubicBezTo>
                    <a:pt x="6419345" y="4805098"/>
                    <a:pt x="6415334" y="4801086"/>
                    <a:pt x="6415334" y="4796137"/>
                  </a:cubicBezTo>
                  <a:cubicBezTo>
                    <a:pt x="6415334" y="4791188"/>
                    <a:pt x="6419345" y="4787177"/>
                    <a:pt x="6424294" y="4787177"/>
                  </a:cubicBezTo>
                  <a:close/>
                  <a:moveTo>
                    <a:pt x="6255553" y="4787177"/>
                  </a:moveTo>
                  <a:cubicBezTo>
                    <a:pt x="6260502" y="4787177"/>
                    <a:pt x="6264514" y="4791188"/>
                    <a:pt x="6264514" y="4796137"/>
                  </a:cubicBezTo>
                  <a:cubicBezTo>
                    <a:pt x="6264514" y="4801086"/>
                    <a:pt x="6260502" y="4805098"/>
                    <a:pt x="6255553" y="4805098"/>
                  </a:cubicBezTo>
                  <a:cubicBezTo>
                    <a:pt x="6250604" y="4805098"/>
                    <a:pt x="6246593" y="4801086"/>
                    <a:pt x="6246593" y="4796137"/>
                  </a:cubicBezTo>
                  <a:cubicBezTo>
                    <a:pt x="6246593" y="4791188"/>
                    <a:pt x="6250604" y="4787177"/>
                    <a:pt x="6255553" y="4787177"/>
                  </a:cubicBezTo>
                  <a:close/>
                  <a:moveTo>
                    <a:pt x="6086811" y="4787177"/>
                  </a:moveTo>
                  <a:cubicBezTo>
                    <a:pt x="6091760" y="4787177"/>
                    <a:pt x="6095772" y="4791188"/>
                    <a:pt x="6095772" y="4796137"/>
                  </a:cubicBezTo>
                  <a:cubicBezTo>
                    <a:pt x="6095772" y="4801086"/>
                    <a:pt x="6091760" y="4805098"/>
                    <a:pt x="6086811" y="4805098"/>
                  </a:cubicBezTo>
                  <a:cubicBezTo>
                    <a:pt x="6081862" y="4805098"/>
                    <a:pt x="6077851" y="4801086"/>
                    <a:pt x="6077851" y="4796137"/>
                  </a:cubicBezTo>
                  <a:cubicBezTo>
                    <a:pt x="6077851" y="4791188"/>
                    <a:pt x="6081862" y="4787177"/>
                    <a:pt x="6086811" y="4787177"/>
                  </a:cubicBezTo>
                  <a:close/>
                  <a:moveTo>
                    <a:pt x="5918069" y="4787177"/>
                  </a:moveTo>
                  <a:cubicBezTo>
                    <a:pt x="5923018" y="4787177"/>
                    <a:pt x="5927030" y="4791188"/>
                    <a:pt x="5927030" y="4796137"/>
                  </a:cubicBezTo>
                  <a:cubicBezTo>
                    <a:pt x="5927030" y="4801086"/>
                    <a:pt x="5923018" y="4805098"/>
                    <a:pt x="5918069" y="4805098"/>
                  </a:cubicBezTo>
                  <a:cubicBezTo>
                    <a:pt x="5913120" y="4805098"/>
                    <a:pt x="5909109" y="4801086"/>
                    <a:pt x="5909109" y="4796137"/>
                  </a:cubicBezTo>
                  <a:cubicBezTo>
                    <a:pt x="5909109" y="4791188"/>
                    <a:pt x="5913120" y="4787177"/>
                    <a:pt x="5918069" y="4787177"/>
                  </a:cubicBezTo>
                  <a:close/>
                  <a:moveTo>
                    <a:pt x="5749328" y="4787177"/>
                  </a:moveTo>
                  <a:cubicBezTo>
                    <a:pt x="5754277" y="4787177"/>
                    <a:pt x="5758289" y="4791188"/>
                    <a:pt x="5758289" y="4796137"/>
                  </a:cubicBezTo>
                  <a:cubicBezTo>
                    <a:pt x="5758289" y="4801086"/>
                    <a:pt x="5754277" y="4805098"/>
                    <a:pt x="5749328" y="4805098"/>
                  </a:cubicBezTo>
                  <a:cubicBezTo>
                    <a:pt x="5744379" y="4805098"/>
                    <a:pt x="5740368" y="4801086"/>
                    <a:pt x="5740368" y="4796137"/>
                  </a:cubicBezTo>
                  <a:cubicBezTo>
                    <a:pt x="5740368" y="4791188"/>
                    <a:pt x="5744379" y="4787177"/>
                    <a:pt x="5749328" y="4787177"/>
                  </a:cubicBezTo>
                  <a:close/>
                  <a:moveTo>
                    <a:pt x="5580586" y="4787177"/>
                  </a:moveTo>
                  <a:cubicBezTo>
                    <a:pt x="5585535" y="4787177"/>
                    <a:pt x="5589547" y="4791188"/>
                    <a:pt x="5589547" y="4796137"/>
                  </a:cubicBezTo>
                  <a:cubicBezTo>
                    <a:pt x="5589547" y="4801086"/>
                    <a:pt x="5585535" y="4805098"/>
                    <a:pt x="5580586" y="4805098"/>
                  </a:cubicBezTo>
                  <a:cubicBezTo>
                    <a:pt x="5575637" y="4805098"/>
                    <a:pt x="5571626" y="4801086"/>
                    <a:pt x="5571626" y="4796137"/>
                  </a:cubicBezTo>
                  <a:cubicBezTo>
                    <a:pt x="5571626" y="4791188"/>
                    <a:pt x="5575637" y="4787177"/>
                    <a:pt x="5580586" y="4787177"/>
                  </a:cubicBezTo>
                  <a:close/>
                  <a:moveTo>
                    <a:pt x="5411845" y="4787177"/>
                  </a:moveTo>
                  <a:cubicBezTo>
                    <a:pt x="5416794" y="4787177"/>
                    <a:pt x="5420806" y="4791188"/>
                    <a:pt x="5420806" y="4796137"/>
                  </a:cubicBezTo>
                  <a:cubicBezTo>
                    <a:pt x="5420806" y="4801086"/>
                    <a:pt x="5416794" y="4805098"/>
                    <a:pt x="5411845" y="4805098"/>
                  </a:cubicBezTo>
                  <a:cubicBezTo>
                    <a:pt x="5406896" y="4805098"/>
                    <a:pt x="5402885" y="4801086"/>
                    <a:pt x="5402885" y="4796137"/>
                  </a:cubicBezTo>
                  <a:cubicBezTo>
                    <a:pt x="5402885" y="4791188"/>
                    <a:pt x="5406896" y="4787177"/>
                    <a:pt x="5411845" y="4787177"/>
                  </a:cubicBezTo>
                  <a:close/>
                  <a:moveTo>
                    <a:pt x="5243103" y="4787177"/>
                  </a:moveTo>
                  <a:cubicBezTo>
                    <a:pt x="5248052" y="4787177"/>
                    <a:pt x="5252064" y="4791188"/>
                    <a:pt x="5252064" y="4796137"/>
                  </a:cubicBezTo>
                  <a:cubicBezTo>
                    <a:pt x="5252064" y="4801086"/>
                    <a:pt x="5248052" y="4805098"/>
                    <a:pt x="5243103" y="4805098"/>
                  </a:cubicBezTo>
                  <a:cubicBezTo>
                    <a:pt x="5238154" y="4805098"/>
                    <a:pt x="5234143" y="4801086"/>
                    <a:pt x="5234143" y="4796137"/>
                  </a:cubicBezTo>
                  <a:cubicBezTo>
                    <a:pt x="5234143" y="4791188"/>
                    <a:pt x="5238154" y="4787177"/>
                    <a:pt x="5243103" y="4787177"/>
                  </a:cubicBezTo>
                  <a:close/>
                  <a:moveTo>
                    <a:pt x="5074362" y="4787177"/>
                  </a:moveTo>
                  <a:cubicBezTo>
                    <a:pt x="5079311" y="4787177"/>
                    <a:pt x="5083323" y="4791188"/>
                    <a:pt x="5083323" y="4796137"/>
                  </a:cubicBezTo>
                  <a:cubicBezTo>
                    <a:pt x="5083323" y="4801086"/>
                    <a:pt x="5079311" y="4805098"/>
                    <a:pt x="5074362" y="4805098"/>
                  </a:cubicBezTo>
                  <a:cubicBezTo>
                    <a:pt x="5069413" y="4805098"/>
                    <a:pt x="5065402" y="4801086"/>
                    <a:pt x="5065402" y="4796137"/>
                  </a:cubicBezTo>
                  <a:cubicBezTo>
                    <a:pt x="5065402" y="4791188"/>
                    <a:pt x="5069413" y="4787177"/>
                    <a:pt x="5074362" y="4787177"/>
                  </a:cubicBezTo>
                  <a:close/>
                  <a:moveTo>
                    <a:pt x="4905620" y="4787177"/>
                  </a:moveTo>
                  <a:cubicBezTo>
                    <a:pt x="4910569" y="4787177"/>
                    <a:pt x="4914581" y="4791188"/>
                    <a:pt x="4914581" y="4796137"/>
                  </a:cubicBezTo>
                  <a:cubicBezTo>
                    <a:pt x="4914581" y="4801086"/>
                    <a:pt x="4910569" y="4805098"/>
                    <a:pt x="4905620" y="4805098"/>
                  </a:cubicBezTo>
                  <a:cubicBezTo>
                    <a:pt x="4900671" y="4805098"/>
                    <a:pt x="4896660" y="4801086"/>
                    <a:pt x="4896660" y="4796137"/>
                  </a:cubicBezTo>
                  <a:cubicBezTo>
                    <a:pt x="4896660" y="4791188"/>
                    <a:pt x="4900671" y="4787177"/>
                    <a:pt x="4905620" y="4787177"/>
                  </a:cubicBezTo>
                  <a:close/>
                  <a:moveTo>
                    <a:pt x="4736878" y="4787177"/>
                  </a:moveTo>
                  <a:cubicBezTo>
                    <a:pt x="4741827" y="4787177"/>
                    <a:pt x="4745839" y="4791188"/>
                    <a:pt x="4745839" y="4796137"/>
                  </a:cubicBezTo>
                  <a:cubicBezTo>
                    <a:pt x="4745839" y="4801086"/>
                    <a:pt x="4741827" y="4805098"/>
                    <a:pt x="4736878" y="4805098"/>
                  </a:cubicBezTo>
                  <a:cubicBezTo>
                    <a:pt x="4731929" y="4805098"/>
                    <a:pt x="4727918" y="4801086"/>
                    <a:pt x="4727918" y="4796137"/>
                  </a:cubicBezTo>
                  <a:cubicBezTo>
                    <a:pt x="4727918" y="4791188"/>
                    <a:pt x="4731929" y="4787177"/>
                    <a:pt x="4736878" y="4787177"/>
                  </a:cubicBezTo>
                  <a:close/>
                  <a:moveTo>
                    <a:pt x="4568137" y="4787177"/>
                  </a:moveTo>
                  <a:cubicBezTo>
                    <a:pt x="4573086" y="4787177"/>
                    <a:pt x="4577098" y="4791188"/>
                    <a:pt x="4577098" y="4796137"/>
                  </a:cubicBezTo>
                  <a:cubicBezTo>
                    <a:pt x="4577098" y="4801086"/>
                    <a:pt x="4573086" y="4805098"/>
                    <a:pt x="4568137" y="4805098"/>
                  </a:cubicBezTo>
                  <a:cubicBezTo>
                    <a:pt x="4563188" y="4805098"/>
                    <a:pt x="4559177" y="4801086"/>
                    <a:pt x="4559177" y="4796137"/>
                  </a:cubicBezTo>
                  <a:cubicBezTo>
                    <a:pt x="4559177" y="4791188"/>
                    <a:pt x="4563188" y="4787177"/>
                    <a:pt x="4568137" y="4787177"/>
                  </a:cubicBezTo>
                  <a:close/>
                  <a:moveTo>
                    <a:pt x="4399396" y="4787177"/>
                  </a:moveTo>
                  <a:cubicBezTo>
                    <a:pt x="4404345" y="4787177"/>
                    <a:pt x="4408357" y="4791188"/>
                    <a:pt x="4408357" y="4796137"/>
                  </a:cubicBezTo>
                  <a:cubicBezTo>
                    <a:pt x="4408357" y="4801086"/>
                    <a:pt x="4404345" y="4805098"/>
                    <a:pt x="4399396" y="4805098"/>
                  </a:cubicBezTo>
                  <a:cubicBezTo>
                    <a:pt x="4394447" y="4805098"/>
                    <a:pt x="4390436" y="4801086"/>
                    <a:pt x="4390436" y="4796137"/>
                  </a:cubicBezTo>
                  <a:cubicBezTo>
                    <a:pt x="4390436" y="4791188"/>
                    <a:pt x="4394447" y="4787177"/>
                    <a:pt x="4399396" y="4787177"/>
                  </a:cubicBezTo>
                  <a:close/>
                  <a:moveTo>
                    <a:pt x="4230654" y="4787177"/>
                  </a:moveTo>
                  <a:cubicBezTo>
                    <a:pt x="4235603" y="4787177"/>
                    <a:pt x="4239615" y="4791188"/>
                    <a:pt x="4239615" y="4796137"/>
                  </a:cubicBezTo>
                  <a:cubicBezTo>
                    <a:pt x="4239615" y="4801086"/>
                    <a:pt x="4235603" y="4805098"/>
                    <a:pt x="4230654" y="4805098"/>
                  </a:cubicBezTo>
                  <a:cubicBezTo>
                    <a:pt x="4225705" y="4805098"/>
                    <a:pt x="4221694" y="4801086"/>
                    <a:pt x="4221694" y="4796137"/>
                  </a:cubicBezTo>
                  <a:cubicBezTo>
                    <a:pt x="4221694" y="4791188"/>
                    <a:pt x="4225705" y="4787177"/>
                    <a:pt x="4230654" y="4787177"/>
                  </a:cubicBezTo>
                  <a:close/>
                  <a:moveTo>
                    <a:pt x="4061912" y="4787177"/>
                  </a:moveTo>
                  <a:cubicBezTo>
                    <a:pt x="4066861" y="4787177"/>
                    <a:pt x="4070873" y="4791188"/>
                    <a:pt x="4070873" y="4796137"/>
                  </a:cubicBezTo>
                  <a:cubicBezTo>
                    <a:pt x="4070873" y="4801086"/>
                    <a:pt x="4066861" y="4805098"/>
                    <a:pt x="4061912" y="4805098"/>
                  </a:cubicBezTo>
                  <a:cubicBezTo>
                    <a:pt x="4056963" y="4805098"/>
                    <a:pt x="4052952" y="4801086"/>
                    <a:pt x="4052952" y="4796137"/>
                  </a:cubicBezTo>
                  <a:cubicBezTo>
                    <a:pt x="4052952" y="4791188"/>
                    <a:pt x="4056963" y="4787177"/>
                    <a:pt x="4061912" y="4787177"/>
                  </a:cubicBezTo>
                  <a:close/>
                  <a:moveTo>
                    <a:pt x="3893170" y="4787177"/>
                  </a:moveTo>
                  <a:cubicBezTo>
                    <a:pt x="3898119" y="4787177"/>
                    <a:pt x="3902131" y="4791188"/>
                    <a:pt x="3902131" y="4796137"/>
                  </a:cubicBezTo>
                  <a:cubicBezTo>
                    <a:pt x="3902131" y="4801086"/>
                    <a:pt x="3898119" y="4805098"/>
                    <a:pt x="3893170" y="4805098"/>
                  </a:cubicBezTo>
                  <a:cubicBezTo>
                    <a:pt x="3888221" y="4805098"/>
                    <a:pt x="3884210" y="4801086"/>
                    <a:pt x="3884210" y="4796137"/>
                  </a:cubicBezTo>
                  <a:cubicBezTo>
                    <a:pt x="3884210" y="4791188"/>
                    <a:pt x="3888221" y="4787177"/>
                    <a:pt x="3893170" y="4787177"/>
                  </a:cubicBezTo>
                  <a:close/>
                  <a:moveTo>
                    <a:pt x="3724429" y="4787177"/>
                  </a:moveTo>
                  <a:cubicBezTo>
                    <a:pt x="3729378" y="4787177"/>
                    <a:pt x="3733390" y="4791188"/>
                    <a:pt x="3733390" y="4796137"/>
                  </a:cubicBezTo>
                  <a:cubicBezTo>
                    <a:pt x="3733390" y="4801086"/>
                    <a:pt x="3729378" y="4805098"/>
                    <a:pt x="3724429" y="4805098"/>
                  </a:cubicBezTo>
                  <a:cubicBezTo>
                    <a:pt x="3719481" y="4805098"/>
                    <a:pt x="3715469" y="4801086"/>
                    <a:pt x="3715469" y="4796137"/>
                  </a:cubicBezTo>
                  <a:cubicBezTo>
                    <a:pt x="3715469" y="4791188"/>
                    <a:pt x="3719481" y="4787177"/>
                    <a:pt x="3724429" y="4787177"/>
                  </a:cubicBezTo>
                  <a:close/>
                  <a:moveTo>
                    <a:pt x="3555688" y="4787177"/>
                  </a:moveTo>
                  <a:cubicBezTo>
                    <a:pt x="3560637" y="4787177"/>
                    <a:pt x="3564649" y="4791188"/>
                    <a:pt x="3564649" y="4796137"/>
                  </a:cubicBezTo>
                  <a:cubicBezTo>
                    <a:pt x="3564649" y="4801086"/>
                    <a:pt x="3560637" y="4805098"/>
                    <a:pt x="3555688" y="4805098"/>
                  </a:cubicBezTo>
                  <a:cubicBezTo>
                    <a:pt x="3550740" y="4805098"/>
                    <a:pt x="3546728" y="4801086"/>
                    <a:pt x="3546728" y="4796137"/>
                  </a:cubicBezTo>
                  <a:cubicBezTo>
                    <a:pt x="3546728" y="4791188"/>
                    <a:pt x="3550740" y="4787177"/>
                    <a:pt x="3555688" y="4787177"/>
                  </a:cubicBezTo>
                  <a:close/>
                  <a:moveTo>
                    <a:pt x="3387026" y="4787177"/>
                  </a:moveTo>
                  <a:cubicBezTo>
                    <a:pt x="3391974" y="4787177"/>
                    <a:pt x="3395986" y="4791188"/>
                    <a:pt x="3395986" y="4796137"/>
                  </a:cubicBezTo>
                  <a:cubicBezTo>
                    <a:pt x="3395986" y="4801086"/>
                    <a:pt x="3391974" y="4805098"/>
                    <a:pt x="3387026" y="4805098"/>
                  </a:cubicBezTo>
                  <a:cubicBezTo>
                    <a:pt x="3382038" y="4805098"/>
                    <a:pt x="3378026" y="4801086"/>
                    <a:pt x="3378026" y="4796137"/>
                  </a:cubicBezTo>
                  <a:cubicBezTo>
                    <a:pt x="3378026" y="4791188"/>
                    <a:pt x="3382038" y="4787177"/>
                    <a:pt x="3387026" y="4787177"/>
                  </a:cubicBezTo>
                  <a:close/>
                  <a:moveTo>
                    <a:pt x="3218268" y="4787177"/>
                  </a:moveTo>
                  <a:cubicBezTo>
                    <a:pt x="3223229" y="4787177"/>
                    <a:pt x="3227237" y="4791188"/>
                    <a:pt x="3227237" y="4796137"/>
                  </a:cubicBezTo>
                  <a:cubicBezTo>
                    <a:pt x="3227237" y="4801086"/>
                    <a:pt x="3223229" y="4805098"/>
                    <a:pt x="3218268" y="4805098"/>
                  </a:cubicBezTo>
                  <a:cubicBezTo>
                    <a:pt x="3213311" y="4805098"/>
                    <a:pt x="3209309" y="4801086"/>
                    <a:pt x="3209309" y="4796137"/>
                  </a:cubicBezTo>
                  <a:cubicBezTo>
                    <a:pt x="3209309" y="4791188"/>
                    <a:pt x="3213311" y="4787177"/>
                    <a:pt x="3218268" y="4787177"/>
                  </a:cubicBezTo>
                  <a:close/>
                  <a:moveTo>
                    <a:pt x="3049558" y="4787177"/>
                  </a:moveTo>
                  <a:cubicBezTo>
                    <a:pt x="3054492" y="4787177"/>
                    <a:pt x="3058505" y="4791188"/>
                    <a:pt x="3058505" y="4796137"/>
                  </a:cubicBezTo>
                  <a:cubicBezTo>
                    <a:pt x="3058505" y="4801086"/>
                    <a:pt x="3054492" y="4805098"/>
                    <a:pt x="3049558" y="4805098"/>
                  </a:cubicBezTo>
                  <a:cubicBezTo>
                    <a:pt x="3044598" y="4805098"/>
                    <a:pt x="3040588" y="4801086"/>
                    <a:pt x="3040588" y="4796137"/>
                  </a:cubicBezTo>
                  <a:cubicBezTo>
                    <a:pt x="3040588" y="4791188"/>
                    <a:pt x="3044598" y="4787177"/>
                    <a:pt x="3049558" y="4787177"/>
                  </a:cubicBezTo>
                  <a:close/>
                  <a:moveTo>
                    <a:pt x="2880824" y="4787177"/>
                  </a:moveTo>
                  <a:cubicBezTo>
                    <a:pt x="2885770" y="4787177"/>
                    <a:pt x="2889781" y="4791188"/>
                    <a:pt x="2889781" y="4796137"/>
                  </a:cubicBezTo>
                  <a:cubicBezTo>
                    <a:pt x="2889781" y="4801086"/>
                    <a:pt x="2885770" y="4805098"/>
                    <a:pt x="2880824" y="4805098"/>
                  </a:cubicBezTo>
                  <a:cubicBezTo>
                    <a:pt x="2875875" y="4805098"/>
                    <a:pt x="2871863" y="4801086"/>
                    <a:pt x="2871863" y="4796137"/>
                  </a:cubicBezTo>
                  <a:cubicBezTo>
                    <a:pt x="2871863" y="4791188"/>
                    <a:pt x="2875875" y="4787177"/>
                    <a:pt x="2880824" y="4787177"/>
                  </a:cubicBezTo>
                  <a:close/>
                  <a:moveTo>
                    <a:pt x="2712063" y="4787177"/>
                  </a:moveTo>
                  <a:cubicBezTo>
                    <a:pt x="2717037" y="4787177"/>
                    <a:pt x="2721047" y="4791188"/>
                    <a:pt x="2721047" y="4796137"/>
                  </a:cubicBezTo>
                  <a:cubicBezTo>
                    <a:pt x="2721047" y="4801086"/>
                    <a:pt x="2717037" y="4805098"/>
                    <a:pt x="2712063" y="4805098"/>
                  </a:cubicBezTo>
                  <a:cubicBezTo>
                    <a:pt x="2707118" y="4805098"/>
                    <a:pt x="2703108" y="4801086"/>
                    <a:pt x="2703108" y="4796137"/>
                  </a:cubicBezTo>
                  <a:cubicBezTo>
                    <a:pt x="2703108" y="4791188"/>
                    <a:pt x="2707118" y="4787177"/>
                    <a:pt x="2712063" y="4787177"/>
                  </a:cubicBezTo>
                  <a:close/>
                  <a:moveTo>
                    <a:pt x="2543364" y="4787177"/>
                  </a:moveTo>
                  <a:cubicBezTo>
                    <a:pt x="2548312" y="4787177"/>
                    <a:pt x="2552324" y="4791188"/>
                    <a:pt x="2552324" y="4796137"/>
                  </a:cubicBezTo>
                  <a:cubicBezTo>
                    <a:pt x="2552324" y="4801086"/>
                    <a:pt x="2548312" y="4805098"/>
                    <a:pt x="2543364" y="4805098"/>
                  </a:cubicBezTo>
                  <a:cubicBezTo>
                    <a:pt x="2538411" y="4805098"/>
                    <a:pt x="2534392" y="4801086"/>
                    <a:pt x="2534392" y="4796137"/>
                  </a:cubicBezTo>
                  <a:cubicBezTo>
                    <a:pt x="2534392" y="4791188"/>
                    <a:pt x="2538411" y="4787177"/>
                    <a:pt x="2543364" y="4787177"/>
                  </a:cubicBezTo>
                  <a:close/>
                  <a:moveTo>
                    <a:pt x="2374581" y="4787177"/>
                  </a:moveTo>
                  <a:cubicBezTo>
                    <a:pt x="2379542" y="4787177"/>
                    <a:pt x="2383575" y="4791188"/>
                    <a:pt x="2383575" y="4796137"/>
                  </a:cubicBezTo>
                  <a:cubicBezTo>
                    <a:pt x="2383575" y="4801086"/>
                    <a:pt x="2379542" y="4805098"/>
                    <a:pt x="2374581" y="4805098"/>
                  </a:cubicBezTo>
                  <a:cubicBezTo>
                    <a:pt x="2369631" y="4805098"/>
                    <a:pt x="2365617" y="4801086"/>
                    <a:pt x="2365617" y="4796137"/>
                  </a:cubicBezTo>
                  <a:cubicBezTo>
                    <a:pt x="2365617" y="4791188"/>
                    <a:pt x="2369631" y="4787177"/>
                    <a:pt x="2374581" y="4787177"/>
                  </a:cubicBezTo>
                  <a:close/>
                  <a:moveTo>
                    <a:pt x="2205871" y="4787177"/>
                  </a:moveTo>
                  <a:cubicBezTo>
                    <a:pt x="2210815" y="4787177"/>
                    <a:pt x="2214826" y="4791188"/>
                    <a:pt x="2214826" y="4796137"/>
                  </a:cubicBezTo>
                  <a:cubicBezTo>
                    <a:pt x="2214826" y="4801086"/>
                    <a:pt x="2210815" y="4805098"/>
                    <a:pt x="2205871" y="4805098"/>
                  </a:cubicBezTo>
                  <a:cubicBezTo>
                    <a:pt x="2200898" y="4805098"/>
                    <a:pt x="2196886" y="4801086"/>
                    <a:pt x="2196886" y="4796137"/>
                  </a:cubicBezTo>
                  <a:cubicBezTo>
                    <a:pt x="2196886" y="4791188"/>
                    <a:pt x="2200898" y="4787177"/>
                    <a:pt x="2205871" y="4787177"/>
                  </a:cubicBezTo>
                  <a:close/>
                  <a:moveTo>
                    <a:pt x="2037125" y="4787177"/>
                  </a:moveTo>
                  <a:cubicBezTo>
                    <a:pt x="2042080" y="4787177"/>
                    <a:pt x="2046073" y="4791188"/>
                    <a:pt x="2046073" y="4796137"/>
                  </a:cubicBezTo>
                  <a:cubicBezTo>
                    <a:pt x="2046073" y="4801086"/>
                    <a:pt x="2042080" y="4805098"/>
                    <a:pt x="2037125" y="4805098"/>
                  </a:cubicBezTo>
                  <a:cubicBezTo>
                    <a:pt x="2032182" y="4805098"/>
                    <a:pt x="2028179" y="4801086"/>
                    <a:pt x="2028179" y="4796137"/>
                  </a:cubicBezTo>
                  <a:cubicBezTo>
                    <a:pt x="2028179" y="4791188"/>
                    <a:pt x="2032182" y="4787177"/>
                    <a:pt x="2037125" y="4787177"/>
                  </a:cubicBezTo>
                  <a:close/>
                  <a:moveTo>
                    <a:pt x="1868407" y="4787177"/>
                  </a:moveTo>
                  <a:cubicBezTo>
                    <a:pt x="1873350" y="4787177"/>
                    <a:pt x="1877360" y="4791188"/>
                    <a:pt x="1877360" y="4796137"/>
                  </a:cubicBezTo>
                  <a:cubicBezTo>
                    <a:pt x="1877360" y="4801086"/>
                    <a:pt x="1873350" y="4805098"/>
                    <a:pt x="1868407" y="4805098"/>
                  </a:cubicBezTo>
                  <a:cubicBezTo>
                    <a:pt x="1863451" y="4805098"/>
                    <a:pt x="1859435" y="4801086"/>
                    <a:pt x="1859435" y="4796137"/>
                  </a:cubicBezTo>
                  <a:cubicBezTo>
                    <a:pt x="1859435" y="4791188"/>
                    <a:pt x="1863451" y="4787177"/>
                    <a:pt x="1868407" y="4787177"/>
                  </a:cubicBezTo>
                  <a:close/>
                  <a:moveTo>
                    <a:pt x="1699657" y="4787177"/>
                  </a:moveTo>
                  <a:cubicBezTo>
                    <a:pt x="1704613" y="4787177"/>
                    <a:pt x="1708625" y="4791188"/>
                    <a:pt x="1708625" y="4796137"/>
                  </a:cubicBezTo>
                  <a:cubicBezTo>
                    <a:pt x="1708625" y="4801086"/>
                    <a:pt x="1704613" y="4805098"/>
                    <a:pt x="1699657" y="4805098"/>
                  </a:cubicBezTo>
                  <a:cubicBezTo>
                    <a:pt x="1694708" y="4805098"/>
                    <a:pt x="1690694" y="4801086"/>
                    <a:pt x="1690694" y="4796137"/>
                  </a:cubicBezTo>
                  <a:cubicBezTo>
                    <a:pt x="1690694" y="4791188"/>
                    <a:pt x="1694708" y="4787177"/>
                    <a:pt x="1699657" y="4787177"/>
                  </a:cubicBezTo>
                  <a:close/>
                  <a:moveTo>
                    <a:pt x="1530917" y="4787177"/>
                  </a:moveTo>
                  <a:cubicBezTo>
                    <a:pt x="1535867" y="4787177"/>
                    <a:pt x="1539878" y="4791188"/>
                    <a:pt x="1539878" y="4796137"/>
                  </a:cubicBezTo>
                  <a:cubicBezTo>
                    <a:pt x="1539878" y="4801086"/>
                    <a:pt x="1535867" y="4805098"/>
                    <a:pt x="1530917" y="4805098"/>
                  </a:cubicBezTo>
                  <a:cubicBezTo>
                    <a:pt x="1525967" y="4805098"/>
                    <a:pt x="1521955" y="4801086"/>
                    <a:pt x="1521955" y="4796137"/>
                  </a:cubicBezTo>
                  <a:cubicBezTo>
                    <a:pt x="1521955" y="4791188"/>
                    <a:pt x="1525967" y="4787177"/>
                    <a:pt x="1530917" y="4787177"/>
                  </a:cubicBezTo>
                  <a:close/>
                  <a:moveTo>
                    <a:pt x="1362168" y="4787177"/>
                  </a:moveTo>
                  <a:cubicBezTo>
                    <a:pt x="1367120" y="4787177"/>
                    <a:pt x="1371129" y="4791188"/>
                    <a:pt x="1371129" y="4796137"/>
                  </a:cubicBezTo>
                  <a:cubicBezTo>
                    <a:pt x="1371129" y="4801086"/>
                    <a:pt x="1367120" y="4805098"/>
                    <a:pt x="1362168" y="4805098"/>
                  </a:cubicBezTo>
                  <a:cubicBezTo>
                    <a:pt x="1357219" y="4805098"/>
                    <a:pt x="1353207" y="4801086"/>
                    <a:pt x="1353207" y="4796137"/>
                  </a:cubicBezTo>
                  <a:cubicBezTo>
                    <a:pt x="1353207" y="4791188"/>
                    <a:pt x="1357219" y="4787177"/>
                    <a:pt x="1362168" y="4787177"/>
                  </a:cubicBezTo>
                  <a:close/>
                  <a:moveTo>
                    <a:pt x="1193426" y="4787177"/>
                  </a:moveTo>
                  <a:cubicBezTo>
                    <a:pt x="1198375" y="4787177"/>
                    <a:pt x="1202387" y="4791188"/>
                    <a:pt x="1202387" y="4796137"/>
                  </a:cubicBezTo>
                  <a:cubicBezTo>
                    <a:pt x="1202387" y="4801086"/>
                    <a:pt x="1198375" y="4805098"/>
                    <a:pt x="1193426" y="4805098"/>
                  </a:cubicBezTo>
                  <a:cubicBezTo>
                    <a:pt x="1188479" y="4805098"/>
                    <a:pt x="1184468" y="4801086"/>
                    <a:pt x="1184468" y="4796137"/>
                  </a:cubicBezTo>
                  <a:cubicBezTo>
                    <a:pt x="1184468" y="4791188"/>
                    <a:pt x="1188479" y="4787177"/>
                    <a:pt x="1193426" y="4787177"/>
                  </a:cubicBezTo>
                  <a:close/>
                  <a:moveTo>
                    <a:pt x="1024675" y="4787177"/>
                  </a:moveTo>
                  <a:cubicBezTo>
                    <a:pt x="1029627" y="4787177"/>
                    <a:pt x="1033642" y="4791188"/>
                    <a:pt x="1033642" y="4796137"/>
                  </a:cubicBezTo>
                  <a:cubicBezTo>
                    <a:pt x="1033642" y="4801086"/>
                    <a:pt x="1029627" y="4805098"/>
                    <a:pt x="1024675" y="4805098"/>
                  </a:cubicBezTo>
                  <a:cubicBezTo>
                    <a:pt x="1019727" y="4805098"/>
                    <a:pt x="1015716" y="4801086"/>
                    <a:pt x="1015716" y="4796137"/>
                  </a:cubicBezTo>
                  <a:cubicBezTo>
                    <a:pt x="1015716" y="4791188"/>
                    <a:pt x="1019727" y="4787177"/>
                    <a:pt x="1024675" y="4787177"/>
                  </a:cubicBezTo>
                  <a:close/>
                  <a:moveTo>
                    <a:pt x="855945" y="4787177"/>
                  </a:moveTo>
                  <a:cubicBezTo>
                    <a:pt x="860893" y="4787177"/>
                    <a:pt x="864906" y="4791188"/>
                    <a:pt x="864906" y="4796137"/>
                  </a:cubicBezTo>
                  <a:cubicBezTo>
                    <a:pt x="864906" y="4801086"/>
                    <a:pt x="860893" y="4805098"/>
                    <a:pt x="855945" y="4805098"/>
                  </a:cubicBezTo>
                  <a:cubicBezTo>
                    <a:pt x="850996" y="4805098"/>
                    <a:pt x="846984" y="4801086"/>
                    <a:pt x="846984" y="4796137"/>
                  </a:cubicBezTo>
                  <a:cubicBezTo>
                    <a:pt x="846984" y="4791188"/>
                    <a:pt x="850996" y="4787177"/>
                    <a:pt x="855945" y="4787177"/>
                  </a:cubicBezTo>
                  <a:close/>
                  <a:moveTo>
                    <a:pt x="687206" y="4787177"/>
                  </a:moveTo>
                  <a:cubicBezTo>
                    <a:pt x="692154" y="4787177"/>
                    <a:pt x="696166" y="4791188"/>
                    <a:pt x="696166" y="4796137"/>
                  </a:cubicBezTo>
                  <a:cubicBezTo>
                    <a:pt x="696166" y="4801086"/>
                    <a:pt x="692154" y="4805098"/>
                    <a:pt x="687206" y="4805098"/>
                  </a:cubicBezTo>
                  <a:cubicBezTo>
                    <a:pt x="682257" y="4805098"/>
                    <a:pt x="678246" y="4801086"/>
                    <a:pt x="678246" y="4796137"/>
                  </a:cubicBezTo>
                  <a:cubicBezTo>
                    <a:pt x="678246" y="4791188"/>
                    <a:pt x="682257" y="4787177"/>
                    <a:pt x="687206" y="4787177"/>
                  </a:cubicBezTo>
                  <a:close/>
                  <a:moveTo>
                    <a:pt x="518442" y="4787177"/>
                  </a:moveTo>
                  <a:cubicBezTo>
                    <a:pt x="523391" y="4787177"/>
                    <a:pt x="527403" y="4791188"/>
                    <a:pt x="527403" y="4796137"/>
                  </a:cubicBezTo>
                  <a:cubicBezTo>
                    <a:pt x="527403" y="4801086"/>
                    <a:pt x="523391" y="4805098"/>
                    <a:pt x="518442" y="4805098"/>
                  </a:cubicBezTo>
                  <a:cubicBezTo>
                    <a:pt x="513494" y="4805098"/>
                    <a:pt x="509482" y="4801086"/>
                    <a:pt x="509482" y="4796137"/>
                  </a:cubicBezTo>
                  <a:cubicBezTo>
                    <a:pt x="509482" y="4791188"/>
                    <a:pt x="513494" y="4787177"/>
                    <a:pt x="518442" y="4787177"/>
                  </a:cubicBezTo>
                  <a:close/>
                  <a:moveTo>
                    <a:pt x="349704" y="4787177"/>
                  </a:moveTo>
                  <a:cubicBezTo>
                    <a:pt x="354652" y="4787177"/>
                    <a:pt x="358664" y="4791188"/>
                    <a:pt x="358664" y="4796137"/>
                  </a:cubicBezTo>
                  <a:cubicBezTo>
                    <a:pt x="358664" y="4801086"/>
                    <a:pt x="354652" y="4805098"/>
                    <a:pt x="349704" y="4805098"/>
                  </a:cubicBezTo>
                  <a:cubicBezTo>
                    <a:pt x="344756" y="4805098"/>
                    <a:pt x="340744" y="4801086"/>
                    <a:pt x="340744" y="4796137"/>
                  </a:cubicBezTo>
                  <a:cubicBezTo>
                    <a:pt x="340744" y="4791188"/>
                    <a:pt x="344756" y="4787177"/>
                    <a:pt x="349704" y="4787177"/>
                  </a:cubicBezTo>
                  <a:close/>
                  <a:moveTo>
                    <a:pt x="179385" y="4787177"/>
                  </a:moveTo>
                  <a:cubicBezTo>
                    <a:pt x="184334" y="4787177"/>
                    <a:pt x="188346" y="4791188"/>
                    <a:pt x="188346" y="4796137"/>
                  </a:cubicBezTo>
                  <a:cubicBezTo>
                    <a:pt x="188346" y="4801086"/>
                    <a:pt x="184334" y="4805098"/>
                    <a:pt x="179385" y="4805098"/>
                  </a:cubicBezTo>
                  <a:cubicBezTo>
                    <a:pt x="174437" y="4805098"/>
                    <a:pt x="170425" y="4801086"/>
                    <a:pt x="170425" y="4796137"/>
                  </a:cubicBezTo>
                  <a:cubicBezTo>
                    <a:pt x="170425" y="4791188"/>
                    <a:pt x="174437" y="4787177"/>
                    <a:pt x="179385" y="4787177"/>
                  </a:cubicBezTo>
                  <a:close/>
                  <a:moveTo>
                    <a:pt x="9068" y="4787177"/>
                  </a:moveTo>
                  <a:cubicBezTo>
                    <a:pt x="14016" y="4787177"/>
                    <a:pt x="18027" y="4791188"/>
                    <a:pt x="18027" y="4796137"/>
                  </a:cubicBezTo>
                  <a:cubicBezTo>
                    <a:pt x="18027" y="4801086"/>
                    <a:pt x="14016" y="4805098"/>
                    <a:pt x="9068" y="4805098"/>
                  </a:cubicBezTo>
                  <a:cubicBezTo>
                    <a:pt x="4119" y="4805098"/>
                    <a:pt x="107" y="4801086"/>
                    <a:pt x="107" y="4796137"/>
                  </a:cubicBezTo>
                  <a:cubicBezTo>
                    <a:pt x="107" y="4791188"/>
                    <a:pt x="4119" y="4787177"/>
                    <a:pt x="9068" y="4787177"/>
                  </a:cubicBezTo>
                  <a:close/>
                  <a:moveTo>
                    <a:pt x="6933679" y="4616195"/>
                  </a:moveTo>
                  <a:cubicBezTo>
                    <a:pt x="6938628" y="4616195"/>
                    <a:pt x="6942639" y="4620206"/>
                    <a:pt x="6942639" y="4625155"/>
                  </a:cubicBezTo>
                  <a:cubicBezTo>
                    <a:pt x="6942639" y="4630104"/>
                    <a:pt x="6938628" y="4634116"/>
                    <a:pt x="6933679" y="4634116"/>
                  </a:cubicBezTo>
                  <a:cubicBezTo>
                    <a:pt x="6928730" y="4634116"/>
                    <a:pt x="6924718" y="4630104"/>
                    <a:pt x="6924718" y="4625155"/>
                  </a:cubicBezTo>
                  <a:cubicBezTo>
                    <a:pt x="6924718" y="4620206"/>
                    <a:pt x="6928730" y="4616195"/>
                    <a:pt x="6933679" y="4616195"/>
                  </a:cubicBezTo>
                  <a:close/>
                  <a:moveTo>
                    <a:pt x="6763357" y="4616195"/>
                  </a:moveTo>
                  <a:cubicBezTo>
                    <a:pt x="6768306" y="4616195"/>
                    <a:pt x="6772318" y="4620206"/>
                    <a:pt x="6772318" y="4625155"/>
                  </a:cubicBezTo>
                  <a:cubicBezTo>
                    <a:pt x="6772318" y="4630104"/>
                    <a:pt x="6768306" y="4634116"/>
                    <a:pt x="6763357" y="4634116"/>
                  </a:cubicBezTo>
                  <a:cubicBezTo>
                    <a:pt x="6758408" y="4634116"/>
                    <a:pt x="6754397" y="4630104"/>
                    <a:pt x="6754397" y="4625155"/>
                  </a:cubicBezTo>
                  <a:cubicBezTo>
                    <a:pt x="6754397" y="4620206"/>
                    <a:pt x="6758408" y="4616195"/>
                    <a:pt x="6763357" y="4616195"/>
                  </a:cubicBezTo>
                  <a:close/>
                  <a:moveTo>
                    <a:pt x="6593035" y="4616195"/>
                  </a:moveTo>
                  <a:cubicBezTo>
                    <a:pt x="6597984" y="4616195"/>
                    <a:pt x="6601996" y="4620206"/>
                    <a:pt x="6601996" y="4625155"/>
                  </a:cubicBezTo>
                  <a:cubicBezTo>
                    <a:pt x="6601996" y="4630104"/>
                    <a:pt x="6597984" y="4634116"/>
                    <a:pt x="6593035" y="4634116"/>
                  </a:cubicBezTo>
                  <a:cubicBezTo>
                    <a:pt x="6588086" y="4634116"/>
                    <a:pt x="6584075" y="4630104"/>
                    <a:pt x="6584075" y="4625155"/>
                  </a:cubicBezTo>
                  <a:cubicBezTo>
                    <a:pt x="6584075" y="4620206"/>
                    <a:pt x="6588086" y="4616195"/>
                    <a:pt x="6593035" y="4616195"/>
                  </a:cubicBezTo>
                  <a:close/>
                  <a:moveTo>
                    <a:pt x="6424294" y="4616195"/>
                  </a:moveTo>
                  <a:cubicBezTo>
                    <a:pt x="6429243" y="4616195"/>
                    <a:pt x="6433255" y="4620206"/>
                    <a:pt x="6433255" y="4625155"/>
                  </a:cubicBezTo>
                  <a:cubicBezTo>
                    <a:pt x="6433255" y="4630104"/>
                    <a:pt x="6429243" y="4634116"/>
                    <a:pt x="6424294" y="4634116"/>
                  </a:cubicBezTo>
                  <a:cubicBezTo>
                    <a:pt x="6419345" y="4634116"/>
                    <a:pt x="6415334" y="4630104"/>
                    <a:pt x="6415334" y="4625155"/>
                  </a:cubicBezTo>
                  <a:cubicBezTo>
                    <a:pt x="6415334" y="4620206"/>
                    <a:pt x="6419345" y="4616195"/>
                    <a:pt x="6424294" y="4616195"/>
                  </a:cubicBezTo>
                  <a:close/>
                  <a:moveTo>
                    <a:pt x="6255553" y="4616195"/>
                  </a:moveTo>
                  <a:cubicBezTo>
                    <a:pt x="6260502" y="4616195"/>
                    <a:pt x="6264514" y="4620206"/>
                    <a:pt x="6264514" y="4625155"/>
                  </a:cubicBezTo>
                  <a:cubicBezTo>
                    <a:pt x="6264514" y="4630104"/>
                    <a:pt x="6260502" y="4634116"/>
                    <a:pt x="6255553" y="4634116"/>
                  </a:cubicBezTo>
                  <a:cubicBezTo>
                    <a:pt x="6250604" y="4634116"/>
                    <a:pt x="6246593" y="4630104"/>
                    <a:pt x="6246593" y="4625155"/>
                  </a:cubicBezTo>
                  <a:cubicBezTo>
                    <a:pt x="6246593" y="4620206"/>
                    <a:pt x="6250604" y="4616195"/>
                    <a:pt x="6255553" y="4616195"/>
                  </a:cubicBezTo>
                  <a:close/>
                  <a:moveTo>
                    <a:pt x="6086811" y="4616195"/>
                  </a:moveTo>
                  <a:cubicBezTo>
                    <a:pt x="6091760" y="4616195"/>
                    <a:pt x="6095772" y="4620206"/>
                    <a:pt x="6095772" y="4625155"/>
                  </a:cubicBezTo>
                  <a:cubicBezTo>
                    <a:pt x="6095772" y="4630104"/>
                    <a:pt x="6091760" y="4634116"/>
                    <a:pt x="6086811" y="4634116"/>
                  </a:cubicBezTo>
                  <a:cubicBezTo>
                    <a:pt x="6081862" y="4634116"/>
                    <a:pt x="6077851" y="4630104"/>
                    <a:pt x="6077851" y="4625155"/>
                  </a:cubicBezTo>
                  <a:cubicBezTo>
                    <a:pt x="6077851" y="4620206"/>
                    <a:pt x="6081862" y="4616195"/>
                    <a:pt x="6086811" y="4616195"/>
                  </a:cubicBezTo>
                  <a:close/>
                  <a:moveTo>
                    <a:pt x="5918069" y="4616195"/>
                  </a:moveTo>
                  <a:cubicBezTo>
                    <a:pt x="5923018" y="4616195"/>
                    <a:pt x="5927030" y="4620206"/>
                    <a:pt x="5927030" y="4625155"/>
                  </a:cubicBezTo>
                  <a:cubicBezTo>
                    <a:pt x="5927030" y="4630104"/>
                    <a:pt x="5923018" y="4634116"/>
                    <a:pt x="5918069" y="4634116"/>
                  </a:cubicBezTo>
                  <a:cubicBezTo>
                    <a:pt x="5913120" y="4634116"/>
                    <a:pt x="5909109" y="4630104"/>
                    <a:pt x="5909109" y="4625155"/>
                  </a:cubicBezTo>
                  <a:cubicBezTo>
                    <a:pt x="5909109" y="4620206"/>
                    <a:pt x="5913120" y="4616195"/>
                    <a:pt x="5918069" y="4616195"/>
                  </a:cubicBezTo>
                  <a:close/>
                  <a:moveTo>
                    <a:pt x="5749328" y="4616195"/>
                  </a:moveTo>
                  <a:cubicBezTo>
                    <a:pt x="5754277" y="4616195"/>
                    <a:pt x="5758289" y="4620206"/>
                    <a:pt x="5758289" y="4625155"/>
                  </a:cubicBezTo>
                  <a:cubicBezTo>
                    <a:pt x="5758289" y="4630104"/>
                    <a:pt x="5754277" y="4634116"/>
                    <a:pt x="5749328" y="4634116"/>
                  </a:cubicBezTo>
                  <a:cubicBezTo>
                    <a:pt x="5744379" y="4634116"/>
                    <a:pt x="5740368" y="4630104"/>
                    <a:pt x="5740368" y="4625155"/>
                  </a:cubicBezTo>
                  <a:cubicBezTo>
                    <a:pt x="5740368" y="4620206"/>
                    <a:pt x="5744379" y="4616195"/>
                    <a:pt x="5749328" y="4616195"/>
                  </a:cubicBezTo>
                  <a:close/>
                  <a:moveTo>
                    <a:pt x="5580586" y="4616195"/>
                  </a:moveTo>
                  <a:cubicBezTo>
                    <a:pt x="5585535" y="4616195"/>
                    <a:pt x="5589547" y="4620206"/>
                    <a:pt x="5589547" y="4625155"/>
                  </a:cubicBezTo>
                  <a:cubicBezTo>
                    <a:pt x="5589547" y="4630104"/>
                    <a:pt x="5585535" y="4634116"/>
                    <a:pt x="5580586" y="4634116"/>
                  </a:cubicBezTo>
                  <a:cubicBezTo>
                    <a:pt x="5575637" y="4634116"/>
                    <a:pt x="5571626" y="4630104"/>
                    <a:pt x="5571626" y="4625155"/>
                  </a:cubicBezTo>
                  <a:cubicBezTo>
                    <a:pt x="5571626" y="4620206"/>
                    <a:pt x="5575637" y="4616195"/>
                    <a:pt x="5580586" y="4616195"/>
                  </a:cubicBezTo>
                  <a:close/>
                  <a:moveTo>
                    <a:pt x="5411845" y="4616195"/>
                  </a:moveTo>
                  <a:cubicBezTo>
                    <a:pt x="5416794" y="4616195"/>
                    <a:pt x="5420806" y="4620206"/>
                    <a:pt x="5420806" y="4625155"/>
                  </a:cubicBezTo>
                  <a:cubicBezTo>
                    <a:pt x="5420806" y="4630104"/>
                    <a:pt x="5416794" y="4634116"/>
                    <a:pt x="5411845" y="4634116"/>
                  </a:cubicBezTo>
                  <a:cubicBezTo>
                    <a:pt x="5406896" y="4634116"/>
                    <a:pt x="5402885" y="4630104"/>
                    <a:pt x="5402885" y="4625155"/>
                  </a:cubicBezTo>
                  <a:cubicBezTo>
                    <a:pt x="5402885" y="4620206"/>
                    <a:pt x="5406896" y="4616195"/>
                    <a:pt x="5411845" y="4616195"/>
                  </a:cubicBezTo>
                  <a:close/>
                  <a:moveTo>
                    <a:pt x="5243103" y="4616195"/>
                  </a:moveTo>
                  <a:cubicBezTo>
                    <a:pt x="5248052" y="4616195"/>
                    <a:pt x="5252064" y="4620206"/>
                    <a:pt x="5252064" y="4625155"/>
                  </a:cubicBezTo>
                  <a:cubicBezTo>
                    <a:pt x="5252064" y="4630104"/>
                    <a:pt x="5248052" y="4634116"/>
                    <a:pt x="5243103" y="4634116"/>
                  </a:cubicBezTo>
                  <a:cubicBezTo>
                    <a:pt x="5238154" y="4634116"/>
                    <a:pt x="5234143" y="4630104"/>
                    <a:pt x="5234143" y="4625155"/>
                  </a:cubicBezTo>
                  <a:cubicBezTo>
                    <a:pt x="5234143" y="4620206"/>
                    <a:pt x="5238154" y="4616195"/>
                    <a:pt x="5243103" y="4616195"/>
                  </a:cubicBezTo>
                  <a:close/>
                  <a:moveTo>
                    <a:pt x="5074362" y="4616195"/>
                  </a:moveTo>
                  <a:cubicBezTo>
                    <a:pt x="5079311" y="4616195"/>
                    <a:pt x="5083323" y="4620206"/>
                    <a:pt x="5083323" y="4625155"/>
                  </a:cubicBezTo>
                  <a:cubicBezTo>
                    <a:pt x="5083323" y="4630104"/>
                    <a:pt x="5079311" y="4634116"/>
                    <a:pt x="5074362" y="4634116"/>
                  </a:cubicBezTo>
                  <a:cubicBezTo>
                    <a:pt x="5069413" y="4634116"/>
                    <a:pt x="5065402" y="4630104"/>
                    <a:pt x="5065402" y="4625155"/>
                  </a:cubicBezTo>
                  <a:cubicBezTo>
                    <a:pt x="5065402" y="4620206"/>
                    <a:pt x="5069413" y="4616195"/>
                    <a:pt x="5074362" y="4616195"/>
                  </a:cubicBezTo>
                  <a:close/>
                  <a:moveTo>
                    <a:pt x="4905620" y="4616195"/>
                  </a:moveTo>
                  <a:cubicBezTo>
                    <a:pt x="4910569" y="4616195"/>
                    <a:pt x="4914581" y="4620206"/>
                    <a:pt x="4914581" y="4625155"/>
                  </a:cubicBezTo>
                  <a:cubicBezTo>
                    <a:pt x="4914581" y="4630104"/>
                    <a:pt x="4910569" y="4634116"/>
                    <a:pt x="4905620" y="4634116"/>
                  </a:cubicBezTo>
                  <a:cubicBezTo>
                    <a:pt x="4900671" y="4634116"/>
                    <a:pt x="4896660" y="4630104"/>
                    <a:pt x="4896660" y="4625155"/>
                  </a:cubicBezTo>
                  <a:cubicBezTo>
                    <a:pt x="4896660" y="4620206"/>
                    <a:pt x="4900671" y="4616195"/>
                    <a:pt x="4905620" y="4616195"/>
                  </a:cubicBezTo>
                  <a:close/>
                  <a:moveTo>
                    <a:pt x="4736878" y="4616195"/>
                  </a:moveTo>
                  <a:cubicBezTo>
                    <a:pt x="4741827" y="4616195"/>
                    <a:pt x="4745839" y="4620206"/>
                    <a:pt x="4745839" y="4625155"/>
                  </a:cubicBezTo>
                  <a:cubicBezTo>
                    <a:pt x="4745839" y="4630104"/>
                    <a:pt x="4741827" y="4634116"/>
                    <a:pt x="4736878" y="4634116"/>
                  </a:cubicBezTo>
                  <a:cubicBezTo>
                    <a:pt x="4731929" y="4634116"/>
                    <a:pt x="4727918" y="4630104"/>
                    <a:pt x="4727918" y="4625155"/>
                  </a:cubicBezTo>
                  <a:cubicBezTo>
                    <a:pt x="4727918" y="4620206"/>
                    <a:pt x="4731929" y="4616195"/>
                    <a:pt x="4736878" y="4616195"/>
                  </a:cubicBezTo>
                  <a:close/>
                  <a:moveTo>
                    <a:pt x="4568137" y="4616195"/>
                  </a:moveTo>
                  <a:cubicBezTo>
                    <a:pt x="4573086" y="4616195"/>
                    <a:pt x="4577098" y="4620206"/>
                    <a:pt x="4577098" y="4625155"/>
                  </a:cubicBezTo>
                  <a:cubicBezTo>
                    <a:pt x="4577098" y="4630104"/>
                    <a:pt x="4573086" y="4634116"/>
                    <a:pt x="4568137" y="4634116"/>
                  </a:cubicBezTo>
                  <a:cubicBezTo>
                    <a:pt x="4563188" y="4634116"/>
                    <a:pt x="4559177" y="4630104"/>
                    <a:pt x="4559177" y="4625155"/>
                  </a:cubicBezTo>
                  <a:cubicBezTo>
                    <a:pt x="4559177" y="4620206"/>
                    <a:pt x="4563188" y="4616195"/>
                    <a:pt x="4568137" y="4616195"/>
                  </a:cubicBezTo>
                  <a:close/>
                  <a:moveTo>
                    <a:pt x="4399396" y="4616195"/>
                  </a:moveTo>
                  <a:cubicBezTo>
                    <a:pt x="4404345" y="4616195"/>
                    <a:pt x="4408357" y="4620206"/>
                    <a:pt x="4408357" y="4625155"/>
                  </a:cubicBezTo>
                  <a:cubicBezTo>
                    <a:pt x="4408357" y="4630104"/>
                    <a:pt x="4404345" y="4634116"/>
                    <a:pt x="4399396" y="4634116"/>
                  </a:cubicBezTo>
                  <a:cubicBezTo>
                    <a:pt x="4394447" y="4634116"/>
                    <a:pt x="4390436" y="4630104"/>
                    <a:pt x="4390436" y="4625155"/>
                  </a:cubicBezTo>
                  <a:cubicBezTo>
                    <a:pt x="4390436" y="4620206"/>
                    <a:pt x="4394447" y="4616195"/>
                    <a:pt x="4399396" y="4616195"/>
                  </a:cubicBezTo>
                  <a:close/>
                  <a:moveTo>
                    <a:pt x="4230654" y="4616195"/>
                  </a:moveTo>
                  <a:cubicBezTo>
                    <a:pt x="4235603" y="4616195"/>
                    <a:pt x="4239615" y="4620206"/>
                    <a:pt x="4239615" y="4625155"/>
                  </a:cubicBezTo>
                  <a:cubicBezTo>
                    <a:pt x="4239615" y="4630104"/>
                    <a:pt x="4235603" y="4634116"/>
                    <a:pt x="4230654" y="4634116"/>
                  </a:cubicBezTo>
                  <a:cubicBezTo>
                    <a:pt x="4225705" y="4634116"/>
                    <a:pt x="4221694" y="4630104"/>
                    <a:pt x="4221694" y="4625155"/>
                  </a:cubicBezTo>
                  <a:cubicBezTo>
                    <a:pt x="4221694" y="4620206"/>
                    <a:pt x="4225705" y="4616195"/>
                    <a:pt x="4230654" y="4616195"/>
                  </a:cubicBezTo>
                  <a:close/>
                  <a:moveTo>
                    <a:pt x="4061912" y="4616195"/>
                  </a:moveTo>
                  <a:cubicBezTo>
                    <a:pt x="4066861" y="4616195"/>
                    <a:pt x="4070873" y="4620206"/>
                    <a:pt x="4070873" y="4625155"/>
                  </a:cubicBezTo>
                  <a:cubicBezTo>
                    <a:pt x="4070873" y="4630104"/>
                    <a:pt x="4066861" y="4634116"/>
                    <a:pt x="4061912" y="4634116"/>
                  </a:cubicBezTo>
                  <a:cubicBezTo>
                    <a:pt x="4056963" y="4634116"/>
                    <a:pt x="4052952" y="4630104"/>
                    <a:pt x="4052952" y="4625155"/>
                  </a:cubicBezTo>
                  <a:cubicBezTo>
                    <a:pt x="4052952" y="4620206"/>
                    <a:pt x="4056963" y="4616195"/>
                    <a:pt x="4061912" y="4616195"/>
                  </a:cubicBezTo>
                  <a:close/>
                  <a:moveTo>
                    <a:pt x="3893170" y="4616195"/>
                  </a:moveTo>
                  <a:cubicBezTo>
                    <a:pt x="3898119" y="4616195"/>
                    <a:pt x="3902131" y="4620206"/>
                    <a:pt x="3902131" y="4625155"/>
                  </a:cubicBezTo>
                  <a:cubicBezTo>
                    <a:pt x="3902131" y="4630104"/>
                    <a:pt x="3898119" y="4634116"/>
                    <a:pt x="3893170" y="4634116"/>
                  </a:cubicBezTo>
                  <a:cubicBezTo>
                    <a:pt x="3888221" y="4634116"/>
                    <a:pt x="3884210" y="4630104"/>
                    <a:pt x="3884210" y="4625155"/>
                  </a:cubicBezTo>
                  <a:cubicBezTo>
                    <a:pt x="3884210" y="4620206"/>
                    <a:pt x="3888221" y="4616195"/>
                    <a:pt x="3893170" y="4616195"/>
                  </a:cubicBezTo>
                  <a:close/>
                  <a:moveTo>
                    <a:pt x="3724429" y="4616195"/>
                  </a:moveTo>
                  <a:cubicBezTo>
                    <a:pt x="3729378" y="4616195"/>
                    <a:pt x="3733390" y="4620206"/>
                    <a:pt x="3733390" y="4625155"/>
                  </a:cubicBezTo>
                  <a:cubicBezTo>
                    <a:pt x="3733390" y="4630104"/>
                    <a:pt x="3729378" y="4634116"/>
                    <a:pt x="3724429" y="4634116"/>
                  </a:cubicBezTo>
                  <a:cubicBezTo>
                    <a:pt x="3719481" y="4634116"/>
                    <a:pt x="3715469" y="4630104"/>
                    <a:pt x="3715469" y="4625155"/>
                  </a:cubicBezTo>
                  <a:cubicBezTo>
                    <a:pt x="3715469" y="4620206"/>
                    <a:pt x="3719481" y="4616195"/>
                    <a:pt x="3724429" y="4616195"/>
                  </a:cubicBezTo>
                  <a:close/>
                  <a:moveTo>
                    <a:pt x="3555688" y="4616195"/>
                  </a:moveTo>
                  <a:cubicBezTo>
                    <a:pt x="3560637" y="4616195"/>
                    <a:pt x="3564649" y="4620206"/>
                    <a:pt x="3564649" y="4625155"/>
                  </a:cubicBezTo>
                  <a:cubicBezTo>
                    <a:pt x="3564649" y="4630104"/>
                    <a:pt x="3560637" y="4634116"/>
                    <a:pt x="3555688" y="4634116"/>
                  </a:cubicBezTo>
                  <a:cubicBezTo>
                    <a:pt x="3550740" y="4634116"/>
                    <a:pt x="3546728" y="4630104"/>
                    <a:pt x="3546728" y="4625155"/>
                  </a:cubicBezTo>
                  <a:cubicBezTo>
                    <a:pt x="3546728" y="4620206"/>
                    <a:pt x="3550740" y="4616195"/>
                    <a:pt x="3555688" y="4616195"/>
                  </a:cubicBezTo>
                  <a:close/>
                  <a:moveTo>
                    <a:pt x="3387029" y="4616195"/>
                  </a:moveTo>
                  <a:cubicBezTo>
                    <a:pt x="3391977" y="4616195"/>
                    <a:pt x="3395989" y="4620206"/>
                    <a:pt x="3395989" y="4625155"/>
                  </a:cubicBezTo>
                  <a:cubicBezTo>
                    <a:pt x="3395989" y="4630104"/>
                    <a:pt x="3391977" y="4634116"/>
                    <a:pt x="3387029" y="4634116"/>
                  </a:cubicBezTo>
                  <a:cubicBezTo>
                    <a:pt x="3382040" y="4634116"/>
                    <a:pt x="3378027" y="4630104"/>
                    <a:pt x="3378027" y="4625155"/>
                  </a:cubicBezTo>
                  <a:cubicBezTo>
                    <a:pt x="3378027" y="4620206"/>
                    <a:pt x="3382040" y="4616195"/>
                    <a:pt x="3387029" y="4616195"/>
                  </a:cubicBezTo>
                  <a:close/>
                  <a:moveTo>
                    <a:pt x="3218270" y="4616195"/>
                  </a:moveTo>
                  <a:cubicBezTo>
                    <a:pt x="3223232" y="4616195"/>
                    <a:pt x="3227240" y="4620206"/>
                    <a:pt x="3227240" y="4625155"/>
                  </a:cubicBezTo>
                  <a:cubicBezTo>
                    <a:pt x="3227240" y="4630104"/>
                    <a:pt x="3223232" y="4634116"/>
                    <a:pt x="3218270" y="4634116"/>
                  </a:cubicBezTo>
                  <a:cubicBezTo>
                    <a:pt x="3213313" y="4634116"/>
                    <a:pt x="3209311" y="4630104"/>
                    <a:pt x="3209311" y="4625155"/>
                  </a:cubicBezTo>
                  <a:cubicBezTo>
                    <a:pt x="3209311" y="4620206"/>
                    <a:pt x="3213313" y="4616195"/>
                    <a:pt x="3218270" y="4616195"/>
                  </a:cubicBezTo>
                  <a:close/>
                  <a:moveTo>
                    <a:pt x="3049561" y="4616195"/>
                  </a:moveTo>
                  <a:cubicBezTo>
                    <a:pt x="3054495" y="4616195"/>
                    <a:pt x="3058508" y="4620206"/>
                    <a:pt x="3058508" y="4625155"/>
                  </a:cubicBezTo>
                  <a:cubicBezTo>
                    <a:pt x="3058508" y="4630104"/>
                    <a:pt x="3054495" y="4634116"/>
                    <a:pt x="3049561" y="4634116"/>
                  </a:cubicBezTo>
                  <a:cubicBezTo>
                    <a:pt x="3044602" y="4634116"/>
                    <a:pt x="3040591" y="4630104"/>
                    <a:pt x="3040591" y="4625155"/>
                  </a:cubicBezTo>
                  <a:cubicBezTo>
                    <a:pt x="3040591" y="4620206"/>
                    <a:pt x="3044602" y="4616195"/>
                    <a:pt x="3049561" y="4616195"/>
                  </a:cubicBezTo>
                  <a:close/>
                  <a:moveTo>
                    <a:pt x="2880828" y="4616195"/>
                  </a:moveTo>
                  <a:cubicBezTo>
                    <a:pt x="2885774" y="4616195"/>
                    <a:pt x="2889785" y="4620206"/>
                    <a:pt x="2889785" y="4625155"/>
                  </a:cubicBezTo>
                  <a:cubicBezTo>
                    <a:pt x="2889785" y="4630104"/>
                    <a:pt x="2885774" y="4634116"/>
                    <a:pt x="2880828" y="4634116"/>
                  </a:cubicBezTo>
                  <a:cubicBezTo>
                    <a:pt x="2875879" y="4634116"/>
                    <a:pt x="2871867" y="4630104"/>
                    <a:pt x="2871867" y="4625155"/>
                  </a:cubicBezTo>
                  <a:cubicBezTo>
                    <a:pt x="2871867" y="4620206"/>
                    <a:pt x="2875879" y="4616195"/>
                    <a:pt x="2880828" y="4616195"/>
                  </a:cubicBezTo>
                  <a:close/>
                  <a:moveTo>
                    <a:pt x="2712067" y="4616195"/>
                  </a:moveTo>
                  <a:cubicBezTo>
                    <a:pt x="2717041" y="4616195"/>
                    <a:pt x="2721050" y="4620206"/>
                    <a:pt x="2721050" y="4625155"/>
                  </a:cubicBezTo>
                  <a:cubicBezTo>
                    <a:pt x="2721050" y="4630104"/>
                    <a:pt x="2717041" y="4634116"/>
                    <a:pt x="2712067" y="4634116"/>
                  </a:cubicBezTo>
                  <a:cubicBezTo>
                    <a:pt x="2707121" y="4634116"/>
                    <a:pt x="2703111" y="4630104"/>
                    <a:pt x="2703111" y="4625155"/>
                  </a:cubicBezTo>
                  <a:cubicBezTo>
                    <a:pt x="2703111" y="4620206"/>
                    <a:pt x="2707121" y="4616195"/>
                    <a:pt x="2712067" y="4616195"/>
                  </a:cubicBezTo>
                  <a:close/>
                  <a:moveTo>
                    <a:pt x="2543369" y="4616195"/>
                  </a:moveTo>
                  <a:cubicBezTo>
                    <a:pt x="2548316" y="4616195"/>
                    <a:pt x="2552329" y="4620206"/>
                    <a:pt x="2552329" y="4625155"/>
                  </a:cubicBezTo>
                  <a:cubicBezTo>
                    <a:pt x="2552329" y="4630104"/>
                    <a:pt x="2548316" y="4634116"/>
                    <a:pt x="2543369" y="4634116"/>
                  </a:cubicBezTo>
                  <a:cubicBezTo>
                    <a:pt x="2538416" y="4634116"/>
                    <a:pt x="2534397" y="4630104"/>
                    <a:pt x="2534397" y="4625155"/>
                  </a:cubicBezTo>
                  <a:cubicBezTo>
                    <a:pt x="2534397" y="4620206"/>
                    <a:pt x="2538416" y="4616195"/>
                    <a:pt x="2543369" y="4616195"/>
                  </a:cubicBezTo>
                  <a:close/>
                  <a:moveTo>
                    <a:pt x="2374586" y="4616195"/>
                  </a:moveTo>
                  <a:cubicBezTo>
                    <a:pt x="2379546" y="4616195"/>
                    <a:pt x="2383579" y="4620206"/>
                    <a:pt x="2383579" y="4625155"/>
                  </a:cubicBezTo>
                  <a:cubicBezTo>
                    <a:pt x="2383579" y="4630104"/>
                    <a:pt x="2379546" y="4634116"/>
                    <a:pt x="2374586" y="4634116"/>
                  </a:cubicBezTo>
                  <a:cubicBezTo>
                    <a:pt x="2369634" y="4634116"/>
                    <a:pt x="2365620" y="4630104"/>
                    <a:pt x="2365620" y="4625155"/>
                  </a:cubicBezTo>
                  <a:cubicBezTo>
                    <a:pt x="2365620" y="4620206"/>
                    <a:pt x="2369634" y="4616195"/>
                    <a:pt x="2374586" y="4616195"/>
                  </a:cubicBezTo>
                  <a:close/>
                  <a:moveTo>
                    <a:pt x="2205875" y="4616195"/>
                  </a:moveTo>
                  <a:cubicBezTo>
                    <a:pt x="2210820" y="4616195"/>
                    <a:pt x="2214830" y="4620206"/>
                    <a:pt x="2214830" y="4625155"/>
                  </a:cubicBezTo>
                  <a:cubicBezTo>
                    <a:pt x="2214830" y="4630104"/>
                    <a:pt x="2210820" y="4634116"/>
                    <a:pt x="2205875" y="4634116"/>
                  </a:cubicBezTo>
                  <a:cubicBezTo>
                    <a:pt x="2200901" y="4634116"/>
                    <a:pt x="2196889" y="4630104"/>
                    <a:pt x="2196889" y="4625155"/>
                  </a:cubicBezTo>
                  <a:cubicBezTo>
                    <a:pt x="2196889" y="4620206"/>
                    <a:pt x="2200901" y="4616195"/>
                    <a:pt x="2205875" y="4616195"/>
                  </a:cubicBezTo>
                  <a:close/>
                  <a:moveTo>
                    <a:pt x="2037130" y="4616195"/>
                  </a:moveTo>
                  <a:cubicBezTo>
                    <a:pt x="2042085" y="4616195"/>
                    <a:pt x="2046076" y="4620206"/>
                    <a:pt x="2046076" y="4625155"/>
                  </a:cubicBezTo>
                  <a:cubicBezTo>
                    <a:pt x="2046076" y="4630104"/>
                    <a:pt x="2042085" y="4634116"/>
                    <a:pt x="2037130" y="4634116"/>
                  </a:cubicBezTo>
                  <a:cubicBezTo>
                    <a:pt x="2032187" y="4634116"/>
                    <a:pt x="2028184" y="4630104"/>
                    <a:pt x="2028184" y="4625155"/>
                  </a:cubicBezTo>
                  <a:cubicBezTo>
                    <a:pt x="2028184" y="4620206"/>
                    <a:pt x="2032187" y="4616195"/>
                    <a:pt x="2037130" y="4616195"/>
                  </a:cubicBezTo>
                  <a:close/>
                  <a:moveTo>
                    <a:pt x="1868413" y="4616195"/>
                  </a:moveTo>
                  <a:cubicBezTo>
                    <a:pt x="1873355" y="4616195"/>
                    <a:pt x="1877366" y="4620206"/>
                    <a:pt x="1877366" y="4625155"/>
                  </a:cubicBezTo>
                  <a:cubicBezTo>
                    <a:pt x="1877366" y="4630104"/>
                    <a:pt x="1873355" y="4634116"/>
                    <a:pt x="1868413" y="4634116"/>
                  </a:cubicBezTo>
                  <a:cubicBezTo>
                    <a:pt x="1863457" y="4634116"/>
                    <a:pt x="1859439" y="4630104"/>
                    <a:pt x="1859439" y="4625155"/>
                  </a:cubicBezTo>
                  <a:cubicBezTo>
                    <a:pt x="1859439" y="4620206"/>
                    <a:pt x="1863457" y="4616195"/>
                    <a:pt x="1868413" y="4616195"/>
                  </a:cubicBezTo>
                  <a:close/>
                  <a:moveTo>
                    <a:pt x="1699661" y="4616195"/>
                  </a:moveTo>
                  <a:cubicBezTo>
                    <a:pt x="1704618" y="4616195"/>
                    <a:pt x="1708630" y="4620206"/>
                    <a:pt x="1708630" y="4625155"/>
                  </a:cubicBezTo>
                  <a:cubicBezTo>
                    <a:pt x="1708630" y="4630104"/>
                    <a:pt x="1704618" y="4634116"/>
                    <a:pt x="1699661" y="4634116"/>
                  </a:cubicBezTo>
                  <a:cubicBezTo>
                    <a:pt x="1694712" y="4634116"/>
                    <a:pt x="1690698" y="4630104"/>
                    <a:pt x="1690698" y="4625155"/>
                  </a:cubicBezTo>
                  <a:cubicBezTo>
                    <a:pt x="1690698" y="4620206"/>
                    <a:pt x="1694712" y="4616195"/>
                    <a:pt x="1699661" y="4616195"/>
                  </a:cubicBezTo>
                  <a:close/>
                  <a:moveTo>
                    <a:pt x="1530921" y="4616195"/>
                  </a:moveTo>
                  <a:cubicBezTo>
                    <a:pt x="1535872" y="4616195"/>
                    <a:pt x="1539883" y="4620206"/>
                    <a:pt x="1539883" y="4625155"/>
                  </a:cubicBezTo>
                  <a:cubicBezTo>
                    <a:pt x="1539883" y="4630104"/>
                    <a:pt x="1535872" y="4634116"/>
                    <a:pt x="1530921" y="4634116"/>
                  </a:cubicBezTo>
                  <a:cubicBezTo>
                    <a:pt x="1525972" y="4634116"/>
                    <a:pt x="1521960" y="4630104"/>
                    <a:pt x="1521960" y="4625155"/>
                  </a:cubicBezTo>
                  <a:cubicBezTo>
                    <a:pt x="1521960" y="4620206"/>
                    <a:pt x="1525972" y="4616195"/>
                    <a:pt x="1530921" y="4616195"/>
                  </a:cubicBezTo>
                  <a:close/>
                  <a:moveTo>
                    <a:pt x="1362172" y="4616195"/>
                  </a:moveTo>
                  <a:cubicBezTo>
                    <a:pt x="1367125" y="4616195"/>
                    <a:pt x="1371134" y="4620206"/>
                    <a:pt x="1371134" y="4625155"/>
                  </a:cubicBezTo>
                  <a:cubicBezTo>
                    <a:pt x="1371134" y="4630104"/>
                    <a:pt x="1367125" y="4634116"/>
                    <a:pt x="1362172" y="4634116"/>
                  </a:cubicBezTo>
                  <a:cubicBezTo>
                    <a:pt x="1357223" y="4634116"/>
                    <a:pt x="1353211" y="4630104"/>
                    <a:pt x="1353211" y="4625155"/>
                  </a:cubicBezTo>
                  <a:cubicBezTo>
                    <a:pt x="1353211" y="4620206"/>
                    <a:pt x="1357223" y="4616195"/>
                    <a:pt x="1362172" y="4616195"/>
                  </a:cubicBezTo>
                  <a:close/>
                  <a:moveTo>
                    <a:pt x="1193431" y="4616195"/>
                  </a:moveTo>
                  <a:cubicBezTo>
                    <a:pt x="1198379" y="4616195"/>
                    <a:pt x="1202391" y="4620206"/>
                    <a:pt x="1202391" y="4625155"/>
                  </a:cubicBezTo>
                  <a:cubicBezTo>
                    <a:pt x="1202391" y="4630104"/>
                    <a:pt x="1198379" y="4634116"/>
                    <a:pt x="1193431" y="4634116"/>
                  </a:cubicBezTo>
                  <a:cubicBezTo>
                    <a:pt x="1188483" y="4634116"/>
                    <a:pt x="1184472" y="4630104"/>
                    <a:pt x="1184472" y="4625155"/>
                  </a:cubicBezTo>
                  <a:cubicBezTo>
                    <a:pt x="1184472" y="4620206"/>
                    <a:pt x="1188483" y="4616195"/>
                    <a:pt x="1193431" y="4616195"/>
                  </a:cubicBezTo>
                  <a:close/>
                  <a:moveTo>
                    <a:pt x="1024680" y="4616195"/>
                  </a:moveTo>
                  <a:cubicBezTo>
                    <a:pt x="1029630" y="4616195"/>
                    <a:pt x="1033646" y="4620206"/>
                    <a:pt x="1033646" y="4625155"/>
                  </a:cubicBezTo>
                  <a:cubicBezTo>
                    <a:pt x="1033646" y="4630104"/>
                    <a:pt x="1029630" y="4634116"/>
                    <a:pt x="1024680" y="4634116"/>
                  </a:cubicBezTo>
                  <a:cubicBezTo>
                    <a:pt x="1019732" y="4634116"/>
                    <a:pt x="1015720" y="4630104"/>
                    <a:pt x="1015720" y="4625155"/>
                  </a:cubicBezTo>
                  <a:cubicBezTo>
                    <a:pt x="1015720" y="4620206"/>
                    <a:pt x="1019732" y="4616195"/>
                    <a:pt x="1024680" y="4616195"/>
                  </a:cubicBezTo>
                  <a:close/>
                  <a:moveTo>
                    <a:pt x="855950" y="4616195"/>
                  </a:moveTo>
                  <a:cubicBezTo>
                    <a:pt x="860898" y="4616195"/>
                    <a:pt x="864910" y="4620206"/>
                    <a:pt x="864910" y="4625155"/>
                  </a:cubicBezTo>
                  <a:cubicBezTo>
                    <a:pt x="864910" y="4630104"/>
                    <a:pt x="860898" y="4634116"/>
                    <a:pt x="855950" y="4634116"/>
                  </a:cubicBezTo>
                  <a:cubicBezTo>
                    <a:pt x="851001" y="4634116"/>
                    <a:pt x="846989" y="4630104"/>
                    <a:pt x="846989" y="4625155"/>
                  </a:cubicBezTo>
                  <a:cubicBezTo>
                    <a:pt x="846989" y="4620206"/>
                    <a:pt x="851001" y="4616195"/>
                    <a:pt x="855950" y="4616195"/>
                  </a:cubicBezTo>
                  <a:close/>
                  <a:moveTo>
                    <a:pt x="687210" y="4616195"/>
                  </a:moveTo>
                  <a:cubicBezTo>
                    <a:pt x="692159" y="4616195"/>
                    <a:pt x="696171" y="4620206"/>
                    <a:pt x="696171" y="4625155"/>
                  </a:cubicBezTo>
                  <a:cubicBezTo>
                    <a:pt x="696171" y="4630104"/>
                    <a:pt x="692159" y="4634116"/>
                    <a:pt x="687210" y="4634116"/>
                  </a:cubicBezTo>
                  <a:cubicBezTo>
                    <a:pt x="682262" y="4634116"/>
                    <a:pt x="678251" y="4630104"/>
                    <a:pt x="678251" y="4625155"/>
                  </a:cubicBezTo>
                  <a:cubicBezTo>
                    <a:pt x="678251" y="4620206"/>
                    <a:pt x="682262" y="4616195"/>
                    <a:pt x="687210" y="4616195"/>
                  </a:cubicBezTo>
                  <a:close/>
                  <a:moveTo>
                    <a:pt x="518446" y="4616195"/>
                  </a:moveTo>
                  <a:cubicBezTo>
                    <a:pt x="523395" y="4616195"/>
                    <a:pt x="527407" y="4620206"/>
                    <a:pt x="527407" y="4625155"/>
                  </a:cubicBezTo>
                  <a:cubicBezTo>
                    <a:pt x="527407" y="4630104"/>
                    <a:pt x="523395" y="4634116"/>
                    <a:pt x="518446" y="4634116"/>
                  </a:cubicBezTo>
                  <a:cubicBezTo>
                    <a:pt x="513497" y="4634116"/>
                    <a:pt x="509486" y="4630104"/>
                    <a:pt x="509486" y="4625155"/>
                  </a:cubicBezTo>
                  <a:cubicBezTo>
                    <a:pt x="509486" y="4620206"/>
                    <a:pt x="513497" y="4616195"/>
                    <a:pt x="518446" y="4616195"/>
                  </a:cubicBezTo>
                  <a:close/>
                  <a:moveTo>
                    <a:pt x="349708" y="4616195"/>
                  </a:moveTo>
                  <a:cubicBezTo>
                    <a:pt x="354656" y="4616195"/>
                    <a:pt x="358668" y="4620206"/>
                    <a:pt x="358668" y="4625155"/>
                  </a:cubicBezTo>
                  <a:cubicBezTo>
                    <a:pt x="358668" y="4630104"/>
                    <a:pt x="354656" y="4634116"/>
                    <a:pt x="349708" y="4634116"/>
                  </a:cubicBezTo>
                  <a:cubicBezTo>
                    <a:pt x="344760" y="4634116"/>
                    <a:pt x="340748" y="4630104"/>
                    <a:pt x="340748" y="4625155"/>
                  </a:cubicBezTo>
                  <a:cubicBezTo>
                    <a:pt x="340748" y="4620206"/>
                    <a:pt x="344760" y="4616195"/>
                    <a:pt x="349708" y="4616195"/>
                  </a:cubicBezTo>
                  <a:close/>
                  <a:moveTo>
                    <a:pt x="179389" y="4616195"/>
                  </a:moveTo>
                  <a:cubicBezTo>
                    <a:pt x="184338" y="4616195"/>
                    <a:pt x="188350" y="4620206"/>
                    <a:pt x="188350" y="4625155"/>
                  </a:cubicBezTo>
                  <a:cubicBezTo>
                    <a:pt x="188350" y="4630104"/>
                    <a:pt x="184338" y="4634116"/>
                    <a:pt x="179389" y="4634116"/>
                  </a:cubicBezTo>
                  <a:cubicBezTo>
                    <a:pt x="174441" y="4634116"/>
                    <a:pt x="170429" y="4630104"/>
                    <a:pt x="170429" y="4625155"/>
                  </a:cubicBezTo>
                  <a:cubicBezTo>
                    <a:pt x="170429" y="4620206"/>
                    <a:pt x="174441" y="4616195"/>
                    <a:pt x="179389" y="4616195"/>
                  </a:cubicBezTo>
                  <a:close/>
                  <a:moveTo>
                    <a:pt x="9072" y="4616195"/>
                  </a:moveTo>
                  <a:cubicBezTo>
                    <a:pt x="14020" y="4616195"/>
                    <a:pt x="18031" y="4620206"/>
                    <a:pt x="18031" y="4625155"/>
                  </a:cubicBezTo>
                  <a:cubicBezTo>
                    <a:pt x="18031" y="4630104"/>
                    <a:pt x="14020" y="4634116"/>
                    <a:pt x="9072" y="4634116"/>
                  </a:cubicBezTo>
                  <a:cubicBezTo>
                    <a:pt x="4123" y="4634116"/>
                    <a:pt x="112" y="4630104"/>
                    <a:pt x="112" y="4625155"/>
                  </a:cubicBezTo>
                  <a:cubicBezTo>
                    <a:pt x="112" y="4620206"/>
                    <a:pt x="4123" y="4616195"/>
                    <a:pt x="9072" y="4616195"/>
                  </a:cubicBezTo>
                  <a:close/>
                  <a:moveTo>
                    <a:pt x="6933679" y="4445214"/>
                  </a:moveTo>
                  <a:cubicBezTo>
                    <a:pt x="6938628" y="4445214"/>
                    <a:pt x="6942639" y="4449225"/>
                    <a:pt x="6942639" y="4454174"/>
                  </a:cubicBezTo>
                  <a:cubicBezTo>
                    <a:pt x="6942639" y="4459123"/>
                    <a:pt x="6938628" y="4463135"/>
                    <a:pt x="6933679" y="4463135"/>
                  </a:cubicBezTo>
                  <a:cubicBezTo>
                    <a:pt x="6928730" y="4463135"/>
                    <a:pt x="6924718" y="4459123"/>
                    <a:pt x="6924718" y="4454174"/>
                  </a:cubicBezTo>
                  <a:cubicBezTo>
                    <a:pt x="6924718" y="4449225"/>
                    <a:pt x="6928730" y="4445214"/>
                    <a:pt x="6933679" y="4445214"/>
                  </a:cubicBezTo>
                  <a:close/>
                  <a:moveTo>
                    <a:pt x="6763357" y="4445214"/>
                  </a:moveTo>
                  <a:cubicBezTo>
                    <a:pt x="6768306" y="4445214"/>
                    <a:pt x="6772318" y="4449225"/>
                    <a:pt x="6772318" y="4454174"/>
                  </a:cubicBezTo>
                  <a:cubicBezTo>
                    <a:pt x="6772318" y="4459123"/>
                    <a:pt x="6768306" y="4463135"/>
                    <a:pt x="6763357" y="4463135"/>
                  </a:cubicBezTo>
                  <a:cubicBezTo>
                    <a:pt x="6758408" y="4463135"/>
                    <a:pt x="6754397" y="4459123"/>
                    <a:pt x="6754397" y="4454174"/>
                  </a:cubicBezTo>
                  <a:cubicBezTo>
                    <a:pt x="6754397" y="4449225"/>
                    <a:pt x="6758408" y="4445214"/>
                    <a:pt x="6763357" y="4445214"/>
                  </a:cubicBezTo>
                  <a:close/>
                  <a:moveTo>
                    <a:pt x="6593035" y="4445214"/>
                  </a:moveTo>
                  <a:cubicBezTo>
                    <a:pt x="6597984" y="4445214"/>
                    <a:pt x="6601996" y="4449225"/>
                    <a:pt x="6601996" y="4454174"/>
                  </a:cubicBezTo>
                  <a:cubicBezTo>
                    <a:pt x="6601996" y="4459123"/>
                    <a:pt x="6597984" y="4463135"/>
                    <a:pt x="6593035" y="4463135"/>
                  </a:cubicBezTo>
                  <a:cubicBezTo>
                    <a:pt x="6588086" y="4463135"/>
                    <a:pt x="6584075" y="4459123"/>
                    <a:pt x="6584075" y="4454174"/>
                  </a:cubicBezTo>
                  <a:cubicBezTo>
                    <a:pt x="6584075" y="4449225"/>
                    <a:pt x="6588086" y="4445214"/>
                    <a:pt x="6593035" y="4445214"/>
                  </a:cubicBezTo>
                  <a:close/>
                  <a:moveTo>
                    <a:pt x="6424294" y="4445214"/>
                  </a:moveTo>
                  <a:cubicBezTo>
                    <a:pt x="6429243" y="4445214"/>
                    <a:pt x="6433255" y="4449225"/>
                    <a:pt x="6433255" y="4454174"/>
                  </a:cubicBezTo>
                  <a:cubicBezTo>
                    <a:pt x="6433255" y="4459123"/>
                    <a:pt x="6429243" y="4463135"/>
                    <a:pt x="6424294" y="4463135"/>
                  </a:cubicBezTo>
                  <a:cubicBezTo>
                    <a:pt x="6419345" y="4463135"/>
                    <a:pt x="6415334" y="4459123"/>
                    <a:pt x="6415334" y="4454174"/>
                  </a:cubicBezTo>
                  <a:cubicBezTo>
                    <a:pt x="6415334" y="4449225"/>
                    <a:pt x="6419345" y="4445214"/>
                    <a:pt x="6424294" y="4445214"/>
                  </a:cubicBezTo>
                  <a:close/>
                  <a:moveTo>
                    <a:pt x="6255553" y="4445214"/>
                  </a:moveTo>
                  <a:cubicBezTo>
                    <a:pt x="6260502" y="4445214"/>
                    <a:pt x="6264514" y="4449225"/>
                    <a:pt x="6264514" y="4454174"/>
                  </a:cubicBezTo>
                  <a:cubicBezTo>
                    <a:pt x="6264514" y="4459123"/>
                    <a:pt x="6260502" y="4463135"/>
                    <a:pt x="6255553" y="4463135"/>
                  </a:cubicBezTo>
                  <a:cubicBezTo>
                    <a:pt x="6250604" y="4463135"/>
                    <a:pt x="6246593" y="4459123"/>
                    <a:pt x="6246593" y="4454174"/>
                  </a:cubicBezTo>
                  <a:cubicBezTo>
                    <a:pt x="6246593" y="4449225"/>
                    <a:pt x="6250604" y="4445214"/>
                    <a:pt x="6255553" y="4445214"/>
                  </a:cubicBezTo>
                  <a:close/>
                  <a:moveTo>
                    <a:pt x="6086811" y="4445214"/>
                  </a:moveTo>
                  <a:cubicBezTo>
                    <a:pt x="6091760" y="4445214"/>
                    <a:pt x="6095772" y="4449225"/>
                    <a:pt x="6095772" y="4454174"/>
                  </a:cubicBezTo>
                  <a:cubicBezTo>
                    <a:pt x="6095772" y="4459123"/>
                    <a:pt x="6091760" y="4463135"/>
                    <a:pt x="6086811" y="4463135"/>
                  </a:cubicBezTo>
                  <a:cubicBezTo>
                    <a:pt x="6081862" y="4463135"/>
                    <a:pt x="6077851" y="4459123"/>
                    <a:pt x="6077851" y="4454174"/>
                  </a:cubicBezTo>
                  <a:cubicBezTo>
                    <a:pt x="6077851" y="4449225"/>
                    <a:pt x="6081862" y="4445214"/>
                    <a:pt x="6086811" y="4445214"/>
                  </a:cubicBezTo>
                  <a:close/>
                  <a:moveTo>
                    <a:pt x="5918069" y="4445214"/>
                  </a:moveTo>
                  <a:cubicBezTo>
                    <a:pt x="5923018" y="4445214"/>
                    <a:pt x="5927030" y="4449225"/>
                    <a:pt x="5927030" y="4454174"/>
                  </a:cubicBezTo>
                  <a:cubicBezTo>
                    <a:pt x="5927030" y="4459123"/>
                    <a:pt x="5923018" y="4463135"/>
                    <a:pt x="5918069" y="4463135"/>
                  </a:cubicBezTo>
                  <a:cubicBezTo>
                    <a:pt x="5913120" y="4463135"/>
                    <a:pt x="5909109" y="4459123"/>
                    <a:pt x="5909109" y="4454174"/>
                  </a:cubicBezTo>
                  <a:cubicBezTo>
                    <a:pt x="5909109" y="4449225"/>
                    <a:pt x="5913120" y="4445214"/>
                    <a:pt x="5918069" y="4445214"/>
                  </a:cubicBezTo>
                  <a:close/>
                  <a:moveTo>
                    <a:pt x="5749328" y="4445214"/>
                  </a:moveTo>
                  <a:cubicBezTo>
                    <a:pt x="5754277" y="4445214"/>
                    <a:pt x="5758289" y="4449225"/>
                    <a:pt x="5758289" y="4454174"/>
                  </a:cubicBezTo>
                  <a:cubicBezTo>
                    <a:pt x="5758289" y="4459123"/>
                    <a:pt x="5754277" y="4463135"/>
                    <a:pt x="5749328" y="4463135"/>
                  </a:cubicBezTo>
                  <a:cubicBezTo>
                    <a:pt x="5744379" y="4463135"/>
                    <a:pt x="5740368" y="4459123"/>
                    <a:pt x="5740368" y="4454174"/>
                  </a:cubicBezTo>
                  <a:cubicBezTo>
                    <a:pt x="5740368" y="4449225"/>
                    <a:pt x="5744379" y="4445214"/>
                    <a:pt x="5749328" y="4445214"/>
                  </a:cubicBezTo>
                  <a:close/>
                  <a:moveTo>
                    <a:pt x="5580586" y="4445214"/>
                  </a:moveTo>
                  <a:cubicBezTo>
                    <a:pt x="5585535" y="4445214"/>
                    <a:pt x="5589547" y="4449225"/>
                    <a:pt x="5589547" y="4454174"/>
                  </a:cubicBezTo>
                  <a:cubicBezTo>
                    <a:pt x="5589547" y="4459123"/>
                    <a:pt x="5585535" y="4463135"/>
                    <a:pt x="5580586" y="4463135"/>
                  </a:cubicBezTo>
                  <a:cubicBezTo>
                    <a:pt x="5575637" y="4463135"/>
                    <a:pt x="5571626" y="4459123"/>
                    <a:pt x="5571626" y="4454174"/>
                  </a:cubicBezTo>
                  <a:cubicBezTo>
                    <a:pt x="5571626" y="4449225"/>
                    <a:pt x="5575637" y="4445214"/>
                    <a:pt x="5580586" y="4445214"/>
                  </a:cubicBezTo>
                  <a:close/>
                  <a:moveTo>
                    <a:pt x="5411845" y="4445214"/>
                  </a:moveTo>
                  <a:cubicBezTo>
                    <a:pt x="5416794" y="4445214"/>
                    <a:pt x="5420806" y="4449225"/>
                    <a:pt x="5420806" y="4454174"/>
                  </a:cubicBezTo>
                  <a:cubicBezTo>
                    <a:pt x="5420806" y="4459123"/>
                    <a:pt x="5416794" y="4463135"/>
                    <a:pt x="5411845" y="4463135"/>
                  </a:cubicBezTo>
                  <a:cubicBezTo>
                    <a:pt x="5406896" y="4463135"/>
                    <a:pt x="5402885" y="4459123"/>
                    <a:pt x="5402885" y="4454174"/>
                  </a:cubicBezTo>
                  <a:cubicBezTo>
                    <a:pt x="5402885" y="4449225"/>
                    <a:pt x="5406896" y="4445214"/>
                    <a:pt x="5411845" y="4445214"/>
                  </a:cubicBezTo>
                  <a:close/>
                  <a:moveTo>
                    <a:pt x="5243103" y="4445214"/>
                  </a:moveTo>
                  <a:cubicBezTo>
                    <a:pt x="5248052" y="4445214"/>
                    <a:pt x="5252064" y="4449225"/>
                    <a:pt x="5252064" y="4454174"/>
                  </a:cubicBezTo>
                  <a:cubicBezTo>
                    <a:pt x="5252064" y="4459123"/>
                    <a:pt x="5248052" y="4463135"/>
                    <a:pt x="5243103" y="4463135"/>
                  </a:cubicBezTo>
                  <a:cubicBezTo>
                    <a:pt x="5238154" y="4463135"/>
                    <a:pt x="5234143" y="4459123"/>
                    <a:pt x="5234143" y="4454174"/>
                  </a:cubicBezTo>
                  <a:cubicBezTo>
                    <a:pt x="5234143" y="4449225"/>
                    <a:pt x="5238154" y="4445214"/>
                    <a:pt x="5243103" y="4445214"/>
                  </a:cubicBezTo>
                  <a:close/>
                  <a:moveTo>
                    <a:pt x="5074362" y="4445214"/>
                  </a:moveTo>
                  <a:cubicBezTo>
                    <a:pt x="5079311" y="4445214"/>
                    <a:pt x="5083323" y="4449225"/>
                    <a:pt x="5083323" y="4454174"/>
                  </a:cubicBezTo>
                  <a:cubicBezTo>
                    <a:pt x="5083323" y="4459123"/>
                    <a:pt x="5079311" y="4463135"/>
                    <a:pt x="5074362" y="4463135"/>
                  </a:cubicBezTo>
                  <a:cubicBezTo>
                    <a:pt x="5069413" y="4463135"/>
                    <a:pt x="5065402" y="4459123"/>
                    <a:pt x="5065402" y="4454174"/>
                  </a:cubicBezTo>
                  <a:cubicBezTo>
                    <a:pt x="5065402" y="4449225"/>
                    <a:pt x="5069413" y="4445214"/>
                    <a:pt x="5074362" y="4445214"/>
                  </a:cubicBezTo>
                  <a:close/>
                  <a:moveTo>
                    <a:pt x="4905620" y="4445214"/>
                  </a:moveTo>
                  <a:cubicBezTo>
                    <a:pt x="4910569" y="4445214"/>
                    <a:pt x="4914581" y="4449225"/>
                    <a:pt x="4914581" y="4454174"/>
                  </a:cubicBezTo>
                  <a:cubicBezTo>
                    <a:pt x="4914581" y="4459123"/>
                    <a:pt x="4910569" y="4463135"/>
                    <a:pt x="4905620" y="4463135"/>
                  </a:cubicBezTo>
                  <a:cubicBezTo>
                    <a:pt x="4900671" y="4463135"/>
                    <a:pt x="4896660" y="4459123"/>
                    <a:pt x="4896660" y="4454174"/>
                  </a:cubicBezTo>
                  <a:cubicBezTo>
                    <a:pt x="4896660" y="4449225"/>
                    <a:pt x="4900671" y="4445214"/>
                    <a:pt x="4905620" y="4445214"/>
                  </a:cubicBezTo>
                  <a:close/>
                  <a:moveTo>
                    <a:pt x="4736878" y="4445214"/>
                  </a:moveTo>
                  <a:cubicBezTo>
                    <a:pt x="4741827" y="4445214"/>
                    <a:pt x="4745839" y="4449225"/>
                    <a:pt x="4745839" y="4454174"/>
                  </a:cubicBezTo>
                  <a:cubicBezTo>
                    <a:pt x="4745839" y="4459123"/>
                    <a:pt x="4741827" y="4463135"/>
                    <a:pt x="4736878" y="4463135"/>
                  </a:cubicBezTo>
                  <a:cubicBezTo>
                    <a:pt x="4731929" y="4463135"/>
                    <a:pt x="4727918" y="4459123"/>
                    <a:pt x="4727918" y="4454174"/>
                  </a:cubicBezTo>
                  <a:cubicBezTo>
                    <a:pt x="4727918" y="4449225"/>
                    <a:pt x="4731929" y="4445214"/>
                    <a:pt x="4736878" y="4445214"/>
                  </a:cubicBezTo>
                  <a:close/>
                  <a:moveTo>
                    <a:pt x="4568137" y="4445214"/>
                  </a:moveTo>
                  <a:cubicBezTo>
                    <a:pt x="4573086" y="4445214"/>
                    <a:pt x="4577098" y="4449225"/>
                    <a:pt x="4577098" y="4454174"/>
                  </a:cubicBezTo>
                  <a:cubicBezTo>
                    <a:pt x="4577098" y="4459123"/>
                    <a:pt x="4573086" y="4463135"/>
                    <a:pt x="4568137" y="4463135"/>
                  </a:cubicBezTo>
                  <a:cubicBezTo>
                    <a:pt x="4563188" y="4463135"/>
                    <a:pt x="4559177" y="4459123"/>
                    <a:pt x="4559177" y="4454174"/>
                  </a:cubicBezTo>
                  <a:cubicBezTo>
                    <a:pt x="4559177" y="4449225"/>
                    <a:pt x="4563188" y="4445214"/>
                    <a:pt x="4568137" y="4445214"/>
                  </a:cubicBezTo>
                  <a:close/>
                  <a:moveTo>
                    <a:pt x="4399396" y="4445214"/>
                  </a:moveTo>
                  <a:cubicBezTo>
                    <a:pt x="4404345" y="4445214"/>
                    <a:pt x="4408357" y="4449225"/>
                    <a:pt x="4408357" y="4454174"/>
                  </a:cubicBezTo>
                  <a:cubicBezTo>
                    <a:pt x="4408357" y="4459123"/>
                    <a:pt x="4404345" y="4463135"/>
                    <a:pt x="4399396" y="4463135"/>
                  </a:cubicBezTo>
                  <a:cubicBezTo>
                    <a:pt x="4394447" y="4463135"/>
                    <a:pt x="4390436" y="4459123"/>
                    <a:pt x="4390436" y="4454174"/>
                  </a:cubicBezTo>
                  <a:cubicBezTo>
                    <a:pt x="4390436" y="4449225"/>
                    <a:pt x="4394447" y="4445214"/>
                    <a:pt x="4399396" y="4445214"/>
                  </a:cubicBezTo>
                  <a:close/>
                  <a:moveTo>
                    <a:pt x="4230654" y="4445214"/>
                  </a:moveTo>
                  <a:cubicBezTo>
                    <a:pt x="4235603" y="4445214"/>
                    <a:pt x="4239615" y="4449225"/>
                    <a:pt x="4239615" y="4454174"/>
                  </a:cubicBezTo>
                  <a:cubicBezTo>
                    <a:pt x="4239615" y="4459123"/>
                    <a:pt x="4235603" y="4463135"/>
                    <a:pt x="4230654" y="4463135"/>
                  </a:cubicBezTo>
                  <a:cubicBezTo>
                    <a:pt x="4225705" y="4463135"/>
                    <a:pt x="4221694" y="4459123"/>
                    <a:pt x="4221694" y="4454174"/>
                  </a:cubicBezTo>
                  <a:cubicBezTo>
                    <a:pt x="4221694" y="4449225"/>
                    <a:pt x="4225705" y="4445214"/>
                    <a:pt x="4230654" y="4445214"/>
                  </a:cubicBezTo>
                  <a:close/>
                  <a:moveTo>
                    <a:pt x="4061912" y="4445214"/>
                  </a:moveTo>
                  <a:cubicBezTo>
                    <a:pt x="4066861" y="4445214"/>
                    <a:pt x="4070873" y="4449225"/>
                    <a:pt x="4070873" y="4454174"/>
                  </a:cubicBezTo>
                  <a:cubicBezTo>
                    <a:pt x="4070873" y="4459123"/>
                    <a:pt x="4066861" y="4463135"/>
                    <a:pt x="4061912" y="4463135"/>
                  </a:cubicBezTo>
                  <a:cubicBezTo>
                    <a:pt x="4056963" y="4463135"/>
                    <a:pt x="4052952" y="4459123"/>
                    <a:pt x="4052952" y="4454174"/>
                  </a:cubicBezTo>
                  <a:cubicBezTo>
                    <a:pt x="4052952" y="4449225"/>
                    <a:pt x="4056963" y="4445214"/>
                    <a:pt x="4061912" y="4445214"/>
                  </a:cubicBezTo>
                  <a:close/>
                  <a:moveTo>
                    <a:pt x="3893170" y="4445214"/>
                  </a:moveTo>
                  <a:cubicBezTo>
                    <a:pt x="3898119" y="4445214"/>
                    <a:pt x="3902131" y="4449225"/>
                    <a:pt x="3902131" y="4454174"/>
                  </a:cubicBezTo>
                  <a:cubicBezTo>
                    <a:pt x="3902131" y="4459123"/>
                    <a:pt x="3898119" y="4463135"/>
                    <a:pt x="3893170" y="4463135"/>
                  </a:cubicBezTo>
                  <a:cubicBezTo>
                    <a:pt x="3888221" y="4463135"/>
                    <a:pt x="3884210" y="4459123"/>
                    <a:pt x="3884210" y="4454174"/>
                  </a:cubicBezTo>
                  <a:cubicBezTo>
                    <a:pt x="3884210" y="4449225"/>
                    <a:pt x="3888221" y="4445214"/>
                    <a:pt x="3893170" y="4445214"/>
                  </a:cubicBezTo>
                  <a:close/>
                  <a:moveTo>
                    <a:pt x="3724429" y="4445214"/>
                  </a:moveTo>
                  <a:cubicBezTo>
                    <a:pt x="3729378" y="4445214"/>
                    <a:pt x="3733390" y="4449225"/>
                    <a:pt x="3733390" y="4454174"/>
                  </a:cubicBezTo>
                  <a:cubicBezTo>
                    <a:pt x="3733390" y="4459123"/>
                    <a:pt x="3729378" y="4463135"/>
                    <a:pt x="3724429" y="4463135"/>
                  </a:cubicBezTo>
                  <a:cubicBezTo>
                    <a:pt x="3719481" y="4463135"/>
                    <a:pt x="3715469" y="4459123"/>
                    <a:pt x="3715469" y="4454174"/>
                  </a:cubicBezTo>
                  <a:cubicBezTo>
                    <a:pt x="3715469" y="4449225"/>
                    <a:pt x="3719481" y="4445214"/>
                    <a:pt x="3724429" y="4445214"/>
                  </a:cubicBezTo>
                  <a:close/>
                  <a:moveTo>
                    <a:pt x="3555688" y="4445214"/>
                  </a:moveTo>
                  <a:cubicBezTo>
                    <a:pt x="3560637" y="4445214"/>
                    <a:pt x="3564649" y="4449225"/>
                    <a:pt x="3564649" y="4454174"/>
                  </a:cubicBezTo>
                  <a:cubicBezTo>
                    <a:pt x="3564649" y="4459123"/>
                    <a:pt x="3560637" y="4463135"/>
                    <a:pt x="3555688" y="4463135"/>
                  </a:cubicBezTo>
                  <a:cubicBezTo>
                    <a:pt x="3550740" y="4463135"/>
                    <a:pt x="3546728" y="4459123"/>
                    <a:pt x="3546728" y="4454174"/>
                  </a:cubicBezTo>
                  <a:cubicBezTo>
                    <a:pt x="3546728" y="4449225"/>
                    <a:pt x="3550740" y="4445214"/>
                    <a:pt x="3555688" y="4445214"/>
                  </a:cubicBezTo>
                  <a:close/>
                  <a:moveTo>
                    <a:pt x="3387032" y="4445214"/>
                  </a:moveTo>
                  <a:cubicBezTo>
                    <a:pt x="3391980" y="4445214"/>
                    <a:pt x="3395992" y="4449225"/>
                    <a:pt x="3395992" y="4454174"/>
                  </a:cubicBezTo>
                  <a:cubicBezTo>
                    <a:pt x="3395992" y="4459123"/>
                    <a:pt x="3391980" y="4463135"/>
                    <a:pt x="3387032" y="4463135"/>
                  </a:cubicBezTo>
                  <a:cubicBezTo>
                    <a:pt x="3382041" y="4463135"/>
                    <a:pt x="3378029" y="4459123"/>
                    <a:pt x="3378029" y="4454174"/>
                  </a:cubicBezTo>
                  <a:cubicBezTo>
                    <a:pt x="3378029" y="4449225"/>
                    <a:pt x="3382041" y="4445214"/>
                    <a:pt x="3387032" y="4445214"/>
                  </a:cubicBezTo>
                  <a:close/>
                  <a:moveTo>
                    <a:pt x="3218273" y="4445214"/>
                  </a:moveTo>
                  <a:cubicBezTo>
                    <a:pt x="3223235" y="4445214"/>
                    <a:pt x="3227243" y="4449225"/>
                    <a:pt x="3227243" y="4454174"/>
                  </a:cubicBezTo>
                  <a:cubicBezTo>
                    <a:pt x="3227243" y="4459123"/>
                    <a:pt x="3223235" y="4463135"/>
                    <a:pt x="3218273" y="4463135"/>
                  </a:cubicBezTo>
                  <a:cubicBezTo>
                    <a:pt x="3213314" y="4463135"/>
                    <a:pt x="3209312" y="4459123"/>
                    <a:pt x="3209312" y="4454174"/>
                  </a:cubicBezTo>
                  <a:cubicBezTo>
                    <a:pt x="3209312" y="4449225"/>
                    <a:pt x="3213314" y="4445214"/>
                    <a:pt x="3218273" y="4445214"/>
                  </a:cubicBezTo>
                  <a:close/>
                  <a:moveTo>
                    <a:pt x="3049564" y="4445214"/>
                  </a:moveTo>
                  <a:cubicBezTo>
                    <a:pt x="3054498" y="4445214"/>
                    <a:pt x="3058511" y="4449225"/>
                    <a:pt x="3058511" y="4454174"/>
                  </a:cubicBezTo>
                  <a:cubicBezTo>
                    <a:pt x="3058511" y="4459123"/>
                    <a:pt x="3054498" y="4463135"/>
                    <a:pt x="3049564" y="4463135"/>
                  </a:cubicBezTo>
                  <a:cubicBezTo>
                    <a:pt x="3044607" y="4463135"/>
                    <a:pt x="3040594" y="4459123"/>
                    <a:pt x="3040594" y="4454174"/>
                  </a:cubicBezTo>
                  <a:cubicBezTo>
                    <a:pt x="3040594" y="4449225"/>
                    <a:pt x="3044607" y="4445214"/>
                    <a:pt x="3049564" y="4445214"/>
                  </a:cubicBezTo>
                  <a:close/>
                  <a:moveTo>
                    <a:pt x="2880832" y="4445214"/>
                  </a:moveTo>
                  <a:cubicBezTo>
                    <a:pt x="2885778" y="4445214"/>
                    <a:pt x="2889789" y="4449225"/>
                    <a:pt x="2889789" y="4454174"/>
                  </a:cubicBezTo>
                  <a:cubicBezTo>
                    <a:pt x="2889789" y="4459123"/>
                    <a:pt x="2885778" y="4463135"/>
                    <a:pt x="2880832" y="4463135"/>
                  </a:cubicBezTo>
                  <a:cubicBezTo>
                    <a:pt x="2875884" y="4463135"/>
                    <a:pt x="2871871" y="4459123"/>
                    <a:pt x="2871871" y="4454174"/>
                  </a:cubicBezTo>
                  <a:cubicBezTo>
                    <a:pt x="2871871" y="4449225"/>
                    <a:pt x="2875884" y="4445214"/>
                    <a:pt x="2880832" y="4445214"/>
                  </a:cubicBezTo>
                  <a:close/>
                  <a:moveTo>
                    <a:pt x="2712070" y="4445214"/>
                  </a:moveTo>
                  <a:cubicBezTo>
                    <a:pt x="2717046" y="4445214"/>
                    <a:pt x="2721053" y="4449225"/>
                    <a:pt x="2721053" y="4454174"/>
                  </a:cubicBezTo>
                  <a:cubicBezTo>
                    <a:pt x="2721053" y="4459123"/>
                    <a:pt x="2717046" y="4463135"/>
                    <a:pt x="2712070" y="4463135"/>
                  </a:cubicBezTo>
                  <a:cubicBezTo>
                    <a:pt x="2707124" y="4463135"/>
                    <a:pt x="2703114" y="4459123"/>
                    <a:pt x="2703114" y="4454174"/>
                  </a:cubicBezTo>
                  <a:cubicBezTo>
                    <a:pt x="2703114" y="4449225"/>
                    <a:pt x="2707124" y="4445214"/>
                    <a:pt x="2712070" y="4445214"/>
                  </a:cubicBezTo>
                  <a:close/>
                  <a:moveTo>
                    <a:pt x="2543373" y="4445214"/>
                  </a:moveTo>
                  <a:cubicBezTo>
                    <a:pt x="2548321" y="4445214"/>
                    <a:pt x="2552333" y="4449225"/>
                    <a:pt x="2552333" y="4454174"/>
                  </a:cubicBezTo>
                  <a:cubicBezTo>
                    <a:pt x="2552333" y="4459123"/>
                    <a:pt x="2548321" y="4463135"/>
                    <a:pt x="2543373" y="4463135"/>
                  </a:cubicBezTo>
                  <a:cubicBezTo>
                    <a:pt x="2538420" y="4463135"/>
                    <a:pt x="2534401" y="4459123"/>
                    <a:pt x="2534401" y="4454174"/>
                  </a:cubicBezTo>
                  <a:cubicBezTo>
                    <a:pt x="2534401" y="4449225"/>
                    <a:pt x="2538420" y="4445214"/>
                    <a:pt x="2543373" y="4445214"/>
                  </a:cubicBezTo>
                  <a:close/>
                  <a:moveTo>
                    <a:pt x="2374589" y="4445214"/>
                  </a:moveTo>
                  <a:cubicBezTo>
                    <a:pt x="2379550" y="4445214"/>
                    <a:pt x="2383584" y="4449225"/>
                    <a:pt x="2383584" y="4454174"/>
                  </a:cubicBezTo>
                  <a:cubicBezTo>
                    <a:pt x="2383584" y="4459123"/>
                    <a:pt x="2379550" y="4463135"/>
                    <a:pt x="2374589" y="4463135"/>
                  </a:cubicBezTo>
                  <a:cubicBezTo>
                    <a:pt x="2369637" y="4463135"/>
                    <a:pt x="2365623" y="4459123"/>
                    <a:pt x="2365623" y="4454174"/>
                  </a:cubicBezTo>
                  <a:cubicBezTo>
                    <a:pt x="2365623" y="4449225"/>
                    <a:pt x="2369637" y="4445214"/>
                    <a:pt x="2374589" y="4445214"/>
                  </a:cubicBezTo>
                  <a:close/>
                  <a:moveTo>
                    <a:pt x="2205879" y="4445214"/>
                  </a:moveTo>
                  <a:cubicBezTo>
                    <a:pt x="2210824" y="4445214"/>
                    <a:pt x="2214834" y="4449225"/>
                    <a:pt x="2214834" y="4454174"/>
                  </a:cubicBezTo>
                  <a:cubicBezTo>
                    <a:pt x="2214834" y="4459123"/>
                    <a:pt x="2210824" y="4463135"/>
                    <a:pt x="2205879" y="4463135"/>
                  </a:cubicBezTo>
                  <a:cubicBezTo>
                    <a:pt x="2200904" y="4463135"/>
                    <a:pt x="2196892" y="4459123"/>
                    <a:pt x="2196892" y="4454174"/>
                  </a:cubicBezTo>
                  <a:cubicBezTo>
                    <a:pt x="2196892" y="4449225"/>
                    <a:pt x="2200904" y="4445214"/>
                    <a:pt x="2205879" y="4445214"/>
                  </a:cubicBezTo>
                  <a:close/>
                  <a:moveTo>
                    <a:pt x="2037134" y="4445214"/>
                  </a:moveTo>
                  <a:cubicBezTo>
                    <a:pt x="2042089" y="4445214"/>
                    <a:pt x="2046080" y="4449225"/>
                    <a:pt x="2046080" y="4454174"/>
                  </a:cubicBezTo>
                  <a:cubicBezTo>
                    <a:pt x="2046080" y="4459123"/>
                    <a:pt x="2042089" y="4463135"/>
                    <a:pt x="2037134" y="4463135"/>
                  </a:cubicBezTo>
                  <a:cubicBezTo>
                    <a:pt x="2032192" y="4463135"/>
                    <a:pt x="2028188" y="4459123"/>
                    <a:pt x="2028188" y="4454174"/>
                  </a:cubicBezTo>
                  <a:cubicBezTo>
                    <a:pt x="2028188" y="4449225"/>
                    <a:pt x="2032192" y="4445214"/>
                    <a:pt x="2037134" y="4445214"/>
                  </a:cubicBezTo>
                  <a:close/>
                  <a:moveTo>
                    <a:pt x="1868418" y="4445214"/>
                  </a:moveTo>
                  <a:cubicBezTo>
                    <a:pt x="1873360" y="4445214"/>
                    <a:pt x="1877370" y="4449225"/>
                    <a:pt x="1877370" y="4454174"/>
                  </a:cubicBezTo>
                  <a:cubicBezTo>
                    <a:pt x="1877370" y="4459123"/>
                    <a:pt x="1873360" y="4463135"/>
                    <a:pt x="1868418" y="4463135"/>
                  </a:cubicBezTo>
                  <a:cubicBezTo>
                    <a:pt x="1863460" y="4463135"/>
                    <a:pt x="1859444" y="4459123"/>
                    <a:pt x="1859444" y="4454174"/>
                  </a:cubicBezTo>
                  <a:cubicBezTo>
                    <a:pt x="1859444" y="4449225"/>
                    <a:pt x="1863460" y="4445214"/>
                    <a:pt x="1868418" y="4445214"/>
                  </a:cubicBezTo>
                  <a:close/>
                  <a:moveTo>
                    <a:pt x="1699667" y="4445214"/>
                  </a:moveTo>
                  <a:cubicBezTo>
                    <a:pt x="1704622" y="4445214"/>
                    <a:pt x="1708635" y="4449225"/>
                    <a:pt x="1708635" y="4454174"/>
                  </a:cubicBezTo>
                  <a:cubicBezTo>
                    <a:pt x="1708635" y="4459123"/>
                    <a:pt x="1704622" y="4463135"/>
                    <a:pt x="1699667" y="4463135"/>
                  </a:cubicBezTo>
                  <a:cubicBezTo>
                    <a:pt x="1694717" y="4463135"/>
                    <a:pt x="1690703" y="4459123"/>
                    <a:pt x="1690703" y="4454174"/>
                  </a:cubicBezTo>
                  <a:cubicBezTo>
                    <a:pt x="1690703" y="4449225"/>
                    <a:pt x="1694717" y="4445214"/>
                    <a:pt x="1699667" y="4445214"/>
                  </a:cubicBezTo>
                  <a:close/>
                  <a:moveTo>
                    <a:pt x="1530926" y="4445214"/>
                  </a:moveTo>
                  <a:cubicBezTo>
                    <a:pt x="1535877" y="4445214"/>
                    <a:pt x="1539888" y="4449225"/>
                    <a:pt x="1539888" y="4454174"/>
                  </a:cubicBezTo>
                  <a:cubicBezTo>
                    <a:pt x="1539888" y="4459123"/>
                    <a:pt x="1535877" y="4463135"/>
                    <a:pt x="1530926" y="4463135"/>
                  </a:cubicBezTo>
                  <a:cubicBezTo>
                    <a:pt x="1525977" y="4463135"/>
                    <a:pt x="1521965" y="4459123"/>
                    <a:pt x="1521965" y="4454174"/>
                  </a:cubicBezTo>
                  <a:cubicBezTo>
                    <a:pt x="1521965" y="4449225"/>
                    <a:pt x="1525977" y="4445214"/>
                    <a:pt x="1530926" y="4445214"/>
                  </a:cubicBezTo>
                  <a:close/>
                  <a:moveTo>
                    <a:pt x="1362177" y="4445214"/>
                  </a:moveTo>
                  <a:cubicBezTo>
                    <a:pt x="1367129" y="4445214"/>
                    <a:pt x="1371138" y="4449225"/>
                    <a:pt x="1371138" y="4454174"/>
                  </a:cubicBezTo>
                  <a:cubicBezTo>
                    <a:pt x="1371138" y="4459123"/>
                    <a:pt x="1367129" y="4463135"/>
                    <a:pt x="1362177" y="4463135"/>
                  </a:cubicBezTo>
                  <a:cubicBezTo>
                    <a:pt x="1357228" y="4463135"/>
                    <a:pt x="1353216" y="4459123"/>
                    <a:pt x="1353216" y="4454174"/>
                  </a:cubicBezTo>
                  <a:cubicBezTo>
                    <a:pt x="1353216" y="4449225"/>
                    <a:pt x="1357228" y="4445214"/>
                    <a:pt x="1362177" y="4445214"/>
                  </a:cubicBezTo>
                  <a:close/>
                  <a:moveTo>
                    <a:pt x="1193435" y="4445214"/>
                  </a:moveTo>
                  <a:cubicBezTo>
                    <a:pt x="1198384" y="4445214"/>
                    <a:pt x="1202396" y="4449225"/>
                    <a:pt x="1202396" y="4454174"/>
                  </a:cubicBezTo>
                  <a:cubicBezTo>
                    <a:pt x="1202396" y="4459123"/>
                    <a:pt x="1198384" y="4463135"/>
                    <a:pt x="1193435" y="4463135"/>
                  </a:cubicBezTo>
                  <a:cubicBezTo>
                    <a:pt x="1188488" y="4463135"/>
                    <a:pt x="1184477" y="4459123"/>
                    <a:pt x="1184477" y="4454174"/>
                  </a:cubicBezTo>
                  <a:cubicBezTo>
                    <a:pt x="1184477" y="4449225"/>
                    <a:pt x="1188488" y="4445214"/>
                    <a:pt x="1193435" y="4445214"/>
                  </a:cubicBezTo>
                  <a:close/>
                  <a:moveTo>
                    <a:pt x="1024683" y="4445214"/>
                  </a:moveTo>
                  <a:cubicBezTo>
                    <a:pt x="1029635" y="4445214"/>
                    <a:pt x="1033650" y="4449225"/>
                    <a:pt x="1033650" y="4454174"/>
                  </a:cubicBezTo>
                  <a:cubicBezTo>
                    <a:pt x="1033650" y="4459123"/>
                    <a:pt x="1029635" y="4463135"/>
                    <a:pt x="1024683" y="4463135"/>
                  </a:cubicBezTo>
                  <a:cubicBezTo>
                    <a:pt x="1019736" y="4463135"/>
                    <a:pt x="1015724" y="4459123"/>
                    <a:pt x="1015724" y="4454174"/>
                  </a:cubicBezTo>
                  <a:cubicBezTo>
                    <a:pt x="1015724" y="4449225"/>
                    <a:pt x="1019736" y="4445214"/>
                    <a:pt x="1024683" y="4445214"/>
                  </a:cubicBezTo>
                  <a:close/>
                  <a:moveTo>
                    <a:pt x="855955" y="4445214"/>
                  </a:moveTo>
                  <a:cubicBezTo>
                    <a:pt x="860902" y="4445214"/>
                    <a:pt x="864915" y="4449225"/>
                    <a:pt x="864915" y="4454174"/>
                  </a:cubicBezTo>
                  <a:cubicBezTo>
                    <a:pt x="864915" y="4459123"/>
                    <a:pt x="860902" y="4463135"/>
                    <a:pt x="855955" y="4463135"/>
                  </a:cubicBezTo>
                  <a:cubicBezTo>
                    <a:pt x="851005" y="4463135"/>
                    <a:pt x="846994" y="4459123"/>
                    <a:pt x="846994" y="4454174"/>
                  </a:cubicBezTo>
                  <a:cubicBezTo>
                    <a:pt x="846994" y="4449225"/>
                    <a:pt x="851005" y="4445214"/>
                    <a:pt x="855955" y="4445214"/>
                  </a:cubicBezTo>
                  <a:close/>
                  <a:moveTo>
                    <a:pt x="687215" y="4445214"/>
                  </a:moveTo>
                  <a:cubicBezTo>
                    <a:pt x="692163" y="4445214"/>
                    <a:pt x="696175" y="4449225"/>
                    <a:pt x="696175" y="4454174"/>
                  </a:cubicBezTo>
                  <a:cubicBezTo>
                    <a:pt x="696175" y="4459123"/>
                    <a:pt x="692163" y="4463135"/>
                    <a:pt x="687215" y="4463135"/>
                  </a:cubicBezTo>
                  <a:cubicBezTo>
                    <a:pt x="682266" y="4463135"/>
                    <a:pt x="678256" y="4459123"/>
                    <a:pt x="678256" y="4454174"/>
                  </a:cubicBezTo>
                  <a:cubicBezTo>
                    <a:pt x="678256" y="4449225"/>
                    <a:pt x="682266" y="4445214"/>
                    <a:pt x="687215" y="4445214"/>
                  </a:cubicBezTo>
                  <a:close/>
                  <a:moveTo>
                    <a:pt x="518450" y="4445214"/>
                  </a:moveTo>
                  <a:cubicBezTo>
                    <a:pt x="523399" y="4445214"/>
                    <a:pt x="527410" y="4449225"/>
                    <a:pt x="527410" y="4454174"/>
                  </a:cubicBezTo>
                  <a:cubicBezTo>
                    <a:pt x="527410" y="4459123"/>
                    <a:pt x="523399" y="4463135"/>
                    <a:pt x="518450" y="4463135"/>
                  </a:cubicBezTo>
                  <a:cubicBezTo>
                    <a:pt x="513501" y="4463135"/>
                    <a:pt x="509490" y="4459123"/>
                    <a:pt x="509490" y="4454174"/>
                  </a:cubicBezTo>
                  <a:cubicBezTo>
                    <a:pt x="509490" y="4449225"/>
                    <a:pt x="513501" y="4445214"/>
                    <a:pt x="518450" y="4445214"/>
                  </a:cubicBezTo>
                  <a:close/>
                  <a:moveTo>
                    <a:pt x="349712" y="4445214"/>
                  </a:moveTo>
                  <a:cubicBezTo>
                    <a:pt x="354660" y="4445214"/>
                    <a:pt x="358672" y="4449225"/>
                    <a:pt x="358672" y="4454174"/>
                  </a:cubicBezTo>
                  <a:cubicBezTo>
                    <a:pt x="358672" y="4459123"/>
                    <a:pt x="354660" y="4463135"/>
                    <a:pt x="349712" y="4463135"/>
                  </a:cubicBezTo>
                  <a:cubicBezTo>
                    <a:pt x="344764" y="4463135"/>
                    <a:pt x="340752" y="4459123"/>
                    <a:pt x="340752" y="4454174"/>
                  </a:cubicBezTo>
                  <a:cubicBezTo>
                    <a:pt x="340752" y="4449225"/>
                    <a:pt x="344764" y="4445214"/>
                    <a:pt x="349712" y="4445214"/>
                  </a:cubicBezTo>
                  <a:close/>
                  <a:moveTo>
                    <a:pt x="179393" y="4445214"/>
                  </a:moveTo>
                  <a:cubicBezTo>
                    <a:pt x="184342" y="4445214"/>
                    <a:pt x="188354" y="4449225"/>
                    <a:pt x="188354" y="4454174"/>
                  </a:cubicBezTo>
                  <a:cubicBezTo>
                    <a:pt x="188354" y="4459123"/>
                    <a:pt x="184342" y="4463135"/>
                    <a:pt x="179393" y="4463135"/>
                  </a:cubicBezTo>
                  <a:cubicBezTo>
                    <a:pt x="174445" y="4463135"/>
                    <a:pt x="170433" y="4459123"/>
                    <a:pt x="170433" y="4454174"/>
                  </a:cubicBezTo>
                  <a:cubicBezTo>
                    <a:pt x="170433" y="4449225"/>
                    <a:pt x="174445" y="4445214"/>
                    <a:pt x="179393" y="4445214"/>
                  </a:cubicBezTo>
                  <a:close/>
                  <a:moveTo>
                    <a:pt x="9076" y="4445214"/>
                  </a:moveTo>
                  <a:cubicBezTo>
                    <a:pt x="14024" y="4445214"/>
                    <a:pt x="18035" y="4449225"/>
                    <a:pt x="18035" y="4454174"/>
                  </a:cubicBezTo>
                  <a:cubicBezTo>
                    <a:pt x="18035" y="4459123"/>
                    <a:pt x="14024" y="4463135"/>
                    <a:pt x="9076" y="4463135"/>
                  </a:cubicBezTo>
                  <a:cubicBezTo>
                    <a:pt x="4127" y="4463135"/>
                    <a:pt x="116" y="4459123"/>
                    <a:pt x="116" y="4454174"/>
                  </a:cubicBezTo>
                  <a:cubicBezTo>
                    <a:pt x="116" y="4449225"/>
                    <a:pt x="4127" y="4445214"/>
                    <a:pt x="9076" y="4445214"/>
                  </a:cubicBezTo>
                  <a:close/>
                  <a:moveTo>
                    <a:pt x="6933679" y="4274233"/>
                  </a:moveTo>
                  <a:cubicBezTo>
                    <a:pt x="6938628" y="4274233"/>
                    <a:pt x="6942639" y="4278244"/>
                    <a:pt x="6942639" y="4283193"/>
                  </a:cubicBezTo>
                  <a:cubicBezTo>
                    <a:pt x="6942639" y="4288142"/>
                    <a:pt x="6938628" y="4292154"/>
                    <a:pt x="6933679" y="4292154"/>
                  </a:cubicBezTo>
                  <a:cubicBezTo>
                    <a:pt x="6928730" y="4292154"/>
                    <a:pt x="6924718" y="4288142"/>
                    <a:pt x="6924718" y="4283193"/>
                  </a:cubicBezTo>
                  <a:cubicBezTo>
                    <a:pt x="6924718" y="4278244"/>
                    <a:pt x="6928730" y="4274233"/>
                    <a:pt x="6933679" y="4274233"/>
                  </a:cubicBezTo>
                  <a:close/>
                  <a:moveTo>
                    <a:pt x="6763357" y="4274233"/>
                  </a:moveTo>
                  <a:cubicBezTo>
                    <a:pt x="6768306" y="4274233"/>
                    <a:pt x="6772318" y="4278244"/>
                    <a:pt x="6772318" y="4283193"/>
                  </a:cubicBezTo>
                  <a:cubicBezTo>
                    <a:pt x="6772318" y="4288142"/>
                    <a:pt x="6768306" y="4292154"/>
                    <a:pt x="6763357" y="4292154"/>
                  </a:cubicBezTo>
                  <a:cubicBezTo>
                    <a:pt x="6758408" y="4292154"/>
                    <a:pt x="6754397" y="4288142"/>
                    <a:pt x="6754397" y="4283193"/>
                  </a:cubicBezTo>
                  <a:cubicBezTo>
                    <a:pt x="6754397" y="4278244"/>
                    <a:pt x="6758408" y="4274233"/>
                    <a:pt x="6763357" y="4274233"/>
                  </a:cubicBezTo>
                  <a:close/>
                  <a:moveTo>
                    <a:pt x="6593035" y="4274233"/>
                  </a:moveTo>
                  <a:cubicBezTo>
                    <a:pt x="6597984" y="4274233"/>
                    <a:pt x="6601996" y="4278244"/>
                    <a:pt x="6601996" y="4283193"/>
                  </a:cubicBezTo>
                  <a:cubicBezTo>
                    <a:pt x="6601996" y="4288142"/>
                    <a:pt x="6597984" y="4292154"/>
                    <a:pt x="6593035" y="4292154"/>
                  </a:cubicBezTo>
                  <a:cubicBezTo>
                    <a:pt x="6588086" y="4292154"/>
                    <a:pt x="6584075" y="4288142"/>
                    <a:pt x="6584075" y="4283193"/>
                  </a:cubicBezTo>
                  <a:cubicBezTo>
                    <a:pt x="6584075" y="4278244"/>
                    <a:pt x="6588086" y="4274233"/>
                    <a:pt x="6593035" y="4274233"/>
                  </a:cubicBezTo>
                  <a:close/>
                  <a:moveTo>
                    <a:pt x="6424294" y="4274233"/>
                  </a:moveTo>
                  <a:cubicBezTo>
                    <a:pt x="6429243" y="4274233"/>
                    <a:pt x="6433255" y="4278244"/>
                    <a:pt x="6433255" y="4283193"/>
                  </a:cubicBezTo>
                  <a:cubicBezTo>
                    <a:pt x="6433255" y="4288142"/>
                    <a:pt x="6429243" y="4292154"/>
                    <a:pt x="6424294" y="4292154"/>
                  </a:cubicBezTo>
                  <a:cubicBezTo>
                    <a:pt x="6419345" y="4292154"/>
                    <a:pt x="6415334" y="4288142"/>
                    <a:pt x="6415334" y="4283193"/>
                  </a:cubicBezTo>
                  <a:cubicBezTo>
                    <a:pt x="6415334" y="4278244"/>
                    <a:pt x="6419345" y="4274233"/>
                    <a:pt x="6424294" y="4274233"/>
                  </a:cubicBezTo>
                  <a:close/>
                  <a:moveTo>
                    <a:pt x="6255553" y="4274233"/>
                  </a:moveTo>
                  <a:cubicBezTo>
                    <a:pt x="6260502" y="4274233"/>
                    <a:pt x="6264514" y="4278244"/>
                    <a:pt x="6264514" y="4283193"/>
                  </a:cubicBezTo>
                  <a:cubicBezTo>
                    <a:pt x="6264514" y="4288142"/>
                    <a:pt x="6260502" y="4292154"/>
                    <a:pt x="6255553" y="4292154"/>
                  </a:cubicBezTo>
                  <a:cubicBezTo>
                    <a:pt x="6250604" y="4292154"/>
                    <a:pt x="6246593" y="4288142"/>
                    <a:pt x="6246593" y="4283193"/>
                  </a:cubicBezTo>
                  <a:cubicBezTo>
                    <a:pt x="6246593" y="4278244"/>
                    <a:pt x="6250604" y="4274233"/>
                    <a:pt x="6255553" y="4274233"/>
                  </a:cubicBezTo>
                  <a:close/>
                  <a:moveTo>
                    <a:pt x="6086811" y="4274233"/>
                  </a:moveTo>
                  <a:cubicBezTo>
                    <a:pt x="6091760" y="4274233"/>
                    <a:pt x="6095772" y="4278244"/>
                    <a:pt x="6095772" y="4283193"/>
                  </a:cubicBezTo>
                  <a:cubicBezTo>
                    <a:pt x="6095772" y="4288142"/>
                    <a:pt x="6091760" y="4292154"/>
                    <a:pt x="6086811" y="4292154"/>
                  </a:cubicBezTo>
                  <a:cubicBezTo>
                    <a:pt x="6081862" y="4292154"/>
                    <a:pt x="6077851" y="4288142"/>
                    <a:pt x="6077851" y="4283193"/>
                  </a:cubicBezTo>
                  <a:cubicBezTo>
                    <a:pt x="6077851" y="4278244"/>
                    <a:pt x="6081862" y="4274233"/>
                    <a:pt x="6086811" y="4274233"/>
                  </a:cubicBezTo>
                  <a:close/>
                  <a:moveTo>
                    <a:pt x="5918069" y="4274233"/>
                  </a:moveTo>
                  <a:cubicBezTo>
                    <a:pt x="5923018" y="4274233"/>
                    <a:pt x="5927030" y="4278244"/>
                    <a:pt x="5927030" y="4283193"/>
                  </a:cubicBezTo>
                  <a:cubicBezTo>
                    <a:pt x="5927030" y="4288142"/>
                    <a:pt x="5923018" y="4292154"/>
                    <a:pt x="5918069" y="4292154"/>
                  </a:cubicBezTo>
                  <a:cubicBezTo>
                    <a:pt x="5913120" y="4292154"/>
                    <a:pt x="5909109" y="4288142"/>
                    <a:pt x="5909109" y="4283193"/>
                  </a:cubicBezTo>
                  <a:cubicBezTo>
                    <a:pt x="5909109" y="4278244"/>
                    <a:pt x="5913120" y="4274233"/>
                    <a:pt x="5918069" y="4274233"/>
                  </a:cubicBezTo>
                  <a:close/>
                  <a:moveTo>
                    <a:pt x="5749328" y="4274233"/>
                  </a:moveTo>
                  <a:cubicBezTo>
                    <a:pt x="5754277" y="4274233"/>
                    <a:pt x="5758289" y="4278244"/>
                    <a:pt x="5758289" y="4283193"/>
                  </a:cubicBezTo>
                  <a:cubicBezTo>
                    <a:pt x="5758289" y="4288142"/>
                    <a:pt x="5754277" y="4292154"/>
                    <a:pt x="5749328" y="4292154"/>
                  </a:cubicBezTo>
                  <a:cubicBezTo>
                    <a:pt x="5744379" y="4292154"/>
                    <a:pt x="5740368" y="4288142"/>
                    <a:pt x="5740368" y="4283193"/>
                  </a:cubicBezTo>
                  <a:cubicBezTo>
                    <a:pt x="5740368" y="4278244"/>
                    <a:pt x="5744379" y="4274233"/>
                    <a:pt x="5749328" y="4274233"/>
                  </a:cubicBezTo>
                  <a:close/>
                  <a:moveTo>
                    <a:pt x="5580586" y="4274233"/>
                  </a:moveTo>
                  <a:cubicBezTo>
                    <a:pt x="5585535" y="4274233"/>
                    <a:pt x="5589547" y="4278244"/>
                    <a:pt x="5589547" y="4283193"/>
                  </a:cubicBezTo>
                  <a:cubicBezTo>
                    <a:pt x="5589547" y="4288142"/>
                    <a:pt x="5585535" y="4292154"/>
                    <a:pt x="5580586" y="4292154"/>
                  </a:cubicBezTo>
                  <a:cubicBezTo>
                    <a:pt x="5575637" y="4292154"/>
                    <a:pt x="5571626" y="4288142"/>
                    <a:pt x="5571626" y="4283193"/>
                  </a:cubicBezTo>
                  <a:cubicBezTo>
                    <a:pt x="5571626" y="4278244"/>
                    <a:pt x="5575637" y="4274233"/>
                    <a:pt x="5580586" y="4274233"/>
                  </a:cubicBezTo>
                  <a:close/>
                  <a:moveTo>
                    <a:pt x="5411845" y="4274233"/>
                  </a:moveTo>
                  <a:cubicBezTo>
                    <a:pt x="5416794" y="4274233"/>
                    <a:pt x="5420806" y="4278244"/>
                    <a:pt x="5420806" y="4283193"/>
                  </a:cubicBezTo>
                  <a:cubicBezTo>
                    <a:pt x="5420806" y="4288142"/>
                    <a:pt x="5416794" y="4292154"/>
                    <a:pt x="5411845" y="4292154"/>
                  </a:cubicBezTo>
                  <a:cubicBezTo>
                    <a:pt x="5406896" y="4292154"/>
                    <a:pt x="5402885" y="4288142"/>
                    <a:pt x="5402885" y="4283193"/>
                  </a:cubicBezTo>
                  <a:cubicBezTo>
                    <a:pt x="5402885" y="4278244"/>
                    <a:pt x="5406896" y="4274233"/>
                    <a:pt x="5411845" y="4274233"/>
                  </a:cubicBezTo>
                  <a:close/>
                  <a:moveTo>
                    <a:pt x="5243103" y="4274233"/>
                  </a:moveTo>
                  <a:cubicBezTo>
                    <a:pt x="5248052" y="4274233"/>
                    <a:pt x="5252064" y="4278244"/>
                    <a:pt x="5252064" y="4283193"/>
                  </a:cubicBezTo>
                  <a:cubicBezTo>
                    <a:pt x="5252064" y="4288142"/>
                    <a:pt x="5248052" y="4292154"/>
                    <a:pt x="5243103" y="4292154"/>
                  </a:cubicBezTo>
                  <a:cubicBezTo>
                    <a:pt x="5238154" y="4292154"/>
                    <a:pt x="5234143" y="4288142"/>
                    <a:pt x="5234143" y="4283193"/>
                  </a:cubicBezTo>
                  <a:cubicBezTo>
                    <a:pt x="5234143" y="4278244"/>
                    <a:pt x="5238154" y="4274233"/>
                    <a:pt x="5243103" y="4274233"/>
                  </a:cubicBezTo>
                  <a:close/>
                  <a:moveTo>
                    <a:pt x="5074362" y="4274233"/>
                  </a:moveTo>
                  <a:cubicBezTo>
                    <a:pt x="5079311" y="4274233"/>
                    <a:pt x="5083323" y="4278244"/>
                    <a:pt x="5083323" y="4283193"/>
                  </a:cubicBezTo>
                  <a:cubicBezTo>
                    <a:pt x="5083323" y="4288142"/>
                    <a:pt x="5079311" y="4292154"/>
                    <a:pt x="5074362" y="4292154"/>
                  </a:cubicBezTo>
                  <a:cubicBezTo>
                    <a:pt x="5069413" y="4292154"/>
                    <a:pt x="5065402" y="4288142"/>
                    <a:pt x="5065402" y="4283193"/>
                  </a:cubicBezTo>
                  <a:cubicBezTo>
                    <a:pt x="5065402" y="4278244"/>
                    <a:pt x="5069413" y="4274233"/>
                    <a:pt x="5074362" y="4274233"/>
                  </a:cubicBezTo>
                  <a:close/>
                  <a:moveTo>
                    <a:pt x="4905620" y="4274233"/>
                  </a:moveTo>
                  <a:cubicBezTo>
                    <a:pt x="4910569" y="4274233"/>
                    <a:pt x="4914581" y="4278244"/>
                    <a:pt x="4914581" y="4283193"/>
                  </a:cubicBezTo>
                  <a:cubicBezTo>
                    <a:pt x="4914581" y="4288142"/>
                    <a:pt x="4910569" y="4292154"/>
                    <a:pt x="4905620" y="4292154"/>
                  </a:cubicBezTo>
                  <a:cubicBezTo>
                    <a:pt x="4900671" y="4292154"/>
                    <a:pt x="4896660" y="4288142"/>
                    <a:pt x="4896660" y="4283193"/>
                  </a:cubicBezTo>
                  <a:cubicBezTo>
                    <a:pt x="4896660" y="4278244"/>
                    <a:pt x="4900671" y="4274233"/>
                    <a:pt x="4905620" y="4274233"/>
                  </a:cubicBezTo>
                  <a:close/>
                  <a:moveTo>
                    <a:pt x="4736878" y="4274233"/>
                  </a:moveTo>
                  <a:cubicBezTo>
                    <a:pt x="4741827" y="4274233"/>
                    <a:pt x="4745839" y="4278244"/>
                    <a:pt x="4745839" y="4283193"/>
                  </a:cubicBezTo>
                  <a:cubicBezTo>
                    <a:pt x="4745839" y="4288142"/>
                    <a:pt x="4741827" y="4292154"/>
                    <a:pt x="4736878" y="4292154"/>
                  </a:cubicBezTo>
                  <a:cubicBezTo>
                    <a:pt x="4731929" y="4292154"/>
                    <a:pt x="4727918" y="4288142"/>
                    <a:pt x="4727918" y="4283193"/>
                  </a:cubicBezTo>
                  <a:cubicBezTo>
                    <a:pt x="4727918" y="4278244"/>
                    <a:pt x="4731929" y="4274233"/>
                    <a:pt x="4736878" y="4274233"/>
                  </a:cubicBezTo>
                  <a:close/>
                  <a:moveTo>
                    <a:pt x="4568137" y="4274233"/>
                  </a:moveTo>
                  <a:cubicBezTo>
                    <a:pt x="4573086" y="4274233"/>
                    <a:pt x="4577098" y="4278244"/>
                    <a:pt x="4577098" y="4283193"/>
                  </a:cubicBezTo>
                  <a:cubicBezTo>
                    <a:pt x="4577098" y="4288142"/>
                    <a:pt x="4573086" y="4292154"/>
                    <a:pt x="4568137" y="4292154"/>
                  </a:cubicBezTo>
                  <a:cubicBezTo>
                    <a:pt x="4563188" y="4292154"/>
                    <a:pt x="4559177" y="4288142"/>
                    <a:pt x="4559177" y="4283193"/>
                  </a:cubicBezTo>
                  <a:cubicBezTo>
                    <a:pt x="4559177" y="4278244"/>
                    <a:pt x="4563188" y="4274233"/>
                    <a:pt x="4568137" y="4274233"/>
                  </a:cubicBezTo>
                  <a:close/>
                  <a:moveTo>
                    <a:pt x="4399396" y="4274233"/>
                  </a:moveTo>
                  <a:cubicBezTo>
                    <a:pt x="4404345" y="4274233"/>
                    <a:pt x="4408357" y="4278244"/>
                    <a:pt x="4408357" y="4283193"/>
                  </a:cubicBezTo>
                  <a:cubicBezTo>
                    <a:pt x="4408357" y="4288142"/>
                    <a:pt x="4404345" y="4292154"/>
                    <a:pt x="4399396" y="4292154"/>
                  </a:cubicBezTo>
                  <a:cubicBezTo>
                    <a:pt x="4394447" y="4292154"/>
                    <a:pt x="4390436" y="4288142"/>
                    <a:pt x="4390436" y="4283193"/>
                  </a:cubicBezTo>
                  <a:cubicBezTo>
                    <a:pt x="4390436" y="4278244"/>
                    <a:pt x="4394447" y="4274233"/>
                    <a:pt x="4399396" y="4274233"/>
                  </a:cubicBezTo>
                  <a:close/>
                  <a:moveTo>
                    <a:pt x="4230654" y="4274233"/>
                  </a:moveTo>
                  <a:cubicBezTo>
                    <a:pt x="4235603" y="4274233"/>
                    <a:pt x="4239615" y="4278244"/>
                    <a:pt x="4239615" y="4283193"/>
                  </a:cubicBezTo>
                  <a:cubicBezTo>
                    <a:pt x="4239615" y="4288142"/>
                    <a:pt x="4235603" y="4292154"/>
                    <a:pt x="4230654" y="4292154"/>
                  </a:cubicBezTo>
                  <a:cubicBezTo>
                    <a:pt x="4225705" y="4292154"/>
                    <a:pt x="4221694" y="4288142"/>
                    <a:pt x="4221694" y="4283193"/>
                  </a:cubicBezTo>
                  <a:cubicBezTo>
                    <a:pt x="4221694" y="4278244"/>
                    <a:pt x="4225705" y="4274233"/>
                    <a:pt x="4230654" y="4274233"/>
                  </a:cubicBezTo>
                  <a:close/>
                  <a:moveTo>
                    <a:pt x="4061912" y="4274233"/>
                  </a:moveTo>
                  <a:cubicBezTo>
                    <a:pt x="4066861" y="4274233"/>
                    <a:pt x="4070873" y="4278244"/>
                    <a:pt x="4070873" y="4283193"/>
                  </a:cubicBezTo>
                  <a:cubicBezTo>
                    <a:pt x="4070873" y="4288142"/>
                    <a:pt x="4066861" y="4292154"/>
                    <a:pt x="4061912" y="4292154"/>
                  </a:cubicBezTo>
                  <a:cubicBezTo>
                    <a:pt x="4056963" y="4292154"/>
                    <a:pt x="4052952" y="4288142"/>
                    <a:pt x="4052952" y="4283193"/>
                  </a:cubicBezTo>
                  <a:cubicBezTo>
                    <a:pt x="4052952" y="4278244"/>
                    <a:pt x="4056963" y="4274233"/>
                    <a:pt x="4061912" y="4274233"/>
                  </a:cubicBezTo>
                  <a:close/>
                  <a:moveTo>
                    <a:pt x="3893170" y="4274233"/>
                  </a:moveTo>
                  <a:cubicBezTo>
                    <a:pt x="3898119" y="4274233"/>
                    <a:pt x="3902131" y="4278244"/>
                    <a:pt x="3902131" y="4283193"/>
                  </a:cubicBezTo>
                  <a:cubicBezTo>
                    <a:pt x="3902131" y="4288142"/>
                    <a:pt x="3898119" y="4292154"/>
                    <a:pt x="3893170" y="4292154"/>
                  </a:cubicBezTo>
                  <a:cubicBezTo>
                    <a:pt x="3888221" y="4292154"/>
                    <a:pt x="3884210" y="4288142"/>
                    <a:pt x="3884210" y="4283193"/>
                  </a:cubicBezTo>
                  <a:cubicBezTo>
                    <a:pt x="3884210" y="4278244"/>
                    <a:pt x="3888221" y="4274233"/>
                    <a:pt x="3893170" y="4274233"/>
                  </a:cubicBezTo>
                  <a:close/>
                  <a:moveTo>
                    <a:pt x="3724429" y="4274233"/>
                  </a:moveTo>
                  <a:cubicBezTo>
                    <a:pt x="3729378" y="4274233"/>
                    <a:pt x="3733390" y="4278244"/>
                    <a:pt x="3733390" y="4283193"/>
                  </a:cubicBezTo>
                  <a:cubicBezTo>
                    <a:pt x="3733390" y="4288142"/>
                    <a:pt x="3729378" y="4292154"/>
                    <a:pt x="3724429" y="4292154"/>
                  </a:cubicBezTo>
                  <a:cubicBezTo>
                    <a:pt x="3719481" y="4292154"/>
                    <a:pt x="3715469" y="4288142"/>
                    <a:pt x="3715469" y="4283193"/>
                  </a:cubicBezTo>
                  <a:cubicBezTo>
                    <a:pt x="3715469" y="4278244"/>
                    <a:pt x="3719481" y="4274233"/>
                    <a:pt x="3724429" y="4274233"/>
                  </a:cubicBezTo>
                  <a:close/>
                  <a:moveTo>
                    <a:pt x="3555688" y="4274233"/>
                  </a:moveTo>
                  <a:cubicBezTo>
                    <a:pt x="3560637" y="4274233"/>
                    <a:pt x="3564649" y="4278244"/>
                    <a:pt x="3564649" y="4283193"/>
                  </a:cubicBezTo>
                  <a:cubicBezTo>
                    <a:pt x="3564649" y="4288142"/>
                    <a:pt x="3560637" y="4292154"/>
                    <a:pt x="3555688" y="4292154"/>
                  </a:cubicBezTo>
                  <a:cubicBezTo>
                    <a:pt x="3550740" y="4292154"/>
                    <a:pt x="3546728" y="4288142"/>
                    <a:pt x="3546728" y="4283193"/>
                  </a:cubicBezTo>
                  <a:cubicBezTo>
                    <a:pt x="3546728" y="4278244"/>
                    <a:pt x="3550740" y="4274233"/>
                    <a:pt x="3555688" y="4274233"/>
                  </a:cubicBezTo>
                  <a:close/>
                  <a:moveTo>
                    <a:pt x="3387035" y="4274233"/>
                  </a:moveTo>
                  <a:cubicBezTo>
                    <a:pt x="3391983" y="4274233"/>
                    <a:pt x="3395995" y="4278244"/>
                    <a:pt x="3395995" y="4283193"/>
                  </a:cubicBezTo>
                  <a:cubicBezTo>
                    <a:pt x="3395995" y="4288142"/>
                    <a:pt x="3391983" y="4292154"/>
                    <a:pt x="3387035" y="4292154"/>
                  </a:cubicBezTo>
                  <a:cubicBezTo>
                    <a:pt x="3382043" y="4292154"/>
                    <a:pt x="3378030" y="4288142"/>
                    <a:pt x="3378030" y="4283193"/>
                  </a:cubicBezTo>
                  <a:cubicBezTo>
                    <a:pt x="3378030" y="4278244"/>
                    <a:pt x="3382043" y="4274233"/>
                    <a:pt x="3387035" y="4274233"/>
                  </a:cubicBezTo>
                  <a:close/>
                  <a:moveTo>
                    <a:pt x="3218276" y="4274233"/>
                  </a:moveTo>
                  <a:cubicBezTo>
                    <a:pt x="3223238" y="4274233"/>
                    <a:pt x="3227246" y="4278244"/>
                    <a:pt x="3227246" y="4283193"/>
                  </a:cubicBezTo>
                  <a:cubicBezTo>
                    <a:pt x="3227246" y="4288142"/>
                    <a:pt x="3223238" y="4292154"/>
                    <a:pt x="3218276" y="4292154"/>
                  </a:cubicBezTo>
                  <a:cubicBezTo>
                    <a:pt x="3213316" y="4292154"/>
                    <a:pt x="3209314" y="4288142"/>
                    <a:pt x="3209314" y="4283193"/>
                  </a:cubicBezTo>
                  <a:cubicBezTo>
                    <a:pt x="3209314" y="4278244"/>
                    <a:pt x="3213316" y="4274233"/>
                    <a:pt x="3218276" y="4274233"/>
                  </a:cubicBezTo>
                  <a:close/>
                  <a:moveTo>
                    <a:pt x="3049567" y="4274233"/>
                  </a:moveTo>
                  <a:cubicBezTo>
                    <a:pt x="3054501" y="4274233"/>
                    <a:pt x="3058514" y="4278244"/>
                    <a:pt x="3058514" y="4283193"/>
                  </a:cubicBezTo>
                  <a:cubicBezTo>
                    <a:pt x="3058514" y="4288142"/>
                    <a:pt x="3054501" y="4292154"/>
                    <a:pt x="3049567" y="4292154"/>
                  </a:cubicBezTo>
                  <a:cubicBezTo>
                    <a:pt x="3044611" y="4292154"/>
                    <a:pt x="3040597" y="4288142"/>
                    <a:pt x="3040597" y="4283193"/>
                  </a:cubicBezTo>
                  <a:cubicBezTo>
                    <a:pt x="3040597" y="4278244"/>
                    <a:pt x="3044611" y="4274233"/>
                    <a:pt x="3049567" y="4274233"/>
                  </a:cubicBezTo>
                  <a:close/>
                  <a:moveTo>
                    <a:pt x="2880835" y="4274233"/>
                  </a:moveTo>
                  <a:cubicBezTo>
                    <a:pt x="2885782" y="4274233"/>
                    <a:pt x="2889793" y="4278244"/>
                    <a:pt x="2889793" y="4283193"/>
                  </a:cubicBezTo>
                  <a:cubicBezTo>
                    <a:pt x="2889793" y="4288142"/>
                    <a:pt x="2885782" y="4292154"/>
                    <a:pt x="2880835" y="4292154"/>
                  </a:cubicBezTo>
                  <a:cubicBezTo>
                    <a:pt x="2875888" y="4292154"/>
                    <a:pt x="2871875" y="4288142"/>
                    <a:pt x="2871875" y="4283193"/>
                  </a:cubicBezTo>
                  <a:cubicBezTo>
                    <a:pt x="2871875" y="4278244"/>
                    <a:pt x="2875888" y="4274233"/>
                    <a:pt x="2880835" y="4274233"/>
                  </a:cubicBezTo>
                  <a:close/>
                  <a:moveTo>
                    <a:pt x="2712073" y="4274233"/>
                  </a:moveTo>
                  <a:cubicBezTo>
                    <a:pt x="2717049" y="4274233"/>
                    <a:pt x="2721056" y="4278244"/>
                    <a:pt x="2721056" y="4283193"/>
                  </a:cubicBezTo>
                  <a:cubicBezTo>
                    <a:pt x="2721056" y="4288142"/>
                    <a:pt x="2717049" y="4292154"/>
                    <a:pt x="2712073" y="4292154"/>
                  </a:cubicBezTo>
                  <a:cubicBezTo>
                    <a:pt x="2707127" y="4292154"/>
                    <a:pt x="2703117" y="4288142"/>
                    <a:pt x="2703117" y="4283193"/>
                  </a:cubicBezTo>
                  <a:cubicBezTo>
                    <a:pt x="2703117" y="4278244"/>
                    <a:pt x="2707127" y="4274233"/>
                    <a:pt x="2712073" y="4274233"/>
                  </a:cubicBezTo>
                  <a:close/>
                  <a:moveTo>
                    <a:pt x="2543378" y="4274233"/>
                  </a:moveTo>
                  <a:cubicBezTo>
                    <a:pt x="2548325" y="4274233"/>
                    <a:pt x="2552338" y="4278244"/>
                    <a:pt x="2552338" y="4283193"/>
                  </a:cubicBezTo>
                  <a:cubicBezTo>
                    <a:pt x="2552338" y="4288142"/>
                    <a:pt x="2548325" y="4292154"/>
                    <a:pt x="2543378" y="4292154"/>
                  </a:cubicBezTo>
                  <a:cubicBezTo>
                    <a:pt x="2538424" y="4292154"/>
                    <a:pt x="2534406" y="4288142"/>
                    <a:pt x="2534406" y="4283193"/>
                  </a:cubicBezTo>
                  <a:cubicBezTo>
                    <a:pt x="2534406" y="4278244"/>
                    <a:pt x="2538424" y="4274233"/>
                    <a:pt x="2543378" y="4274233"/>
                  </a:cubicBezTo>
                  <a:close/>
                  <a:moveTo>
                    <a:pt x="2374592" y="4274233"/>
                  </a:moveTo>
                  <a:cubicBezTo>
                    <a:pt x="2379554" y="4274233"/>
                    <a:pt x="2383588" y="4278244"/>
                    <a:pt x="2383588" y="4283193"/>
                  </a:cubicBezTo>
                  <a:cubicBezTo>
                    <a:pt x="2383588" y="4288142"/>
                    <a:pt x="2379554" y="4292154"/>
                    <a:pt x="2374592" y="4292154"/>
                  </a:cubicBezTo>
                  <a:cubicBezTo>
                    <a:pt x="2369640" y="4292154"/>
                    <a:pt x="2365628" y="4288142"/>
                    <a:pt x="2365628" y="4283193"/>
                  </a:cubicBezTo>
                  <a:cubicBezTo>
                    <a:pt x="2365628" y="4278244"/>
                    <a:pt x="2369640" y="4274233"/>
                    <a:pt x="2374592" y="4274233"/>
                  </a:cubicBezTo>
                  <a:close/>
                  <a:moveTo>
                    <a:pt x="2205883" y="4274233"/>
                  </a:moveTo>
                  <a:cubicBezTo>
                    <a:pt x="2210828" y="4274233"/>
                    <a:pt x="2214838" y="4278244"/>
                    <a:pt x="2214838" y="4283193"/>
                  </a:cubicBezTo>
                  <a:cubicBezTo>
                    <a:pt x="2214838" y="4288142"/>
                    <a:pt x="2210828" y="4292154"/>
                    <a:pt x="2205883" y="4292154"/>
                  </a:cubicBezTo>
                  <a:cubicBezTo>
                    <a:pt x="2200907" y="4292154"/>
                    <a:pt x="2196895" y="4288142"/>
                    <a:pt x="2196895" y="4283193"/>
                  </a:cubicBezTo>
                  <a:cubicBezTo>
                    <a:pt x="2196895" y="4278244"/>
                    <a:pt x="2200907" y="4274233"/>
                    <a:pt x="2205883" y="4274233"/>
                  </a:cubicBezTo>
                  <a:close/>
                  <a:moveTo>
                    <a:pt x="2037139" y="4274233"/>
                  </a:moveTo>
                  <a:cubicBezTo>
                    <a:pt x="2042094" y="4274233"/>
                    <a:pt x="2046083" y="4278244"/>
                    <a:pt x="2046083" y="4283193"/>
                  </a:cubicBezTo>
                  <a:cubicBezTo>
                    <a:pt x="2046083" y="4288142"/>
                    <a:pt x="2042094" y="4292154"/>
                    <a:pt x="2037139" y="4292154"/>
                  </a:cubicBezTo>
                  <a:cubicBezTo>
                    <a:pt x="2032196" y="4292154"/>
                    <a:pt x="2028193" y="4288142"/>
                    <a:pt x="2028193" y="4283193"/>
                  </a:cubicBezTo>
                  <a:cubicBezTo>
                    <a:pt x="2028193" y="4278244"/>
                    <a:pt x="2032196" y="4274233"/>
                    <a:pt x="2037139" y="4274233"/>
                  </a:cubicBezTo>
                  <a:close/>
                  <a:moveTo>
                    <a:pt x="1868424" y="4274233"/>
                  </a:moveTo>
                  <a:cubicBezTo>
                    <a:pt x="1873365" y="4274233"/>
                    <a:pt x="1877375" y="4278244"/>
                    <a:pt x="1877375" y="4283193"/>
                  </a:cubicBezTo>
                  <a:cubicBezTo>
                    <a:pt x="1877375" y="4288142"/>
                    <a:pt x="1873365" y="4292154"/>
                    <a:pt x="1868424" y="4292154"/>
                  </a:cubicBezTo>
                  <a:cubicBezTo>
                    <a:pt x="1863466" y="4292154"/>
                    <a:pt x="1859448" y="4288142"/>
                    <a:pt x="1859448" y="4283193"/>
                  </a:cubicBezTo>
                  <a:cubicBezTo>
                    <a:pt x="1859448" y="4278244"/>
                    <a:pt x="1863466" y="4274233"/>
                    <a:pt x="1868424" y="4274233"/>
                  </a:cubicBezTo>
                  <a:close/>
                  <a:moveTo>
                    <a:pt x="1699672" y="4274233"/>
                  </a:moveTo>
                  <a:cubicBezTo>
                    <a:pt x="1704627" y="4274233"/>
                    <a:pt x="1708639" y="4278244"/>
                    <a:pt x="1708639" y="4283193"/>
                  </a:cubicBezTo>
                  <a:cubicBezTo>
                    <a:pt x="1708639" y="4288142"/>
                    <a:pt x="1704627" y="4292154"/>
                    <a:pt x="1699672" y="4292154"/>
                  </a:cubicBezTo>
                  <a:cubicBezTo>
                    <a:pt x="1694721" y="4292154"/>
                    <a:pt x="1690707" y="4288142"/>
                    <a:pt x="1690707" y="4283193"/>
                  </a:cubicBezTo>
                  <a:cubicBezTo>
                    <a:pt x="1690707" y="4278244"/>
                    <a:pt x="1694721" y="4274233"/>
                    <a:pt x="1699672" y="4274233"/>
                  </a:cubicBezTo>
                  <a:close/>
                  <a:moveTo>
                    <a:pt x="1530931" y="4274233"/>
                  </a:moveTo>
                  <a:cubicBezTo>
                    <a:pt x="1535881" y="4274233"/>
                    <a:pt x="1539893" y="4278244"/>
                    <a:pt x="1539893" y="4283193"/>
                  </a:cubicBezTo>
                  <a:cubicBezTo>
                    <a:pt x="1539893" y="4288142"/>
                    <a:pt x="1535881" y="4292154"/>
                    <a:pt x="1530931" y="4292154"/>
                  </a:cubicBezTo>
                  <a:cubicBezTo>
                    <a:pt x="1525981" y="4292154"/>
                    <a:pt x="1521969" y="4288142"/>
                    <a:pt x="1521969" y="4283193"/>
                  </a:cubicBezTo>
                  <a:cubicBezTo>
                    <a:pt x="1521969" y="4278244"/>
                    <a:pt x="1525981" y="4274233"/>
                    <a:pt x="1530931" y="4274233"/>
                  </a:cubicBezTo>
                  <a:close/>
                  <a:moveTo>
                    <a:pt x="1362181" y="4274233"/>
                  </a:moveTo>
                  <a:cubicBezTo>
                    <a:pt x="1367134" y="4274233"/>
                    <a:pt x="1371143" y="4278244"/>
                    <a:pt x="1371143" y="4283193"/>
                  </a:cubicBezTo>
                  <a:cubicBezTo>
                    <a:pt x="1371143" y="4288142"/>
                    <a:pt x="1367134" y="4292154"/>
                    <a:pt x="1362181" y="4292154"/>
                  </a:cubicBezTo>
                  <a:cubicBezTo>
                    <a:pt x="1357232" y="4292154"/>
                    <a:pt x="1353220" y="4288142"/>
                    <a:pt x="1353220" y="4283193"/>
                  </a:cubicBezTo>
                  <a:cubicBezTo>
                    <a:pt x="1353220" y="4278244"/>
                    <a:pt x="1357232" y="4274233"/>
                    <a:pt x="1362181" y="4274233"/>
                  </a:cubicBezTo>
                  <a:close/>
                  <a:moveTo>
                    <a:pt x="1193440" y="4274233"/>
                  </a:moveTo>
                  <a:cubicBezTo>
                    <a:pt x="1198388" y="4274233"/>
                    <a:pt x="1202400" y="4278244"/>
                    <a:pt x="1202400" y="4283193"/>
                  </a:cubicBezTo>
                  <a:cubicBezTo>
                    <a:pt x="1202400" y="4288142"/>
                    <a:pt x="1198388" y="4292154"/>
                    <a:pt x="1193440" y="4292154"/>
                  </a:cubicBezTo>
                  <a:cubicBezTo>
                    <a:pt x="1188492" y="4292154"/>
                    <a:pt x="1184481" y="4288142"/>
                    <a:pt x="1184481" y="4283193"/>
                  </a:cubicBezTo>
                  <a:cubicBezTo>
                    <a:pt x="1184481" y="4278244"/>
                    <a:pt x="1188492" y="4274233"/>
                    <a:pt x="1193440" y="4274233"/>
                  </a:cubicBezTo>
                  <a:close/>
                  <a:moveTo>
                    <a:pt x="1024688" y="4274233"/>
                  </a:moveTo>
                  <a:cubicBezTo>
                    <a:pt x="1029639" y="4274233"/>
                    <a:pt x="1033654" y="4278244"/>
                    <a:pt x="1033654" y="4283193"/>
                  </a:cubicBezTo>
                  <a:cubicBezTo>
                    <a:pt x="1033654" y="4288142"/>
                    <a:pt x="1029639" y="4292154"/>
                    <a:pt x="1024688" y="4292154"/>
                  </a:cubicBezTo>
                  <a:cubicBezTo>
                    <a:pt x="1019740" y="4292154"/>
                    <a:pt x="1015729" y="4288142"/>
                    <a:pt x="1015729" y="4283193"/>
                  </a:cubicBezTo>
                  <a:cubicBezTo>
                    <a:pt x="1015729" y="4278244"/>
                    <a:pt x="1019740" y="4274233"/>
                    <a:pt x="1024688" y="4274233"/>
                  </a:cubicBezTo>
                  <a:close/>
                  <a:moveTo>
                    <a:pt x="855959" y="4274233"/>
                  </a:moveTo>
                  <a:cubicBezTo>
                    <a:pt x="860907" y="4274233"/>
                    <a:pt x="864919" y="4278244"/>
                    <a:pt x="864919" y="4283193"/>
                  </a:cubicBezTo>
                  <a:cubicBezTo>
                    <a:pt x="864919" y="4288142"/>
                    <a:pt x="860907" y="4292154"/>
                    <a:pt x="855959" y="4292154"/>
                  </a:cubicBezTo>
                  <a:cubicBezTo>
                    <a:pt x="851010" y="4292154"/>
                    <a:pt x="846998" y="4288142"/>
                    <a:pt x="846998" y="4283193"/>
                  </a:cubicBezTo>
                  <a:cubicBezTo>
                    <a:pt x="846998" y="4278244"/>
                    <a:pt x="851010" y="4274233"/>
                    <a:pt x="855959" y="4274233"/>
                  </a:cubicBezTo>
                  <a:close/>
                  <a:moveTo>
                    <a:pt x="687219" y="4274233"/>
                  </a:moveTo>
                  <a:cubicBezTo>
                    <a:pt x="692168" y="4274233"/>
                    <a:pt x="696180" y="4278244"/>
                    <a:pt x="696180" y="4283193"/>
                  </a:cubicBezTo>
                  <a:cubicBezTo>
                    <a:pt x="696180" y="4288142"/>
                    <a:pt x="692168" y="4292154"/>
                    <a:pt x="687219" y="4292154"/>
                  </a:cubicBezTo>
                  <a:cubicBezTo>
                    <a:pt x="682271" y="4292154"/>
                    <a:pt x="678260" y="4288142"/>
                    <a:pt x="678260" y="4283193"/>
                  </a:cubicBezTo>
                  <a:cubicBezTo>
                    <a:pt x="678260" y="4278244"/>
                    <a:pt x="682271" y="4274233"/>
                    <a:pt x="687219" y="4274233"/>
                  </a:cubicBezTo>
                  <a:close/>
                  <a:moveTo>
                    <a:pt x="518454" y="4274233"/>
                  </a:moveTo>
                  <a:cubicBezTo>
                    <a:pt x="523403" y="4274233"/>
                    <a:pt x="527414" y="4278244"/>
                    <a:pt x="527414" y="4283193"/>
                  </a:cubicBezTo>
                  <a:cubicBezTo>
                    <a:pt x="527414" y="4288142"/>
                    <a:pt x="523403" y="4292154"/>
                    <a:pt x="518454" y="4292154"/>
                  </a:cubicBezTo>
                  <a:cubicBezTo>
                    <a:pt x="513505" y="4292154"/>
                    <a:pt x="509493" y="4288142"/>
                    <a:pt x="509493" y="4283193"/>
                  </a:cubicBezTo>
                  <a:cubicBezTo>
                    <a:pt x="509493" y="4278244"/>
                    <a:pt x="513505" y="4274233"/>
                    <a:pt x="518454" y="4274233"/>
                  </a:cubicBezTo>
                  <a:close/>
                  <a:moveTo>
                    <a:pt x="349715" y="4274233"/>
                  </a:moveTo>
                  <a:cubicBezTo>
                    <a:pt x="354664" y="4274233"/>
                    <a:pt x="358676" y="4278244"/>
                    <a:pt x="358676" y="4283193"/>
                  </a:cubicBezTo>
                  <a:cubicBezTo>
                    <a:pt x="358676" y="4288142"/>
                    <a:pt x="354664" y="4292154"/>
                    <a:pt x="349715" y="4292154"/>
                  </a:cubicBezTo>
                  <a:cubicBezTo>
                    <a:pt x="344768" y="4292154"/>
                    <a:pt x="340756" y="4288142"/>
                    <a:pt x="340756" y="4283193"/>
                  </a:cubicBezTo>
                  <a:cubicBezTo>
                    <a:pt x="340756" y="4278244"/>
                    <a:pt x="344768" y="4274233"/>
                    <a:pt x="349715" y="4274233"/>
                  </a:cubicBezTo>
                  <a:close/>
                  <a:moveTo>
                    <a:pt x="179397" y="4274233"/>
                  </a:moveTo>
                  <a:cubicBezTo>
                    <a:pt x="184346" y="4274233"/>
                    <a:pt x="188358" y="4278244"/>
                    <a:pt x="188358" y="4283193"/>
                  </a:cubicBezTo>
                  <a:cubicBezTo>
                    <a:pt x="188358" y="4288142"/>
                    <a:pt x="184346" y="4292154"/>
                    <a:pt x="179397" y="4292154"/>
                  </a:cubicBezTo>
                  <a:cubicBezTo>
                    <a:pt x="174449" y="4292154"/>
                    <a:pt x="170437" y="4288142"/>
                    <a:pt x="170437" y="4283193"/>
                  </a:cubicBezTo>
                  <a:cubicBezTo>
                    <a:pt x="170437" y="4278244"/>
                    <a:pt x="174449" y="4274233"/>
                    <a:pt x="179397" y="4274233"/>
                  </a:cubicBezTo>
                  <a:close/>
                  <a:moveTo>
                    <a:pt x="9080" y="4274233"/>
                  </a:moveTo>
                  <a:cubicBezTo>
                    <a:pt x="14028" y="4274233"/>
                    <a:pt x="18040" y="4278244"/>
                    <a:pt x="18040" y="4283193"/>
                  </a:cubicBezTo>
                  <a:cubicBezTo>
                    <a:pt x="18040" y="4288142"/>
                    <a:pt x="14028" y="4292154"/>
                    <a:pt x="9080" y="4292154"/>
                  </a:cubicBezTo>
                  <a:cubicBezTo>
                    <a:pt x="4132" y="4292154"/>
                    <a:pt x="120" y="4288142"/>
                    <a:pt x="120" y="4283193"/>
                  </a:cubicBezTo>
                  <a:cubicBezTo>
                    <a:pt x="120" y="4278244"/>
                    <a:pt x="4132" y="4274233"/>
                    <a:pt x="9080" y="4274233"/>
                  </a:cubicBezTo>
                  <a:close/>
                  <a:moveTo>
                    <a:pt x="6933679" y="4103252"/>
                  </a:moveTo>
                  <a:cubicBezTo>
                    <a:pt x="6938628" y="4103252"/>
                    <a:pt x="6942639" y="4107263"/>
                    <a:pt x="6942639" y="4112212"/>
                  </a:cubicBezTo>
                  <a:cubicBezTo>
                    <a:pt x="6942639" y="4117161"/>
                    <a:pt x="6938628" y="4121173"/>
                    <a:pt x="6933679" y="4121173"/>
                  </a:cubicBezTo>
                  <a:cubicBezTo>
                    <a:pt x="6928730" y="4121173"/>
                    <a:pt x="6924718" y="4117161"/>
                    <a:pt x="6924718" y="4112212"/>
                  </a:cubicBezTo>
                  <a:cubicBezTo>
                    <a:pt x="6924718" y="4107263"/>
                    <a:pt x="6928730" y="4103252"/>
                    <a:pt x="6933679" y="4103252"/>
                  </a:cubicBezTo>
                  <a:close/>
                  <a:moveTo>
                    <a:pt x="6763357" y="4103252"/>
                  </a:moveTo>
                  <a:cubicBezTo>
                    <a:pt x="6768306" y="4103252"/>
                    <a:pt x="6772318" y="4107263"/>
                    <a:pt x="6772318" y="4112212"/>
                  </a:cubicBezTo>
                  <a:cubicBezTo>
                    <a:pt x="6772318" y="4117161"/>
                    <a:pt x="6768306" y="4121173"/>
                    <a:pt x="6763357" y="4121173"/>
                  </a:cubicBezTo>
                  <a:cubicBezTo>
                    <a:pt x="6758408" y="4121173"/>
                    <a:pt x="6754397" y="4117161"/>
                    <a:pt x="6754397" y="4112212"/>
                  </a:cubicBezTo>
                  <a:cubicBezTo>
                    <a:pt x="6754397" y="4107263"/>
                    <a:pt x="6758408" y="4103252"/>
                    <a:pt x="6763357" y="4103252"/>
                  </a:cubicBezTo>
                  <a:close/>
                  <a:moveTo>
                    <a:pt x="6593035" y="4103252"/>
                  </a:moveTo>
                  <a:cubicBezTo>
                    <a:pt x="6597984" y="4103252"/>
                    <a:pt x="6601996" y="4107263"/>
                    <a:pt x="6601996" y="4112212"/>
                  </a:cubicBezTo>
                  <a:cubicBezTo>
                    <a:pt x="6601996" y="4117161"/>
                    <a:pt x="6597984" y="4121173"/>
                    <a:pt x="6593035" y="4121173"/>
                  </a:cubicBezTo>
                  <a:cubicBezTo>
                    <a:pt x="6588086" y="4121173"/>
                    <a:pt x="6584075" y="4117161"/>
                    <a:pt x="6584075" y="4112212"/>
                  </a:cubicBezTo>
                  <a:cubicBezTo>
                    <a:pt x="6584075" y="4107263"/>
                    <a:pt x="6588086" y="4103252"/>
                    <a:pt x="6593035" y="4103252"/>
                  </a:cubicBezTo>
                  <a:close/>
                  <a:moveTo>
                    <a:pt x="6424294" y="4103252"/>
                  </a:moveTo>
                  <a:cubicBezTo>
                    <a:pt x="6429243" y="4103252"/>
                    <a:pt x="6433255" y="4107263"/>
                    <a:pt x="6433255" y="4112212"/>
                  </a:cubicBezTo>
                  <a:cubicBezTo>
                    <a:pt x="6433255" y="4117161"/>
                    <a:pt x="6429243" y="4121173"/>
                    <a:pt x="6424294" y="4121173"/>
                  </a:cubicBezTo>
                  <a:cubicBezTo>
                    <a:pt x="6419345" y="4121173"/>
                    <a:pt x="6415334" y="4117161"/>
                    <a:pt x="6415334" y="4112212"/>
                  </a:cubicBezTo>
                  <a:cubicBezTo>
                    <a:pt x="6415334" y="4107263"/>
                    <a:pt x="6419345" y="4103252"/>
                    <a:pt x="6424294" y="4103252"/>
                  </a:cubicBezTo>
                  <a:close/>
                  <a:moveTo>
                    <a:pt x="6255553" y="4103252"/>
                  </a:moveTo>
                  <a:cubicBezTo>
                    <a:pt x="6260502" y="4103252"/>
                    <a:pt x="6264514" y="4107263"/>
                    <a:pt x="6264514" y="4112212"/>
                  </a:cubicBezTo>
                  <a:cubicBezTo>
                    <a:pt x="6264514" y="4117161"/>
                    <a:pt x="6260502" y="4121173"/>
                    <a:pt x="6255553" y="4121173"/>
                  </a:cubicBezTo>
                  <a:cubicBezTo>
                    <a:pt x="6250604" y="4121173"/>
                    <a:pt x="6246593" y="4117161"/>
                    <a:pt x="6246593" y="4112212"/>
                  </a:cubicBezTo>
                  <a:cubicBezTo>
                    <a:pt x="6246593" y="4107263"/>
                    <a:pt x="6250604" y="4103252"/>
                    <a:pt x="6255553" y="4103252"/>
                  </a:cubicBezTo>
                  <a:close/>
                  <a:moveTo>
                    <a:pt x="6086811" y="4103252"/>
                  </a:moveTo>
                  <a:cubicBezTo>
                    <a:pt x="6091760" y="4103252"/>
                    <a:pt x="6095772" y="4107263"/>
                    <a:pt x="6095772" y="4112212"/>
                  </a:cubicBezTo>
                  <a:cubicBezTo>
                    <a:pt x="6095772" y="4117161"/>
                    <a:pt x="6091760" y="4121173"/>
                    <a:pt x="6086811" y="4121173"/>
                  </a:cubicBezTo>
                  <a:cubicBezTo>
                    <a:pt x="6081862" y="4121173"/>
                    <a:pt x="6077851" y="4117161"/>
                    <a:pt x="6077851" y="4112212"/>
                  </a:cubicBezTo>
                  <a:cubicBezTo>
                    <a:pt x="6077851" y="4107263"/>
                    <a:pt x="6081862" y="4103252"/>
                    <a:pt x="6086811" y="4103252"/>
                  </a:cubicBezTo>
                  <a:close/>
                  <a:moveTo>
                    <a:pt x="5918069" y="4103252"/>
                  </a:moveTo>
                  <a:cubicBezTo>
                    <a:pt x="5923018" y="4103252"/>
                    <a:pt x="5927030" y="4107263"/>
                    <a:pt x="5927030" y="4112212"/>
                  </a:cubicBezTo>
                  <a:cubicBezTo>
                    <a:pt x="5927030" y="4117161"/>
                    <a:pt x="5923018" y="4121173"/>
                    <a:pt x="5918069" y="4121173"/>
                  </a:cubicBezTo>
                  <a:cubicBezTo>
                    <a:pt x="5913120" y="4121173"/>
                    <a:pt x="5909109" y="4117161"/>
                    <a:pt x="5909109" y="4112212"/>
                  </a:cubicBezTo>
                  <a:cubicBezTo>
                    <a:pt x="5909109" y="4107263"/>
                    <a:pt x="5913120" y="4103252"/>
                    <a:pt x="5918069" y="4103252"/>
                  </a:cubicBezTo>
                  <a:close/>
                  <a:moveTo>
                    <a:pt x="5749328" y="4103252"/>
                  </a:moveTo>
                  <a:cubicBezTo>
                    <a:pt x="5754277" y="4103252"/>
                    <a:pt x="5758289" y="4107263"/>
                    <a:pt x="5758289" y="4112212"/>
                  </a:cubicBezTo>
                  <a:cubicBezTo>
                    <a:pt x="5758289" y="4117161"/>
                    <a:pt x="5754277" y="4121173"/>
                    <a:pt x="5749328" y="4121173"/>
                  </a:cubicBezTo>
                  <a:cubicBezTo>
                    <a:pt x="5744379" y="4121173"/>
                    <a:pt x="5740368" y="4117161"/>
                    <a:pt x="5740368" y="4112212"/>
                  </a:cubicBezTo>
                  <a:cubicBezTo>
                    <a:pt x="5740368" y="4107263"/>
                    <a:pt x="5744379" y="4103252"/>
                    <a:pt x="5749328" y="4103252"/>
                  </a:cubicBezTo>
                  <a:close/>
                  <a:moveTo>
                    <a:pt x="5580586" y="4103252"/>
                  </a:moveTo>
                  <a:cubicBezTo>
                    <a:pt x="5585535" y="4103252"/>
                    <a:pt x="5589547" y="4107263"/>
                    <a:pt x="5589547" y="4112212"/>
                  </a:cubicBezTo>
                  <a:cubicBezTo>
                    <a:pt x="5589547" y="4117161"/>
                    <a:pt x="5585535" y="4121173"/>
                    <a:pt x="5580586" y="4121173"/>
                  </a:cubicBezTo>
                  <a:cubicBezTo>
                    <a:pt x="5575637" y="4121173"/>
                    <a:pt x="5571626" y="4117161"/>
                    <a:pt x="5571626" y="4112212"/>
                  </a:cubicBezTo>
                  <a:cubicBezTo>
                    <a:pt x="5571626" y="4107263"/>
                    <a:pt x="5575637" y="4103252"/>
                    <a:pt x="5580586" y="4103252"/>
                  </a:cubicBezTo>
                  <a:close/>
                  <a:moveTo>
                    <a:pt x="5411845" y="4103252"/>
                  </a:moveTo>
                  <a:cubicBezTo>
                    <a:pt x="5416794" y="4103252"/>
                    <a:pt x="5420806" y="4107263"/>
                    <a:pt x="5420806" y="4112212"/>
                  </a:cubicBezTo>
                  <a:cubicBezTo>
                    <a:pt x="5420806" y="4117161"/>
                    <a:pt x="5416794" y="4121173"/>
                    <a:pt x="5411845" y="4121173"/>
                  </a:cubicBezTo>
                  <a:cubicBezTo>
                    <a:pt x="5406896" y="4121173"/>
                    <a:pt x="5402885" y="4117161"/>
                    <a:pt x="5402885" y="4112212"/>
                  </a:cubicBezTo>
                  <a:cubicBezTo>
                    <a:pt x="5402885" y="4107263"/>
                    <a:pt x="5406896" y="4103252"/>
                    <a:pt x="5411845" y="4103252"/>
                  </a:cubicBezTo>
                  <a:close/>
                  <a:moveTo>
                    <a:pt x="5243103" y="4103252"/>
                  </a:moveTo>
                  <a:cubicBezTo>
                    <a:pt x="5248052" y="4103252"/>
                    <a:pt x="5252064" y="4107263"/>
                    <a:pt x="5252064" y="4112212"/>
                  </a:cubicBezTo>
                  <a:cubicBezTo>
                    <a:pt x="5252064" y="4117161"/>
                    <a:pt x="5248052" y="4121173"/>
                    <a:pt x="5243103" y="4121173"/>
                  </a:cubicBezTo>
                  <a:cubicBezTo>
                    <a:pt x="5238154" y="4121173"/>
                    <a:pt x="5234143" y="4117161"/>
                    <a:pt x="5234143" y="4112212"/>
                  </a:cubicBezTo>
                  <a:cubicBezTo>
                    <a:pt x="5234143" y="4107263"/>
                    <a:pt x="5238154" y="4103252"/>
                    <a:pt x="5243103" y="4103252"/>
                  </a:cubicBezTo>
                  <a:close/>
                  <a:moveTo>
                    <a:pt x="5074362" y="4103252"/>
                  </a:moveTo>
                  <a:cubicBezTo>
                    <a:pt x="5079311" y="4103252"/>
                    <a:pt x="5083323" y="4107263"/>
                    <a:pt x="5083323" y="4112212"/>
                  </a:cubicBezTo>
                  <a:cubicBezTo>
                    <a:pt x="5083323" y="4117161"/>
                    <a:pt x="5079311" y="4121173"/>
                    <a:pt x="5074362" y="4121173"/>
                  </a:cubicBezTo>
                  <a:cubicBezTo>
                    <a:pt x="5069413" y="4121173"/>
                    <a:pt x="5065402" y="4117161"/>
                    <a:pt x="5065402" y="4112212"/>
                  </a:cubicBezTo>
                  <a:cubicBezTo>
                    <a:pt x="5065402" y="4107263"/>
                    <a:pt x="5069413" y="4103252"/>
                    <a:pt x="5074362" y="4103252"/>
                  </a:cubicBezTo>
                  <a:close/>
                  <a:moveTo>
                    <a:pt x="4905620" y="4103252"/>
                  </a:moveTo>
                  <a:cubicBezTo>
                    <a:pt x="4910569" y="4103252"/>
                    <a:pt x="4914581" y="4107263"/>
                    <a:pt x="4914581" y="4112212"/>
                  </a:cubicBezTo>
                  <a:cubicBezTo>
                    <a:pt x="4914581" y="4117161"/>
                    <a:pt x="4910569" y="4121173"/>
                    <a:pt x="4905620" y="4121173"/>
                  </a:cubicBezTo>
                  <a:cubicBezTo>
                    <a:pt x="4900671" y="4121173"/>
                    <a:pt x="4896660" y="4117161"/>
                    <a:pt x="4896660" y="4112212"/>
                  </a:cubicBezTo>
                  <a:cubicBezTo>
                    <a:pt x="4896660" y="4107263"/>
                    <a:pt x="4900671" y="4103252"/>
                    <a:pt x="4905620" y="4103252"/>
                  </a:cubicBezTo>
                  <a:close/>
                  <a:moveTo>
                    <a:pt x="4736878" y="4103252"/>
                  </a:moveTo>
                  <a:cubicBezTo>
                    <a:pt x="4741827" y="4103252"/>
                    <a:pt x="4745839" y="4107263"/>
                    <a:pt x="4745839" y="4112212"/>
                  </a:cubicBezTo>
                  <a:cubicBezTo>
                    <a:pt x="4745839" y="4117161"/>
                    <a:pt x="4741827" y="4121173"/>
                    <a:pt x="4736878" y="4121173"/>
                  </a:cubicBezTo>
                  <a:cubicBezTo>
                    <a:pt x="4731929" y="4121173"/>
                    <a:pt x="4727918" y="4117161"/>
                    <a:pt x="4727918" y="4112212"/>
                  </a:cubicBezTo>
                  <a:cubicBezTo>
                    <a:pt x="4727918" y="4107263"/>
                    <a:pt x="4731929" y="4103252"/>
                    <a:pt x="4736878" y="4103252"/>
                  </a:cubicBezTo>
                  <a:close/>
                  <a:moveTo>
                    <a:pt x="4568137" y="4103252"/>
                  </a:moveTo>
                  <a:cubicBezTo>
                    <a:pt x="4573086" y="4103252"/>
                    <a:pt x="4577098" y="4107263"/>
                    <a:pt x="4577098" y="4112212"/>
                  </a:cubicBezTo>
                  <a:cubicBezTo>
                    <a:pt x="4577098" y="4117161"/>
                    <a:pt x="4573086" y="4121173"/>
                    <a:pt x="4568137" y="4121173"/>
                  </a:cubicBezTo>
                  <a:cubicBezTo>
                    <a:pt x="4563188" y="4121173"/>
                    <a:pt x="4559177" y="4117161"/>
                    <a:pt x="4559177" y="4112212"/>
                  </a:cubicBezTo>
                  <a:cubicBezTo>
                    <a:pt x="4559177" y="4107263"/>
                    <a:pt x="4563188" y="4103252"/>
                    <a:pt x="4568137" y="4103252"/>
                  </a:cubicBezTo>
                  <a:close/>
                  <a:moveTo>
                    <a:pt x="4399396" y="4103252"/>
                  </a:moveTo>
                  <a:cubicBezTo>
                    <a:pt x="4404345" y="4103252"/>
                    <a:pt x="4408357" y="4107263"/>
                    <a:pt x="4408357" y="4112212"/>
                  </a:cubicBezTo>
                  <a:cubicBezTo>
                    <a:pt x="4408357" y="4117161"/>
                    <a:pt x="4404345" y="4121173"/>
                    <a:pt x="4399396" y="4121173"/>
                  </a:cubicBezTo>
                  <a:cubicBezTo>
                    <a:pt x="4394447" y="4121173"/>
                    <a:pt x="4390436" y="4117161"/>
                    <a:pt x="4390436" y="4112212"/>
                  </a:cubicBezTo>
                  <a:cubicBezTo>
                    <a:pt x="4390436" y="4107263"/>
                    <a:pt x="4394447" y="4103252"/>
                    <a:pt x="4399396" y="4103252"/>
                  </a:cubicBezTo>
                  <a:close/>
                  <a:moveTo>
                    <a:pt x="4230654" y="4103252"/>
                  </a:moveTo>
                  <a:cubicBezTo>
                    <a:pt x="4235603" y="4103252"/>
                    <a:pt x="4239615" y="4107263"/>
                    <a:pt x="4239615" y="4112212"/>
                  </a:cubicBezTo>
                  <a:cubicBezTo>
                    <a:pt x="4239615" y="4117161"/>
                    <a:pt x="4235603" y="4121173"/>
                    <a:pt x="4230654" y="4121173"/>
                  </a:cubicBezTo>
                  <a:cubicBezTo>
                    <a:pt x="4225705" y="4121173"/>
                    <a:pt x="4221694" y="4117161"/>
                    <a:pt x="4221694" y="4112212"/>
                  </a:cubicBezTo>
                  <a:cubicBezTo>
                    <a:pt x="4221694" y="4107263"/>
                    <a:pt x="4225705" y="4103252"/>
                    <a:pt x="4230654" y="4103252"/>
                  </a:cubicBezTo>
                  <a:close/>
                  <a:moveTo>
                    <a:pt x="4061912" y="4103252"/>
                  </a:moveTo>
                  <a:cubicBezTo>
                    <a:pt x="4066861" y="4103252"/>
                    <a:pt x="4070873" y="4107263"/>
                    <a:pt x="4070873" y="4112212"/>
                  </a:cubicBezTo>
                  <a:cubicBezTo>
                    <a:pt x="4070873" y="4117161"/>
                    <a:pt x="4066861" y="4121173"/>
                    <a:pt x="4061912" y="4121173"/>
                  </a:cubicBezTo>
                  <a:cubicBezTo>
                    <a:pt x="4056963" y="4121173"/>
                    <a:pt x="4052952" y="4117161"/>
                    <a:pt x="4052952" y="4112212"/>
                  </a:cubicBezTo>
                  <a:cubicBezTo>
                    <a:pt x="4052952" y="4107263"/>
                    <a:pt x="4056963" y="4103252"/>
                    <a:pt x="4061912" y="4103252"/>
                  </a:cubicBezTo>
                  <a:close/>
                  <a:moveTo>
                    <a:pt x="3893170" y="4103252"/>
                  </a:moveTo>
                  <a:cubicBezTo>
                    <a:pt x="3898119" y="4103252"/>
                    <a:pt x="3902131" y="4107263"/>
                    <a:pt x="3902131" y="4112212"/>
                  </a:cubicBezTo>
                  <a:cubicBezTo>
                    <a:pt x="3902131" y="4117161"/>
                    <a:pt x="3898119" y="4121173"/>
                    <a:pt x="3893170" y="4121173"/>
                  </a:cubicBezTo>
                  <a:cubicBezTo>
                    <a:pt x="3888221" y="4121173"/>
                    <a:pt x="3884210" y="4117161"/>
                    <a:pt x="3884210" y="4112212"/>
                  </a:cubicBezTo>
                  <a:cubicBezTo>
                    <a:pt x="3884210" y="4107263"/>
                    <a:pt x="3888221" y="4103252"/>
                    <a:pt x="3893170" y="4103252"/>
                  </a:cubicBezTo>
                  <a:close/>
                  <a:moveTo>
                    <a:pt x="3724429" y="4103252"/>
                  </a:moveTo>
                  <a:cubicBezTo>
                    <a:pt x="3729378" y="4103252"/>
                    <a:pt x="3733390" y="4107263"/>
                    <a:pt x="3733390" y="4112212"/>
                  </a:cubicBezTo>
                  <a:cubicBezTo>
                    <a:pt x="3733390" y="4117161"/>
                    <a:pt x="3729378" y="4121173"/>
                    <a:pt x="3724429" y="4121173"/>
                  </a:cubicBezTo>
                  <a:cubicBezTo>
                    <a:pt x="3719481" y="4121173"/>
                    <a:pt x="3715469" y="4117161"/>
                    <a:pt x="3715469" y="4112212"/>
                  </a:cubicBezTo>
                  <a:cubicBezTo>
                    <a:pt x="3715469" y="4107263"/>
                    <a:pt x="3719481" y="4103252"/>
                    <a:pt x="3724429" y="4103252"/>
                  </a:cubicBezTo>
                  <a:close/>
                  <a:moveTo>
                    <a:pt x="3555688" y="4103252"/>
                  </a:moveTo>
                  <a:cubicBezTo>
                    <a:pt x="3560637" y="4103252"/>
                    <a:pt x="3564649" y="4107263"/>
                    <a:pt x="3564649" y="4112212"/>
                  </a:cubicBezTo>
                  <a:cubicBezTo>
                    <a:pt x="3564649" y="4117161"/>
                    <a:pt x="3560637" y="4121173"/>
                    <a:pt x="3555688" y="4121173"/>
                  </a:cubicBezTo>
                  <a:cubicBezTo>
                    <a:pt x="3550740" y="4121173"/>
                    <a:pt x="3546728" y="4117161"/>
                    <a:pt x="3546728" y="4112212"/>
                  </a:cubicBezTo>
                  <a:cubicBezTo>
                    <a:pt x="3546728" y="4107263"/>
                    <a:pt x="3550740" y="4103252"/>
                    <a:pt x="3555688" y="4103252"/>
                  </a:cubicBezTo>
                  <a:close/>
                  <a:moveTo>
                    <a:pt x="3387038" y="4103252"/>
                  </a:moveTo>
                  <a:cubicBezTo>
                    <a:pt x="3391986" y="4103252"/>
                    <a:pt x="3395998" y="4107263"/>
                    <a:pt x="3395998" y="4112212"/>
                  </a:cubicBezTo>
                  <a:cubicBezTo>
                    <a:pt x="3395998" y="4117161"/>
                    <a:pt x="3391986" y="4121173"/>
                    <a:pt x="3387038" y="4121173"/>
                  </a:cubicBezTo>
                  <a:cubicBezTo>
                    <a:pt x="3382044" y="4121173"/>
                    <a:pt x="3378032" y="4117161"/>
                    <a:pt x="3378032" y="4112212"/>
                  </a:cubicBezTo>
                  <a:cubicBezTo>
                    <a:pt x="3378032" y="4107263"/>
                    <a:pt x="3382044" y="4103252"/>
                    <a:pt x="3387038" y="4103252"/>
                  </a:cubicBezTo>
                  <a:close/>
                  <a:moveTo>
                    <a:pt x="3218279" y="4103252"/>
                  </a:moveTo>
                  <a:cubicBezTo>
                    <a:pt x="3223241" y="4103252"/>
                    <a:pt x="3227249" y="4107263"/>
                    <a:pt x="3227249" y="4112212"/>
                  </a:cubicBezTo>
                  <a:cubicBezTo>
                    <a:pt x="3227249" y="4117161"/>
                    <a:pt x="3223241" y="4121173"/>
                    <a:pt x="3218279" y="4121173"/>
                  </a:cubicBezTo>
                  <a:cubicBezTo>
                    <a:pt x="3213317" y="4121173"/>
                    <a:pt x="3209315" y="4117161"/>
                    <a:pt x="3209315" y="4112212"/>
                  </a:cubicBezTo>
                  <a:cubicBezTo>
                    <a:pt x="3209315" y="4107263"/>
                    <a:pt x="3213317" y="4103252"/>
                    <a:pt x="3218279" y="4103252"/>
                  </a:cubicBezTo>
                  <a:close/>
                  <a:moveTo>
                    <a:pt x="3049570" y="4103252"/>
                  </a:moveTo>
                  <a:cubicBezTo>
                    <a:pt x="3054504" y="4103252"/>
                    <a:pt x="3058517" y="4107263"/>
                    <a:pt x="3058517" y="4112212"/>
                  </a:cubicBezTo>
                  <a:cubicBezTo>
                    <a:pt x="3058517" y="4117161"/>
                    <a:pt x="3054504" y="4121173"/>
                    <a:pt x="3049570" y="4121173"/>
                  </a:cubicBezTo>
                  <a:cubicBezTo>
                    <a:pt x="3044616" y="4121173"/>
                    <a:pt x="3040600" y="4117161"/>
                    <a:pt x="3040600" y="4112212"/>
                  </a:cubicBezTo>
                  <a:cubicBezTo>
                    <a:pt x="3040600" y="4107263"/>
                    <a:pt x="3044616" y="4103252"/>
                    <a:pt x="3049570" y="4103252"/>
                  </a:cubicBezTo>
                  <a:close/>
                  <a:moveTo>
                    <a:pt x="2880839" y="4103252"/>
                  </a:moveTo>
                  <a:cubicBezTo>
                    <a:pt x="2885785" y="4103252"/>
                    <a:pt x="2889797" y="4107263"/>
                    <a:pt x="2889797" y="4112212"/>
                  </a:cubicBezTo>
                  <a:cubicBezTo>
                    <a:pt x="2889797" y="4117161"/>
                    <a:pt x="2885785" y="4121173"/>
                    <a:pt x="2880839" y="4121173"/>
                  </a:cubicBezTo>
                  <a:cubicBezTo>
                    <a:pt x="2875892" y="4121173"/>
                    <a:pt x="2871879" y="4117161"/>
                    <a:pt x="2871879" y="4112212"/>
                  </a:cubicBezTo>
                  <a:cubicBezTo>
                    <a:pt x="2871879" y="4107263"/>
                    <a:pt x="2875892" y="4103252"/>
                    <a:pt x="2880839" y="4103252"/>
                  </a:cubicBezTo>
                  <a:close/>
                  <a:moveTo>
                    <a:pt x="2712076" y="4103252"/>
                  </a:moveTo>
                  <a:cubicBezTo>
                    <a:pt x="2717052" y="4103252"/>
                    <a:pt x="2721059" y="4107263"/>
                    <a:pt x="2721059" y="4112212"/>
                  </a:cubicBezTo>
                  <a:cubicBezTo>
                    <a:pt x="2721059" y="4117161"/>
                    <a:pt x="2717052" y="4121173"/>
                    <a:pt x="2712076" y="4121173"/>
                  </a:cubicBezTo>
                  <a:cubicBezTo>
                    <a:pt x="2707130" y="4121173"/>
                    <a:pt x="2703120" y="4117161"/>
                    <a:pt x="2703120" y="4112212"/>
                  </a:cubicBezTo>
                  <a:cubicBezTo>
                    <a:pt x="2703120" y="4107263"/>
                    <a:pt x="2707130" y="4103252"/>
                    <a:pt x="2712076" y="4103252"/>
                  </a:cubicBezTo>
                  <a:close/>
                  <a:moveTo>
                    <a:pt x="2543382" y="4103252"/>
                  </a:moveTo>
                  <a:cubicBezTo>
                    <a:pt x="2548330" y="4103252"/>
                    <a:pt x="2552342" y="4107263"/>
                    <a:pt x="2552342" y="4112212"/>
                  </a:cubicBezTo>
                  <a:cubicBezTo>
                    <a:pt x="2552342" y="4117161"/>
                    <a:pt x="2548330" y="4121173"/>
                    <a:pt x="2543382" y="4121173"/>
                  </a:cubicBezTo>
                  <a:cubicBezTo>
                    <a:pt x="2538429" y="4121173"/>
                    <a:pt x="2534411" y="4117161"/>
                    <a:pt x="2534411" y="4112212"/>
                  </a:cubicBezTo>
                  <a:cubicBezTo>
                    <a:pt x="2534411" y="4107263"/>
                    <a:pt x="2538429" y="4103252"/>
                    <a:pt x="2543382" y="4103252"/>
                  </a:cubicBezTo>
                  <a:close/>
                  <a:moveTo>
                    <a:pt x="2374595" y="4103252"/>
                  </a:moveTo>
                  <a:cubicBezTo>
                    <a:pt x="2379558" y="4103252"/>
                    <a:pt x="2383593" y="4107263"/>
                    <a:pt x="2383593" y="4112212"/>
                  </a:cubicBezTo>
                  <a:cubicBezTo>
                    <a:pt x="2383593" y="4117161"/>
                    <a:pt x="2379558" y="4121173"/>
                    <a:pt x="2374595" y="4121173"/>
                  </a:cubicBezTo>
                  <a:cubicBezTo>
                    <a:pt x="2369643" y="4121173"/>
                    <a:pt x="2365631" y="4117161"/>
                    <a:pt x="2365631" y="4112212"/>
                  </a:cubicBezTo>
                  <a:cubicBezTo>
                    <a:pt x="2365631" y="4107263"/>
                    <a:pt x="2369643" y="4103252"/>
                    <a:pt x="2374595" y="4103252"/>
                  </a:cubicBezTo>
                  <a:close/>
                  <a:moveTo>
                    <a:pt x="2205887" y="4103252"/>
                  </a:moveTo>
                  <a:cubicBezTo>
                    <a:pt x="2210832" y="4103252"/>
                    <a:pt x="2214842" y="4107263"/>
                    <a:pt x="2214842" y="4112212"/>
                  </a:cubicBezTo>
                  <a:cubicBezTo>
                    <a:pt x="2214842" y="4117161"/>
                    <a:pt x="2210832" y="4121173"/>
                    <a:pt x="2205887" y="4121173"/>
                  </a:cubicBezTo>
                  <a:cubicBezTo>
                    <a:pt x="2200911" y="4121173"/>
                    <a:pt x="2196898" y="4117161"/>
                    <a:pt x="2196898" y="4112212"/>
                  </a:cubicBezTo>
                  <a:cubicBezTo>
                    <a:pt x="2196898" y="4107263"/>
                    <a:pt x="2200911" y="4103252"/>
                    <a:pt x="2205887" y="4103252"/>
                  </a:cubicBezTo>
                  <a:close/>
                  <a:moveTo>
                    <a:pt x="2037142" y="4103252"/>
                  </a:moveTo>
                  <a:cubicBezTo>
                    <a:pt x="2042097" y="4103252"/>
                    <a:pt x="2046086" y="4107263"/>
                    <a:pt x="2046086" y="4112212"/>
                  </a:cubicBezTo>
                  <a:cubicBezTo>
                    <a:pt x="2046086" y="4117161"/>
                    <a:pt x="2042097" y="4121173"/>
                    <a:pt x="2037142" y="4121173"/>
                  </a:cubicBezTo>
                  <a:cubicBezTo>
                    <a:pt x="2032201" y="4121173"/>
                    <a:pt x="2028197" y="4117161"/>
                    <a:pt x="2028197" y="4112212"/>
                  </a:cubicBezTo>
                  <a:cubicBezTo>
                    <a:pt x="2028197" y="4107263"/>
                    <a:pt x="2032201" y="4103252"/>
                    <a:pt x="2037142" y="4103252"/>
                  </a:cubicBezTo>
                  <a:close/>
                  <a:moveTo>
                    <a:pt x="1868428" y="4103252"/>
                  </a:moveTo>
                  <a:cubicBezTo>
                    <a:pt x="1873370" y="4103252"/>
                    <a:pt x="1877380" y="4107263"/>
                    <a:pt x="1877380" y="4112212"/>
                  </a:cubicBezTo>
                  <a:cubicBezTo>
                    <a:pt x="1877380" y="4117161"/>
                    <a:pt x="1873370" y="4121173"/>
                    <a:pt x="1868428" y="4121173"/>
                  </a:cubicBezTo>
                  <a:cubicBezTo>
                    <a:pt x="1863470" y="4121173"/>
                    <a:pt x="1859453" y="4117161"/>
                    <a:pt x="1859453" y="4112212"/>
                  </a:cubicBezTo>
                  <a:cubicBezTo>
                    <a:pt x="1859453" y="4107263"/>
                    <a:pt x="1863470" y="4103252"/>
                    <a:pt x="1868428" y="4103252"/>
                  </a:cubicBezTo>
                  <a:close/>
                  <a:moveTo>
                    <a:pt x="1699676" y="4103252"/>
                  </a:moveTo>
                  <a:cubicBezTo>
                    <a:pt x="1704631" y="4103252"/>
                    <a:pt x="1708645" y="4107263"/>
                    <a:pt x="1708645" y="4112212"/>
                  </a:cubicBezTo>
                  <a:cubicBezTo>
                    <a:pt x="1708645" y="4117161"/>
                    <a:pt x="1704631" y="4121173"/>
                    <a:pt x="1699676" y="4121173"/>
                  </a:cubicBezTo>
                  <a:cubicBezTo>
                    <a:pt x="1694726" y="4121173"/>
                    <a:pt x="1690712" y="4117161"/>
                    <a:pt x="1690712" y="4112212"/>
                  </a:cubicBezTo>
                  <a:cubicBezTo>
                    <a:pt x="1690712" y="4107263"/>
                    <a:pt x="1694726" y="4103252"/>
                    <a:pt x="1699676" y="4103252"/>
                  </a:cubicBezTo>
                  <a:close/>
                  <a:moveTo>
                    <a:pt x="1530936" y="4103252"/>
                  </a:moveTo>
                  <a:cubicBezTo>
                    <a:pt x="1535886" y="4103252"/>
                    <a:pt x="1539898" y="4107263"/>
                    <a:pt x="1539898" y="4112212"/>
                  </a:cubicBezTo>
                  <a:cubicBezTo>
                    <a:pt x="1539898" y="4117161"/>
                    <a:pt x="1535886" y="4121173"/>
                    <a:pt x="1530936" y="4121173"/>
                  </a:cubicBezTo>
                  <a:cubicBezTo>
                    <a:pt x="1525986" y="4121173"/>
                    <a:pt x="1521974" y="4117161"/>
                    <a:pt x="1521974" y="4112212"/>
                  </a:cubicBezTo>
                  <a:cubicBezTo>
                    <a:pt x="1521974" y="4107263"/>
                    <a:pt x="1525986" y="4103252"/>
                    <a:pt x="1530936" y="4103252"/>
                  </a:cubicBezTo>
                  <a:close/>
                  <a:moveTo>
                    <a:pt x="1362186" y="4103252"/>
                  </a:moveTo>
                  <a:cubicBezTo>
                    <a:pt x="1367139" y="4103252"/>
                    <a:pt x="1371147" y="4107263"/>
                    <a:pt x="1371147" y="4112212"/>
                  </a:cubicBezTo>
                  <a:cubicBezTo>
                    <a:pt x="1371147" y="4117161"/>
                    <a:pt x="1367139" y="4121173"/>
                    <a:pt x="1362186" y="4121173"/>
                  </a:cubicBezTo>
                  <a:cubicBezTo>
                    <a:pt x="1357237" y="4121173"/>
                    <a:pt x="1353225" y="4117161"/>
                    <a:pt x="1353225" y="4112212"/>
                  </a:cubicBezTo>
                  <a:cubicBezTo>
                    <a:pt x="1353225" y="4107263"/>
                    <a:pt x="1357237" y="4103252"/>
                    <a:pt x="1362186" y="4103252"/>
                  </a:cubicBezTo>
                  <a:close/>
                  <a:moveTo>
                    <a:pt x="1193444" y="4103252"/>
                  </a:moveTo>
                  <a:cubicBezTo>
                    <a:pt x="1198393" y="4103252"/>
                    <a:pt x="1202405" y="4107263"/>
                    <a:pt x="1202405" y="4112212"/>
                  </a:cubicBezTo>
                  <a:cubicBezTo>
                    <a:pt x="1202405" y="4117161"/>
                    <a:pt x="1198393" y="4121173"/>
                    <a:pt x="1193444" y="4121173"/>
                  </a:cubicBezTo>
                  <a:cubicBezTo>
                    <a:pt x="1188497" y="4121173"/>
                    <a:pt x="1184486" y="4117161"/>
                    <a:pt x="1184486" y="4112212"/>
                  </a:cubicBezTo>
                  <a:cubicBezTo>
                    <a:pt x="1184486" y="4107263"/>
                    <a:pt x="1188497" y="4103252"/>
                    <a:pt x="1193444" y="4103252"/>
                  </a:cubicBezTo>
                  <a:close/>
                  <a:moveTo>
                    <a:pt x="1024692" y="4103252"/>
                  </a:moveTo>
                  <a:cubicBezTo>
                    <a:pt x="1029642" y="4103252"/>
                    <a:pt x="1033658" y="4107263"/>
                    <a:pt x="1033658" y="4112212"/>
                  </a:cubicBezTo>
                  <a:cubicBezTo>
                    <a:pt x="1033658" y="4117161"/>
                    <a:pt x="1029642" y="4121173"/>
                    <a:pt x="1024692" y="4121173"/>
                  </a:cubicBezTo>
                  <a:cubicBezTo>
                    <a:pt x="1019745" y="4121173"/>
                    <a:pt x="1015732" y="4117161"/>
                    <a:pt x="1015732" y="4112212"/>
                  </a:cubicBezTo>
                  <a:cubicBezTo>
                    <a:pt x="1015732" y="4107263"/>
                    <a:pt x="1019745" y="4103252"/>
                    <a:pt x="1024692" y="4103252"/>
                  </a:cubicBezTo>
                  <a:close/>
                  <a:moveTo>
                    <a:pt x="855964" y="4103252"/>
                  </a:moveTo>
                  <a:cubicBezTo>
                    <a:pt x="860911" y="4103252"/>
                    <a:pt x="864924" y="4107263"/>
                    <a:pt x="864924" y="4112212"/>
                  </a:cubicBezTo>
                  <a:cubicBezTo>
                    <a:pt x="864924" y="4117161"/>
                    <a:pt x="860911" y="4121173"/>
                    <a:pt x="855964" y="4121173"/>
                  </a:cubicBezTo>
                  <a:cubicBezTo>
                    <a:pt x="851014" y="4121173"/>
                    <a:pt x="847003" y="4117161"/>
                    <a:pt x="847003" y="4112212"/>
                  </a:cubicBezTo>
                  <a:cubicBezTo>
                    <a:pt x="847003" y="4107263"/>
                    <a:pt x="851014" y="4103252"/>
                    <a:pt x="855964" y="4103252"/>
                  </a:cubicBezTo>
                  <a:close/>
                  <a:moveTo>
                    <a:pt x="687224" y="4103252"/>
                  </a:moveTo>
                  <a:cubicBezTo>
                    <a:pt x="692173" y="4103252"/>
                    <a:pt x="696184" y="4107263"/>
                    <a:pt x="696184" y="4112212"/>
                  </a:cubicBezTo>
                  <a:cubicBezTo>
                    <a:pt x="696184" y="4117161"/>
                    <a:pt x="692173" y="4121173"/>
                    <a:pt x="687224" y="4121173"/>
                  </a:cubicBezTo>
                  <a:cubicBezTo>
                    <a:pt x="682276" y="4121173"/>
                    <a:pt x="678265" y="4117161"/>
                    <a:pt x="678265" y="4112212"/>
                  </a:cubicBezTo>
                  <a:cubicBezTo>
                    <a:pt x="678265" y="4107263"/>
                    <a:pt x="682276" y="4103252"/>
                    <a:pt x="687224" y="4103252"/>
                  </a:cubicBezTo>
                  <a:close/>
                  <a:moveTo>
                    <a:pt x="518458" y="4103252"/>
                  </a:moveTo>
                  <a:cubicBezTo>
                    <a:pt x="523406" y="4103252"/>
                    <a:pt x="527418" y="4107263"/>
                    <a:pt x="527418" y="4112212"/>
                  </a:cubicBezTo>
                  <a:cubicBezTo>
                    <a:pt x="527418" y="4117161"/>
                    <a:pt x="523406" y="4121173"/>
                    <a:pt x="518458" y="4121173"/>
                  </a:cubicBezTo>
                  <a:cubicBezTo>
                    <a:pt x="513509" y="4121173"/>
                    <a:pt x="509497" y="4117161"/>
                    <a:pt x="509497" y="4112212"/>
                  </a:cubicBezTo>
                  <a:cubicBezTo>
                    <a:pt x="509497" y="4107263"/>
                    <a:pt x="513509" y="4103252"/>
                    <a:pt x="518458" y="4103252"/>
                  </a:cubicBezTo>
                  <a:close/>
                  <a:moveTo>
                    <a:pt x="349719" y="4103252"/>
                  </a:moveTo>
                  <a:cubicBezTo>
                    <a:pt x="354668" y="4103252"/>
                    <a:pt x="358680" y="4107263"/>
                    <a:pt x="358680" y="4112212"/>
                  </a:cubicBezTo>
                  <a:cubicBezTo>
                    <a:pt x="358680" y="4117161"/>
                    <a:pt x="354668" y="4121173"/>
                    <a:pt x="349719" y="4121173"/>
                  </a:cubicBezTo>
                  <a:cubicBezTo>
                    <a:pt x="344772" y="4121173"/>
                    <a:pt x="340760" y="4117161"/>
                    <a:pt x="340760" y="4112212"/>
                  </a:cubicBezTo>
                  <a:cubicBezTo>
                    <a:pt x="340760" y="4107263"/>
                    <a:pt x="344772" y="4103252"/>
                    <a:pt x="349719" y="4103252"/>
                  </a:cubicBezTo>
                  <a:close/>
                  <a:moveTo>
                    <a:pt x="179401" y="4103252"/>
                  </a:moveTo>
                  <a:cubicBezTo>
                    <a:pt x="184350" y="4103252"/>
                    <a:pt x="188362" y="4107263"/>
                    <a:pt x="188362" y="4112212"/>
                  </a:cubicBezTo>
                  <a:cubicBezTo>
                    <a:pt x="188362" y="4117161"/>
                    <a:pt x="184350" y="4121173"/>
                    <a:pt x="179401" y="4121173"/>
                  </a:cubicBezTo>
                  <a:cubicBezTo>
                    <a:pt x="174453" y="4121173"/>
                    <a:pt x="170441" y="4117161"/>
                    <a:pt x="170441" y="4112212"/>
                  </a:cubicBezTo>
                  <a:cubicBezTo>
                    <a:pt x="170441" y="4107263"/>
                    <a:pt x="174453" y="4103252"/>
                    <a:pt x="179401" y="4103252"/>
                  </a:cubicBezTo>
                  <a:close/>
                  <a:moveTo>
                    <a:pt x="9084" y="4103252"/>
                  </a:moveTo>
                  <a:cubicBezTo>
                    <a:pt x="14033" y="4103252"/>
                    <a:pt x="18044" y="4107263"/>
                    <a:pt x="18044" y="4112212"/>
                  </a:cubicBezTo>
                  <a:cubicBezTo>
                    <a:pt x="18044" y="4117161"/>
                    <a:pt x="14033" y="4121173"/>
                    <a:pt x="9084" y="4121173"/>
                  </a:cubicBezTo>
                  <a:cubicBezTo>
                    <a:pt x="4136" y="4121173"/>
                    <a:pt x="124" y="4117161"/>
                    <a:pt x="124" y="4112212"/>
                  </a:cubicBezTo>
                  <a:cubicBezTo>
                    <a:pt x="124" y="4107263"/>
                    <a:pt x="4136" y="4103252"/>
                    <a:pt x="9084" y="4103252"/>
                  </a:cubicBezTo>
                  <a:close/>
                  <a:moveTo>
                    <a:pt x="6933679" y="3932270"/>
                  </a:moveTo>
                  <a:cubicBezTo>
                    <a:pt x="6938628" y="3932270"/>
                    <a:pt x="6942639" y="3936281"/>
                    <a:pt x="6942639" y="3941230"/>
                  </a:cubicBezTo>
                  <a:cubicBezTo>
                    <a:pt x="6942639" y="3946179"/>
                    <a:pt x="6938628" y="3950191"/>
                    <a:pt x="6933679" y="3950191"/>
                  </a:cubicBezTo>
                  <a:cubicBezTo>
                    <a:pt x="6928730" y="3950191"/>
                    <a:pt x="6924718" y="3946179"/>
                    <a:pt x="6924718" y="3941230"/>
                  </a:cubicBezTo>
                  <a:cubicBezTo>
                    <a:pt x="6924718" y="3936281"/>
                    <a:pt x="6928730" y="3932270"/>
                    <a:pt x="6933679" y="3932270"/>
                  </a:cubicBezTo>
                  <a:close/>
                  <a:moveTo>
                    <a:pt x="6763357" y="3932270"/>
                  </a:moveTo>
                  <a:cubicBezTo>
                    <a:pt x="6768306" y="3932270"/>
                    <a:pt x="6772318" y="3936281"/>
                    <a:pt x="6772318" y="3941230"/>
                  </a:cubicBezTo>
                  <a:cubicBezTo>
                    <a:pt x="6772318" y="3946179"/>
                    <a:pt x="6768306" y="3950191"/>
                    <a:pt x="6763357" y="3950191"/>
                  </a:cubicBezTo>
                  <a:cubicBezTo>
                    <a:pt x="6758408" y="3950191"/>
                    <a:pt x="6754397" y="3946179"/>
                    <a:pt x="6754397" y="3941230"/>
                  </a:cubicBezTo>
                  <a:cubicBezTo>
                    <a:pt x="6754397" y="3936281"/>
                    <a:pt x="6758408" y="3932270"/>
                    <a:pt x="6763357" y="3932270"/>
                  </a:cubicBezTo>
                  <a:close/>
                  <a:moveTo>
                    <a:pt x="6593035" y="3932270"/>
                  </a:moveTo>
                  <a:cubicBezTo>
                    <a:pt x="6597984" y="3932270"/>
                    <a:pt x="6601996" y="3936281"/>
                    <a:pt x="6601996" y="3941230"/>
                  </a:cubicBezTo>
                  <a:cubicBezTo>
                    <a:pt x="6601996" y="3946179"/>
                    <a:pt x="6597984" y="3950191"/>
                    <a:pt x="6593035" y="3950191"/>
                  </a:cubicBezTo>
                  <a:cubicBezTo>
                    <a:pt x="6588086" y="3950191"/>
                    <a:pt x="6584075" y="3946179"/>
                    <a:pt x="6584075" y="3941230"/>
                  </a:cubicBezTo>
                  <a:cubicBezTo>
                    <a:pt x="6584075" y="3936281"/>
                    <a:pt x="6588086" y="3932270"/>
                    <a:pt x="6593035" y="3932270"/>
                  </a:cubicBezTo>
                  <a:close/>
                  <a:moveTo>
                    <a:pt x="6424294" y="3932270"/>
                  </a:moveTo>
                  <a:cubicBezTo>
                    <a:pt x="6429243" y="3932270"/>
                    <a:pt x="6433255" y="3936281"/>
                    <a:pt x="6433255" y="3941230"/>
                  </a:cubicBezTo>
                  <a:cubicBezTo>
                    <a:pt x="6433255" y="3946179"/>
                    <a:pt x="6429243" y="3950191"/>
                    <a:pt x="6424294" y="3950191"/>
                  </a:cubicBezTo>
                  <a:cubicBezTo>
                    <a:pt x="6419345" y="3950191"/>
                    <a:pt x="6415334" y="3946179"/>
                    <a:pt x="6415334" y="3941230"/>
                  </a:cubicBezTo>
                  <a:cubicBezTo>
                    <a:pt x="6415334" y="3936281"/>
                    <a:pt x="6419345" y="3932270"/>
                    <a:pt x="6424294" y="3932270"/>
                  </a:cubicBezTo>
                  <a:close/>
                  <a:moveTo>
                    <a:pt x="6255553" y="3932270"/>
                  </a:moveTo>
                  <a:cubicBezTo>
                    <a:pt x="6260502" y="3932270"/>
                    <a:pt x="6264514" y="3936281"/>
                    <a:pt x="6264514" y="3941230"/>
                  </a:cubicBezTo>
                  <a:cubicBezTo>
                    <a:pt x="6264514" y="3946179"/>
                    <a:pt x="6260502" y="3950191"/>
                    <a:pt x="6255553" y="3950191"/>
                  </a:cubicBezTo>
                  <a:cubicBezTo>
                    <a:pt x="6250604" y="3950191"/>
                    <a:pt x="6246593" y="3946179"/>
                    <a:pt x="6246593" y="3941230"/>
                  </a:cubicBezTo>
                  <a:cubicBezTo>
                    <a:pt x="6246593" y="3936281"/>
                    <a:pt x="6250604" y="3932270"/>
                    <a:pt x="6255553" y="3932270"/>
                  </a:cubicBezTo>
                  <a:close/>
                  <a:moveTo>
                    <a:pt x="6086811" y="3932270"/>
                  </a:moveTo>
                  <a:cubicBezTo>
                    <a:pt x="6091760" y="3932270"/>
                    <a:pt x="6095772" y="3936281"/>
                    <a:pt x="6095772" y="3941230"/>
                  </a:cubicBezTo>
                  <a:cubicBezTo>
                    <a:pt x="6095772" y="3946179"/>
                    <a:pt x="6091760" y="3950191"/>
                    <a:pt x="6086811" y="3950191"/>
                  </a:cubicBezTo>
                  <a:cubicBezTo>
                    <a:pt x="6081862" y="3950191"/>
                    <a:pt x="6077851" y="3946179"/>
                    <a:pt x="6077851" y="3941230"/>
                  </a:cubicBezTo>
                  <a:cubicBezTo>
                    <a:pt x="6077851" y="3936281"/>
                    <a:pt x="6081862" y="3932270"/>
                    <a:pt x="6086811" y="3932270"/>
                  </a:cubicBezTo>
                  <a:close/>
                  <a:moveTo>
                    <a:pt x="5918069" y="3932270"/>
                  </a:moveTo>
                  <a:cubicBezTo>
                    <a:pt x="5923018" y="3932270"/>
                    <a:pt x="5927030" y="3936281"/>
                    <a:pt x="5927030" y="3941230"/>
                  </a:cubicBezTo>
                  <a:cubicBezTo>
                    <a:pt x="5927030" y="3946179"/>
                    <a:pt x="5923018" y="3950191"/>
                    <a:pt x="5918069" y="3950191"/>
                  </a:cubicBezTo>
                  <a:cubicBezTo>
                    <a:pt x="5913120" y="3950191"/>
                    <a:pt x="5909109" y="3946179"/>
                    <a:pt x="5909109" y="3941230"/>
                  </a:cubicBezTo>
                  <a:cubicBezTo>
                    <a:pt x="5909109" y="3936281"/>
                    <a:pt x="5913120" y="3932270"/>
                    <a:pt x="5918069" y="3932270"/>
                  </a:cubicBezTo>
                  <a:close/>
                  <a:moveTo>
                    <a:pt x="5749328" y="3932270"/>
                  </a:moveTo>
                  <a:cubicBezTo>
                    <a:pt x="5754277" y="3932270"/>
                    <a:pt x="5758289" y="3936281"/>
                    <a:pt x="5758289" y="3941230"/>
                  </a:cubicBezTo>
                  <a:cubicBezTo>
                    <a:pt x="5758289" y="3946179"/>
                    <a:pt x="5754277" y="3950191"/>
                    <a:pt x="5749328" y="3950191"/>
                  </a:cubicBezTo>
                  <a:cubicBezTo>
                    <a:pt x="5744379" y="3950191"/>
                    <a:pt x="5740368" y="3946179"/>
                    <a:pt x="5740368" y="3941230"/>
                  </a:cubicBezTo>
                  <a:cubicBezTo>
                    <a:pt x="5740368" y="3936281"/>
                    <a:pt x="5744379" y="3932270"/>
                    <a:pt x="5749328" y="3932270"/>
                  </a:cubicBezTo>
                  <a:close/>
                  <a:moveTo>
                    <a:pt x="5580586" y="3932270"/>
                  </a:moveTo>
                  <a:cubicBezTo>
                    <a:pt x="5585535" y="3932270"/>
                    <a:pt x="5589547" y="3936281"/>
                    <a:pt x="5589547" y="3941230"/>
                  </a:cubicBezTo>
                  <a:cubicBezTo>
                    <a:pt x="5589547" y="3946179"/>
                    <a:pt x="5585535" y="3950191"/>
                    <a:pt x="5580586" y="3950191"/>
                  </a:cubicBezTo>
                  <a:cubicBezTo>
                    <a:pt x="5575637" y="3950191"/>
                    <a:pt x="5571626" y="3946179"/>
                    <a:pt x="5571626" y="3941230"/>
                  </a:cubicBezTo>
                  <a:cubicBezTo>
                    <a:pt x="5571626" y="3936281"/>
                    <a:pt x="5575637" y="3932270"/>
                    <a:pt x="5580586" y="3932270"/>
                  </a:cubicBezTo>
                  <a:close/>
                  <a:moveTo>
                    <a:pt x="5411845" y="3932270"/>
                  </a:moveTo>
                  <a:cubicBezTo>
                    <a:pt x="5416794" y="3932270"/>
                    <a:pt x="5420806" y="3936281"/>
                    <a:pt x="5420806" y="3941230"/>
                  </a:cubicBezTo>
                  <a:cubicBezTo>
                    <a:pt x="5420806" y="3946179"/>
                    <a:pt x="5416794" y="3950191"/>
                    <a:pt x="5411845" y="3950191"/>
                  </a:cubicBezTo>
                  <a:cubicBezTo>
                    <a:pt x="5406896" y="3950191"/>
                    <a:pt x="5402885" y="3946179"/>
                    <a:pt x="5402885" y="3941230"/>
                  </a:cubicBezTo>
                  <a:cubicBezTo>
                    <a:pt x="5402885" y="3936281"/>
                    <a:pt x="5406896" y="3932270"/>
                    <a:pt x="5411845" y="3932270"/>
                  </a:cubicBezTo>
                  <a:close/>
                  <a:moveTo>
                    <a:pt x="5243103" y="3932270"/>
                  </a:moveTo>
                  <a:cubicBezTo>
                    <a:pt x="5248052" y="3932270"/>
                    <a:pt x="5252064" y="3936281"/>
                    <a:pt x="5252064" y="3941230"/>
                  </a:cubicBezTo>
                  <a:cubicBezTo>
                    <a:pt x="5252064" y="3946179"/>
                    <a:pt x="5248052" y="3950191"/>
                    <a:pt x="5243103" y="3950191"/>
                  </a:cubicBezTo>
                  <a:cubicBezTo>
                    <a:pt x="5238154" y="3950191"/>
                    <a:pt x="5234143" y="3946179"/>
                    <a:pt x="5234143" y="3941230"/>
                  </a:cubicBezTo>
                  <a:cubicBezTo>
                    <a:pt x="5234143" y="3936281"/>
                    <a:pt x="5238154" y="3932270"/>
                    <a:pt x="5243103" y="3932270"/>
                  </a:cubicBezTo>
                  <a:close/>
                  <a:moveTo>
                    <a:pt x="5074362" y="3932270"/>
                  </a:moveTo>
                  <a:cubicBezTo>
                    <a:pt x="5079311" y="3932270"/>
                    <a:pt x="5083323" y="3936281"/>
                    <a:pt x="5083323" y="3941230"/>
                  </a:cubicBezTo>
                  <a:cubicBezTo>
                    <a:pt x="5083323" y="3946179"/>
                    <a:pt x="5079311" y="3950191"/>
                    <a:pt x="5074362" y="3950191"/>
                  </a:cubicBezTo>
                  <a:cubicBezTo>
                    <a:pt x="5069413" y="3950191"/>
                    <a:pt x="5065402" y="3946179"/>
                    <a:pt x="5065402" y="3941230"/>
                  </a:cubicBezTo>
                  <a:cubicBezTo>
                    <a:pt x="5065402" y="3936281"/>
                    <a:pt x="5069413" y="3932270"/>
                    <a:pt x="5074362" y="3932270"/>
                  </a:cubicBezTo>
                  <a:close/>
                  <a:moveTo>
                    <a:pt x="4905620" y="3932270"/>
                  </a:moveTo>
                  <a:cubicBezTo>
                    <a:pt x="4910569" y="3932270"/>
                    <a:pt x="4914581" y="3936281"/>
                    <a:pt x="4914581" y="3941230"/>
                  </a:cubicBezTo>
                  <a:cubicBezTo>
                    <a:pt x="4914581" y="3946179"/>
                    <a:pt x="4910569" y="3950191"/>
                    <a:pt x="4905620" y="3950191"/>
                  </a:cubicBezTo>
                  <a:cubicBezTo>
                    <a:pt x="4900671" y="3950191"/>
                    <a:pt x="4896660" y="3946179"/>
                    <a:pt x="4896660" y="3941230"/>
                  </a:cubicBezTo>
                  <a:cubicBezTo>
                    <a:pt x="4896660" y="3936281"/>
                    <a:pt x="4900671" y="3932270"/>
                    <a:pt x="4905620" y="3932270"/>
                  </a:cubicBezTo>
                  <a:close/>
                  <a:moveTo>
                    <a:pt x="4736878" y="3932270"/>
                  </a:moveTo>
                  <a:cubicBezTo>
                    <a:pt x="4741827" y="3932270"/>
                    <a:pt x="4745839" y="3936281"/>
                    <a:pt x="4745839" y="3941230"/>
                  </a:cubicBezTo>
                  <a:cubicBezTo>
                    <a:pt x="4745839" y="3946179"/>
                    <a:pt x="4741827" y="3950191"/>
                    <a:pt x="4736878" y="3950191"/>
                  </a:cubicBezTo>
                  <a:cubicBezTo>
                    <a:pt x="4731929" y="3950191"/>
                    <a:pt x="4727918" y="3946179"/>
                    <a:pt x="4727918" y="3941230"/>
                  </a:cubicBezTo>
                  <a:cubicBezTo>
                    <a:pt x="4727918" y="3936281"/>
                    <a:pt x="4731929" y="3932270"/>
                    <a:pt x="4736878" y="3932270"/>
                  </a:cubicBezTo>
                  <a:close/>
                  <a:moveTo>
                    <a:pt x="4568137" y="3932270"/>
                  </a:moveTo>
                  <a:cubicBezTo>
                    <a:pt x="4573086" y="3932270"/>
                    <a:pt x="4577098" y="3936281"/>
                    <a:pt x="4577098" y="3941230"/>
                  </a:cubicBezTo>
                  <a:cubicBezTo>
                    <a:pt x="4577098" y="3946179"/>
                    <a:pt x="4573086" y="3950191"/>
                    <a:pt x="4568137" y="3950191"/>
                  </a:cubicBezTo>
                  <a:cubicBezTo>
                    <a:pt x="4563188" y="3950191"/>
                    <a:pt x="4559177" y="3946179"/>
                    <a:pt x="4559177" y="3941230"/>
                  </a:cubicBezTo>
                  <a:cubicBezTo>
                    <a:pt x="4559177" y="3936281"/>
                    <a:pt x="4563188" y="3932270"/>
                    <a:pt x="4568137" y="3932270"/>
                  </a:cubicBezTo>
                  <a:close/>
                  <a:moveTo>
                    <a:pt x="4399396" y="3932270"/>
                  </a:moveTo>
                  <a:cubicBezTo>
                    <a:pt x="4404345" y="3932270"/>
                    <a:pt x="4408357" y="3936281"/>
                    <a:pt x="4408357" y="3941230"/>
                  </a:cubicBezTo>
                  <a:cubicBezTo>
                    <a:pt x="4408357" y="3946179"/>
                    <a:pt x="4404345" y="3950191"/>
                    <a:pt x="4399396" y="3950191"/>
                  </a:cubicBezTo>
                  <a:cubicBezTo>
                    <a:pt x="4394447" y="3950191"/>
                    <a:pt x="4390436" y="3946179"/>
                    <a:pt x="4390436" y="3941230"/>
                  </a:cubicBezTo>
                  <a:cubicBezTo>
                    <a:pt x="4390436" y="3936281"/>
                    <a:pt x="4394447" y="3932270"/>
                    <a:pt x="4399396" y="3932270"/>
                  </a:cubicBezTo>
                  <a:close/>
                  <a:moveTo>
                    <a:pt x="4230654" y="3932270"/>
                  </a:moveTo>
                  <a:cubicBezTo>
                    <a:pt x="4235603" y="3932270"/>
                    <a:pt x="4239615" y="3936281"/>
                    <a:pt x="4239615" y="3941230"/>
                  </a:cubicBezTo>
                  <a:cubicBezTo>
                    <a:pt x="4239615" y="3946179"/>
                    <a:pt x="4235603" y="3950191"/>
                    <a:pt x="4230654" y="3950191"/>
                  </a:cubicBezTo>
                  <a:cubicBezTo>
                    <a:pt x="4225705" y="3950191"/>
                    <a:pt x="4221694" y="3946179"/>
                    <a:pt x="4221694" y="3941230"/>
                  </a:cubicBezTo>
                  <a:cubicBezTo>
                    <a:pt x="4221694" y="3936281"/>
                    <a:pt x="4225705" y="3932270"/>
                    <a:pt x="4230654" y="3932270"/>
                  </a:cubicBezTo>
                  <a:close/>
                  <a:moveTo>
                    <a:pt x="4061912" y="3932270"/>
                  </a:moveTo>
                  <a:cubicBezTo>
                    <a:pt x="4066861" y="3932270"/>
                    <a:pt x="4070873" y="3936281"/>
                    <a:pt x="4070873" y="3941230"/>
                  </a:cubicBezTo>
                  <a:cubicBezTo>
                    <a:pt x="4070873" y="3946179"/>
                    <a:pt x="4066861" y="3950191"/>
                    <a:pt x="4061912" y="3950191"/>
                  </a:cubicBezTo>
                  <a:cubicBezTo>
                    <a:pt x="4056963" y="3950191"/>
                    <a:pt x="4052952" y="3946179"/>
                    <a:pt x="4052952" y="3941230"/>
                  </a:cubicBezTo>
                  <a:cubicBezTo>
                    <a:pt x="4052952" y="3936281"/>
                    <a:pt x="4056963" y="3932270"/>
                    <a:pt x="4061912" y="3932270"/>
                  </a:cubicBezTo>
                  <a:close/>
                  <a:moveTo>
                    <a:pt x="3893170" y="3932270"/>
                  </a:moveTo>
                  <a:cubicBezTo>
                    <a:pt x="3898119" y="3932270"/>
                    <a:pt x="3902131" y="3936281"/>
                    <a:pt x="3902131" y="3941230"/>
                  </a:cubicBezTo>
                  <a:cubicBezTo>
                    <a:pt x="3902131" y="3946179"/>
                    <a:pt x="3898119" y="3950191"/>
                    <a:pt x="3893170" y="3950191"/>
                  </a:cubicBezTo>
                  <a:cubicBezTo>
                    <a:pt x="3888221" y="3950191"/>
                    <a:pt x="3884210" y="3946179"/>
                    <a:pt x="3884210" y="3941230"/>
                  </a:cubicBezTo>
                  <a:cubicBezTo>
                    <a:pt x="3884210" y="3936281"/>
                    <a:pt x="3888221" y="3932270"/>
                    <a:pt x="3893170" y="3932270"/>
                  </a:cubicBezTo>
                  <a:close/>
                  <a:moveTo>
                    <a:pt x="3724429" y="3932270"/>
                  </a:moveTo>
                  <a:cubicBezTo>
                    <a:pt x="3729378" y="3932270"/>
                    <a:pt x="3733390" y="3936281"/>
                    <a:pt x="3733390" y="3941230"/>
                  </a:cubicBezTo>
                  <a:cubicBezTo>
                    <a:pt x="3733390" y="3946179"/>
                    <a:pt x="3729378" y="3950191"/>
                    <a:pt x="3724429" y="3950191"/>
                  </a:cubicBezTo>
                  <a:cubicBezTo>
                    <a:pt x="3719481" y="3950191"/>
                    <a:pt x="3715469" y="3946179"/>
                    <a:pt x="3715469" y="3941230"/>
                  </a:cubicBezTo>
                  <a:cubicBezTo>
                    <a:pt x="3715469" y="3936281"/>
                    <a:pt x="3719481" y="3932270"/>
                    <a:pt x="3724429" y="3932270"/>
                  </a:cubicBezTo>
                  <a:close/>
                  <a:moveTo>
                    <a:pt x="3555688" y="3932270"/>
                  </a:moveTo>
                  <a:cubicBezTo>
                    <a:pt x="3560637" y="3932270"/>
                    <a:pt x="3564649" y="3936281"/>
                    <a:pt x="3564649" y="3941230"/>
                  </a:cubicBezTo>
                  <a:cubicBezTo>
                    <a:pt x="3564649" y="3946179"/>
                    <a:pt x="3560637" y="3950191"/>
                    <a:pt x="3555688" y="3950191"/>
                  </a:cubicBezTo>
                  <a:cubicBezTo>
                    <a:pt x="3550740" y="3950191"/>
                    <a:pt x="3546728" y="3946179"/>
                    <a:pt x="3546728" y="3941230"/>
                  </a:cubicBezTo>
                  <a:cubicBezTo>
                    <a:pt x="3546728" y="3936281"/>
                    <a:pt x="3550740" y="3932270"/>
                    <a:pt x="3555688" y="3932270"/>
                  </a:cubicBezTo>
                  <a:close/>
                  <a:moveTo>
                    <a:pt x="3387041" y="3932270"/>
                  </a:moveTo>
                  <a:cubicBezTo>
                    <a:pt x="3391989" y="3932270"/>
                    <a:pt x="3396001" y="3936281"/>
                    <a:pt x="3396001" y="3941230"/>
                  </a:cubicBezTo>
                  <a:cubicBezTo>
                    <a:pt x="3396001" y="3946179"/>
                    <a:pt x="3391989" y="3950191"/>
                    <a:pt x="3387041" y="3950191"/>
                  </a:cubicBezTo>
                  <a:cubicBezTo>
                    <a:pt x="3382046" y="3950191"/>
                    <a:pt x="3378033" y="3946179"/>
                    <a:pt x="3378033" y="3941230"/>
                  </a:cubicBezTo>
                  <a:cubicBezTo>
                    <a:pt x="3378033" y="3936281"/>
                    <a:pt x="3382046" y="3932270"/>
                    <a:pt x="3387041" y="3932270"/>
                  </a:cubicBezTo>
                  <a:close/>
                  <a:moveTo>
                    <a:pt x="3218282" y="3932270"/>
                  </a:moveTo>
                  <a:cubicBezTo>
                    <a:pt x="3223244" y="3932270"/>
                    <a:pt x="3227252" y="3936281"/>
                    <a:pt x="3227252" y="3941230"/>
                  </a:cubicBezTo>
                  <a:cubicBezTo>
                    <a:pt x="3227252" y="3946179"/>
                    <a:pt x="3223244" y="3950191"/>
                    <a:pt x="3218282" y="3950191"/>
                  </a:cubicBezTo>
                  <a:cubicBezTo>
                    <a:pt x="3213319" y="3950191"/>
                    <a:pt x="3209317" y="3946179"/>
                    <a:pt x="3209317" y="3941230"/>
                  </a:cubicBezTo>
                  <a:cubicBezTo>
                    <a:pt x="3209317" y="3936281"/>
                    <a:pt x="3213319" y="3932270"/>
                    <a:pt x="3218282" y="3932270"/>
                  </a:cubicBezTo>
                  <a:close/>
                  <a:moveTo>
                    <a:pt x="3049573" y="3932270"/>
                  </a:moveTo>
                  <a:cubicBezTo>
                    <a:pt x="3054507" y="3932270"/>
                    <a:pt x="3058520" y="3936281"/>
                    <a:pt x="3058520" y="3941230"/>
                  </a:cubicBezTo>
                  <a:cubicBezTo>
                    <a:pt x="3058520" y="3946179"/>
                    <a:pt x="3054507" y="3950191"/>
                    <a:pt x="3049573" y="3950191"/>
                  </a:cubicBezTo>
                  <a:cubicBezTo>
                    <a:pt x="3044620" y="3950191"/>
                    <a:pt x="3040603" y="3946179"/>
                    <a:pt x="3040603" y="3941230"/>
                  </a:cubicBezTo>
                  <a:cubicBezTo>
                    <a:pt x="3040603" y="3936281"/>
                    <a:pt x="3044620" y="3932270"/>
                    <a:pt x="3049573" y="3932270"/>
                  </a:cubicBezTo>
                  <a:close/>
                  <a:moveTo>
                    <a:pt x="2880842" y="3932270"/>
                  </a:moveTo>
                  <a:cubicBezTo>
                    <a:pt x="2885789" y="3932270"/>
                    <a:pt x="2889801" y="3936281"/>
                    <a:pt x="2889801" y="3941230"/>
                  </a:cubicBezTo>
                  <a:cubicBezTo>
                    <a:pt x="2889801" y="3946179"/>
                    <a:pt x="2885789" y="3950191"/>
                    <a:pt x="2880842" y="3950191"/>
                  </a:cubicBezTo>
                  <a:cubicBezTo>
                    <a:pt x="2875896" y="3950191"/>
                    <a:pt x="2871883" y="3946179"/>
                    <a:pt x="2871883" y="3941230"/>
                  </a:cubicBezTo>
                  <a:cubicBezTo>
                    <a:pt x="2871883" y="3936281"/>
                    <a:pt x="2875896" y="3932270"/>
                    <a:pt x="2880842" y="3932270"/>
                  </a:cubicBezTo>
                  <a:close/>
                  <a:moveTo>
                    <a:pt x="2712079" y="3932270"/>
                  </a:moveTo>
                  <a:cubicBezTo>
                    <a:pt x="2717055" y="3932270"/>
                    <a:pt x="2721062" y="3936281"/>
                    <a:pt x="2721062" y="3941230"/>
                  </a:cubicBezTo>
                  <a:cubicBezTo>
                    <a:pt x="2721062" y="3946179"/>
                    <a:pt x="2717055" y="3950191"/>
                    <a:pt x="2712079" y="3950191"/>
                  </a:cubicBezTo>
                  <a:cubicBezTo>
                    <a:pt x="2707133" y="3950191"/>
                    <a:pt x="2703123" y="3946179"/>
                    <a:pt x="2703123" y="3941230"/>
                  </a:cubicBezTo>
                  <a:cubicBezTo>
                    <a:pt x="2703123" y="3936281"/>
                    <a:pt x="2707133" y="3932270"/>
                    <a:pt x="2712079" y="3932270"/>
                  </a:cubicBezTo>
                  <a:close/>
                  <a:moveTo>
                    <a:pt x="2543387" y="3932270"/>
                  </a:moveTo>
                  <a:cubicBezTo>
                    <a:pt x="2548334" y="3932270"/>
                    <a:pt x="2552348" y="3936281"/>
                    <a:pt x="2552348" y="3941230"/>
                  </a:cubicBezTo>
                  <a:cubicBezTo>
                    <a:pt x="2552348" y="3946179"/>
                    <a:pt x="2548334" y="3950191"/>
                    <a:pt x="2543387" y="3950191"/>
                  </a:cubicBezTo>
                  <a:cubicBezTo>
                    <a:pt x="2538433" y="3950191"/>
                    <a:pt x="2534416" y="3946179"/>
                    <a:pt x="2534416" y="3941230"/>
                  </a:cubicBezTo>
                  <a:cubicBezTo>
                    <a:pt x="2534416" y="3936281"/>
                    <a:pt x="2538433" y="3932270"/>
                    <a:pt x="2543387" y="3932270"/>
                  </a:cubicBezTo>
                  <a:close/>
                  <a:moveTo>
                    <a:pt x="2374598" y="3932270"/>
                  </a:moveTo>
                  <a:cubicBezTo>
                    <a:pt x="2379562" y="3932270"/>
                    <a:pt x="2383597" y="3936281"/>
                    <a:pt x="2383597" y="3941230"/>
                  </a:cubicBezTo>
                  <a:cubicBezTo>
                    <a:pt x="2383597" y="3946179"/>
                    <a:pt x="2379562" y="3950191"/>
                    <a:pt x="2374598" y="3950191"/>
                  </a:cubicBezTo>
                  <a:cubicBezTo>
                    <a:pt x="2369646" y="3950191"/>
                    <a:pt x="2365634" y="3946179"/>
                    <a:pt x="2365634" y="3941230"/>
                  </a:cubicBezTo>
                  <a:cubicBezTo>
                    <a:pt x="2365634" y="3936281"/>
                    <a:pt x="2369646" y="3932270"/>
                    <a:pt x="2374598" y="3932270"/>
                  </a:cubicBezTo>
                  <a:close/>
                  <a:moveTo>
                    <a:pt x="2205891" y="3932270"/>
                  </a:moveTo>
                  <a:cubicBezTo>
                    <a:pt x="2210836" y="3932270"/>
                    <a:pt x="2214847" y="3936281"/>
                    <a:pt x="2214847" y="3941230"/>
                  </a:cubicBezTo>
                  <a:cubicBezTo>
                    <a:pt x="2214847" y="3946179"/>
                    <a:pt x="2210836" y="3950191"/>
                    <a:pt x="2205891" y="3950191"/>
                  </a:cubicBezTo>
                  <a:cubicBezTo>
                    <a:pt x="2200914" y="3950191"/>
                    <a:pt x="2196901" y="3946179"/>
                    <a:pt x="2196901" y="3941230"/>
                  </a:cubicBezTo>
                  <a:cubicBezTo>
                    <a:pt x="2196901" y="3936281"/>
                    <a:pt x="2200914" y="3932270"/>
                    <a:pt x="2205891" y="3932270"/>
                  </a:cubicBezTo>
                  <a:close/>
                  <a:moveTo>
                    <a:pt x="2037145" y="3932270"/>
                  </a:moveTo>
                  <a:cubicBezTo>
                    <a:pt x="2042103" y="3932270"/>
                    <a:pt x="2046089" y="3936281"/>
                    <a:pt x="2046089" y="3941230"/>
                  </a:cubicBezTo>
                  <a:cubicBezTo>
                    <a:pt x="2046089" y="3946179"/>
                    <a:pt x="2042103" y="3950191"/>
                    <a:pt x="2037145" y="3950191"/>
                  </a:cubicBezTo>
                  <a:cubicBezTo>
                    <a:pt x="2032205" y="3950191"/>
                    <a:pt x="2028202" y="3946179"/>
                    <a:pt x="2028202" y="3941230"/>
                  </a:cubicBezTo>
                  <a:cubicBezTo>
                    <a:pt x="2028202" y="3936281"/>
                    <a:pt x="2032205" y="3932270"/>
                    <a:pt x="2037145" y="3932270"/>
                  </a:cubicBezTo>
                  <a:close/>
                  <a:moveTo>
                    <a:pt x="1868433" y="3932270"/>
                  </a:moveTo>
                  <a:cubicBezTo>
                    <a:pt x="1873374" y="3932270"/>
                    <a:pt x="1877384" y="3936281"/>
                    <a:pt x="1877384" y="3941230"/>
                  </a:cubicBezTo>
                  <a:cubicBezTo>
                    <a:pt x="1877384" y="3946179"/>
                    <a:pt x="1873374" y="3950191"/>
                    <a:pt x="1868433" y="3950191"/>
                  </a:cubicBezTo>
                  <a:cubicBezTo>
                    <a:pt x="1863475" y="3950191"/>
                    <a:pt x="1859458" y="3946179"/>
                    <a:pt x="1859458" y="3941230"/>
                  </a:cubicBezTo>
                  <a:cubicBezTo>
                    <a:pt x="1859458" y="3936281"/>
                    <a:pt x="1863475" y="3932270"/>
                    <a:pt x="1868433" y="3932270"/>
                  </a:cubicBezTo>
                  <a:close/>
                  <a:moveTo>
                    <a:pt x="1699682" y="3932270"/>
                  </a:moveTo>
                  <a:cubicBezTo>
                    <a:pt x="1704636" y="3932270"/>
                    <a:pt x="1708650" y="3936281"/>
                    <a:pt x="1708650" y="3941230"/>
                  </a:cubicBezTo>
                  <a:cubicBezTo>
                    <a:pt x="1708650" y="3946179"/>
                    <a:pt x="1704636" y="3950191"/>
                    <a:pt x="1699682" y="3950191"/>
                  </a:cubicBezTo>
                  <a:cubicBezTo>
                    <a:pt x="1694730" y="3950191"/>
                    <a:pt x="1690716" y="3946179"/>
                    <a:pt x="1690716" y="3941230"/>
                  </a:cubicBezTo>
                  <a:cubicBezTo>
                    <a:pt x="1690716" y="3936281"/>
                    <a:pt x="1694730" y="3932270"/>
                    <a:pt x="1699682" y="3932270"/>
                  </a:cubicBezTo>
                  <a:close/>
                  <a:moveTo>
                    <a:pt x="1530941" y="3932270"/>
                  </a:moveTo>
                  <a:cubicBezTo>
                    <a:pt x="1535891" y="3932270"/>
                    <a:pt x="1539902" y="3936281"/>
                    <a:pt x="1539902" y="3941230"/>
                  </a:cubicBezTo>
                  <a:cubicBezTo>
                    <a:pt x="1539902" y="3946179"/>
                    <a:pt x="1535891" y="3950191"/>
                    <a:pt x="1530941" y="3950191"/>
                  </a:cubicBezTo>
                  <a:cubicBezTo>
                    <a:pt x="1525991" y="3950191"/>
                    <a:pt x="1521979" y="3946179"/>
                    <a:pt x="1521979" y="3941230"/>
                  </a:cubicBezTo>
                  <a:cubicBezTo>
                    <a:pt x="1521979" y="3936281"/>
                    <a:pt x="1525991" y="3932270"/>
                    <a:pt x="1530941" y="3932270"/>
                  </a:cubicBezTo>
                  <a:close/>
                  <a:moveTo>
                    <a:pt x="1362190" y="3932270"/>
                  </a:moveTo>
                  <a:cubicBezTo>
                    <a:pt x="1367143" y="3932270"/>
                    <a:pt x="1371152" y="3936281"/>
                    <a:pt x="1371152" y="3941230"/>
                  </a:cubicBezTo>
                  <a:cubicBezTo>
                    <a:pt x="1371152" y="3946179"/>
                    <a:pt x="1367143" y="3950191"/>
                    <a:pt x="1362190" y="3950191"/>
                  </a:cubicBezTo>
                  <a:cubicBezTo>
                    <a:pt x="1357241" y="3950191"/>
                    <a:pt x="1353229" y="3946179"/>
                    <a:pt x="1353229" y="3941230"/>
                  </a:cubicBezTo>
                  <a:cubicBezTo>
                    <a:pt x="1353229" y="3936281"/>
                    <a:pt x="1357241" y="3932270"/>
                    <a:pt x="1362190" y="3932270"/>
                  </a:cubicBezTo>
                  <a:close/>
                  <a:moveTo>
                    <a:pt x="1193449" y="3932270"/>
                  </a:moveTo>
                  <a:cubicBezTo>
                    <a:pt x="1198397" y="3932270"/>
                    <a:pt x="1202409" y="3936281"/>
                    <a:pt x="1202409" y="3941230"/>
                  </a:cubicBezTo>
                  <a:cubicBezTo>
                    <a:pt x="1202409" y="3946179"/>
                    <a:pt x="1198397" y="3950191"/>
                    <a:pt x="1193449" y="3950191"/>
                  </a:cubicBezTo>
                  <a:cubicBezTo>
                    <a:pt x="1188501" y="3950191"/>
                    <a:pt x="1184490" y="3946179"/>
                    <a:pt x="1184490" y="3941230"/>
                  </a:cubicBezTo>
                  <a:cubicBezTo>
                    <a:pt x="1184490" y="3936281"/>
                    <a:pt x="1188501" y="3932270"/>
                    <a:pt x="1193449" y="3932270"/>
                  </a:cubicBezTo>
                  <a:close/>
                  <a:moveTo>
                    <a:pt x="1024696" y="3932270"/>
                  </a:moveTo>
                  <a:cubicBezTo>
                    <a:pt x="1029647" y="3932270"/>
                    <a:pt x="1033663" y="3936281"/>
                    <a:pt x="1033663" y="3941230"/>
                  </a:cubicBezTo>
                  <a:cubicBezTo>
                    <a:pt x="1033663" y="3946179"/>
                    <a:pt x="1029647" y="3950191"/>
                    <a:pt x="1024696" y="3950191"/>
                  </a:cubicBezTo>
                  <a:cubicBezTo>
                    <a:pt x="1019748" y="3950191"/>
                    <a:pt x="1015737" y="3946179"/>
                    <a:pt x="1015737" y="3941230"/>
                  </a:cubicBezTo>
                  <a:cubicBezTo>
                    <a:pt x="1015737" y="3936281"/>
                    <a:pt x="1019748" y="3932270"/>
                    <a:pt x="1024696" y="3932270"/>
                  </a:cubicBezTo>
                  <a:close/>
                  <a:moveTo>
                    <a:pt x="855968" y="3932270"/>
                  </a:moveTo>
                  <a:cubicBezTo>
                    <a:pt x="860916" y="3932270"/>
                    <a:pt x="864928" y="3936281"/>
                    <a:pt x="864928" y="3941230"/>
                  </a:cubicBezTo>
                  <a:cubicBezTo>
                    <a:pt x="864928" y="3946179"/>
                    <a:pt x="860916" y="3950191"/>
                    <a:pt x="855968" y="3950191"/>
                  </a:cubicBezTo>
                  <a:cubicBezTo>
                    <a:pt x="851019" y="3950191"/>
                    <a:pt x="847008" y="3946179"/>
                    <a:pt x="847008" y="3941230"/>
                  </a:cubicBezTo>
                  <a:cubicBezTo>
                    <a:pt x="847008" y="3936281"/>
                    <a:pt x="851019" y="3932270"/>
                    <a:pt x="855968" y="3932270"/>
                  </a:cubicBezTo>
                  <a:close/>
                  <a:moveTo>
                    <a:pt x="687229" y="3932270"/>
                  </a:moveTo>
                  <a:cubicBezTo>
                    <a:pt x="692177" y="3932270"/>
                    <a:pt x="696189" y="3936281"/>
                    <a:pt x="696189" y="3941230"/>
                  </a:cubicBezTo>
                  <a:cubicBezTo>
                    <a:pt x="696189" y="3946179"/>
                    <a:pt x="692177" y="3950191"/>
                    <a:pt x="687229" y="3950191"/>
                  </a:cubicBezTo>
                  <a:cubicBezTo>
                    <a:pt x="682280" y="3950191"/>
                    <a:pt x="678270" y="3946179"/>
                    <a:pt x="678270" y="3941230"/>
                  </a:cubicBezTo>
                  <a:cubicBezTo>
                    <a:pt x="678270" y="3936281"/>
                    <a:pt x="682280" y="3932270"/>
                    <a:pt x="687229" y="3932270"/>
                  </a:cubicBezTo>
                  <a:close/>
                  <a:moveTo>
                    <a:pt x="518462" y="3932270"/>
                  </a:moveTo>
                  <a:cubicBezTo>
                    <a:pt x="523410" y="3932270"/>
                    <a:pt x="527422" y="3936281"/>
                    <a:pt x="527422" y="3941230"/>
                  </a:cubicBezTo>
                  <a:cubicBezTo>
                    <a:pt x="527422" y="3946179"/>
                    <a:pt x="523410" y="3950191"/>
                    <a:pt x="518462" y="3950191"/>
                  </a:cubicBezTo>
                  <a:cubicBezTo>
                    <a:pt x="513513" y="3950191"/>
                    <a:pt x="509501" y="3946179"/>
                    <a:pt x="509501" y="3941230"/>
                  </a:cubicBezTo>
                  <a:cubicBezTo>
                    <a:pt x="509501" y="3936281"/>
                    <a:pt x="513513" y="3932270"/>
                    <a:pt x="518462" y="3932270"/>
                  </a:cubicBezTo>
                  <a:close/>
                  <a:moveTo>
                    <a:pt x="349723" y="3932270"/>
                  </a:moveTo>
                  <a:cubicBezTo>
                    <a:pt x="354672" y="3932270"/>
                    <a:pt x="358684" y="3936281"/>
                    <a:pt x="358684" y="3941230"/>
                  </a:cubicBezTo>
                  <a:cubicBezTo>
                    <a:pt x="358684" y="3946179"/>
                    <a:pt x="354672" y="3950191"/>
                    <a:pt x="349723" y="3950191"/>
                  </a:cubicBezTo>
                  <a:cubicBezTo>
                    <a:pt x="344775" y="3950191"/>
                    <a:pt x="340764" y="3946179"/>
                    <a:pt x="340764" y="3941230"/>
                  </a:cubicBezTo>
                  <a:cubicBezTo>
                    <a:pt x="340764" y="3936281"/>
                    <a:pt x="344775" y="3932270"/>
                    <a:pt x="349723" y="3932270"/>
                  </a:cubicBezTo>
                  <a:close/>
                  <a:moveTo>
                    <a:pt x="179405" y="3932270"/>
                  </a:moveTo>
                  <a:cubicBezTo>
                    <a:pt x="184354" y="3932270"/>
                    <a:pt x="188366" y="3936281"/>
                    <a:pt x="188366" y="3941230"/>
                  </a:cubicBezTo>
                  <a:cubicBezTo>
                    <a:pt x="188366" y="3946179"/>
                    <a:pt x="184354" y="3950191"/>
                    <a:pt x="179405" y="3950191"/>
                  </a:cubicBezTo>
                  <a:cubicBezTo>
                    <a:pt x="174457" y="3950191"/>
                    <a:pt x="170445" y="3946179"/>
                    <a:pt x="170445" y="3941230"/>
                  </a:cubicBezTo>
                  <a:cubicBezTo>
                    <a:pt x="170445" y="3936281"/>
                    <a:pt x="174457" y="3932270"/>
                    <a:pt x="179405" y="3932270"/>
                  </a:cubicBezTo>
                  <a:close/>
                  <a:moveTo>
                    <a:pt x="9088" y="3932270"/>
                  </a:moveTo>
                  <a:cubicBezTo>
                    <a:pt x="14037" y="3932270"/>
                    <a:pt x="18048" y="3936281"/>
                    <a:pt x="18048" y="3941230"/>
                  </a:cubicBezTo>
                  <a:cubicBezTo>
                    <a:pt x="18048" y="3946179"/>
                    <a:pt x="14037" y="3950191"/>
                    <a:pt x="9088" y="3950191"/>
                  </a:cubicBezTo>
                  <a:cubicBezTo>
                    <a:pt x="4140" y="3950191"/>
                    <a:pt x="128" y="3946179"/>
                    <a:pt x="128" y="3941230"/>
                  </a:cubicBezTo>
                  <a:cubicBezTo>
                    <a:pt x="128" y="3936281"/>
                    <a:pt x="4140" y="3932270"/>
                    <a:pt x="9088" y="3932270"/>
                  </a:cubicBezTo>
                  <a:close/>
                  <a:moveTo>
                    <a:pt x="349727" y="3761531"/>
                  </a:moveTo>
                  <a:cubicBezTo>
                    <a:pt x="354676" y="3761531"/>
                    <a:pt x="358688" y="3765542"/>
                    <a:pt x="358688" y="3770491"/>
                  </a:cubicBezTo>
                  <a:cubicBezTo>
                    <a:pt x="358688" y="3775439"/>
                    <a:pt x="354676" y="3779451"/>
                    <a:pt x="349727" y="3779451"/>
                  </a:cubicBezTo>
                  <a:cubicBezTo>
                    <a:pt x="344779" y="3779451"/>
                    <a:pt x="340768" y="3775439"/>
                    <a:pt x="340768" y="3770491"/>
                  </a:cubicBezTo>
                  <a:cubicBezTo>
                    <a:pt x="340768" y="3765542"/>
                    <a:pt x="344779" y="3761531"/>
                    <a:pt x="349727" y="3761531"/>
                  </a:cubicBezTo>
                  <a:close/>
                  <a:moveTo>
                    <a:pt x="179409" y="3761531"/>
                  </a:moveTo>
                  <a:cubicBezTo>
                    <a:pt x="184358" y="3761531"/>
                    <a:pt x="188370" y="3765542"/>
                    <a:pt x="188370" y="3770491"/>
                  </a:cubicBezTo>
                  <a:cubicBezTo>
                    <a:pt x="188370" y="3775439"/>
                    <a:pt x="184358" y="3779451"/>
                    <a:pt x="179409" y="3779451"/>
                  </a:cubicBezTo>
                  <a:cubicBezTo>
                    <a:pt x="174461" y="3779451"/>
                    <a:pt x="170449" y="3775439"/>
                    <a:pt x="170449" y="3770491"/>
                  </a:cubicBezTo>
                  <a:cubicBezTo>
                    <a:pt x="170449" y="3765542"/>
                    <a:pt x="174461" y="3761531"/>
                    <a:pt x="179409" y="3761531"/>
                  </a:cubicBezTo>
                  <a:close/>
                  <a:moveTo>
                    <a:pt x="9093" y="3761530"/>
                  </a:moveTo>
                  <a:cubicBezTo>
                    <a:pt x="14041" y="3761530"/>
                    <a:pt x="18052" y="3765542"/>
                    <a:pt x="18052" y="3770491"/>
                  </a:cubicBezTo>
                  <a:cubicBezTo>
                    <a:pt x="18052" y="3775439"/>
                    <a:pt x="14041" y="3779451"/>
                    <a:pt x="9093" y="3779451"/>
                  </a:cubicBezTo>
                  <a:cubicBezTo>
                    <a:pt x="4144" y="3779451"/>
                    <a:pt x="132" y="3775439"/>
                    <a:pt x="132" y="3770491"/>
                  </a:cubicBezTo>
                  <a:cubicBezTo>
                    <a:pt x="132" y="3765542"/>
                    <a:pt x="4144" y="3761530"/>
                    <a:pt x="9093" y="3761530"/>
                  </a:cubicBezTo>
                  <a:close/>
                  <a:moveTo>
                    <a:pt x="687233" y="3761530"/>
                  </a:moveTo>
                  <a:cubicBezTo>
                    <a:pt x="692182" y="3761530"/>
                    <a:pt x="696194" y="3765542"/>
                    <a:pt x="696194" y="3770490"/>
                  </a:cubicBezTo>
                  <a:cubicBezTo>
                    <a:pt x="696194" y="3775439"/>
                    <a:pt x="692182" y="3779450"/>
                    <a:pt x="687233" y="3779450"/>
                  </a:cubicBezTo>
                  <a:cubicBezTo>
                    <a:pt x="682285" y="3779450"/>
                    <a:pt x="678274" y="3775439"/>
                    <a:pt x="678274" y="3770490"/>
                  </a:cubicBezTo>
                  <a:cubicBezTo>
                    <a:pt x="678274" y="3765542"/>
                    <a:pt x="682285" y="3761530"/>
                    <a:pt x="687233" y="3761530"/>
                  </a:cubicBezTo>
                  <a:close/>
                  <a:moveTo>
                    <a:pt x="518465" y="3761530"/>
                  </a:moveTo>
                  <a:cubicBezTo>
                    <a:pt x="523414" y="3761530"/>
                    <a:pt x="527426" y="3765542"/>
                    <a:pt x="527426" y="3770490"/>
                  </a:cubicBezTo>
                  <a:cubicBezTo>
                    <a:pt x="527426" y="3775439"/>
                    <a:pt x="523414" y="3779450"/>
                    <a:pt x="518465" y="3779450"/>
                  </a:cubicBezTo>
                  <a:cubicBezTo>
                    <a:pt x="513517" y="3779450"/>
                    <a:pt x="509505" y="3775439"/>
                    <a:pt x="509505" y="3770490"/>
                  </a:cubicBezTo>
                  <a:cubicBezTo>
                    <a:pt x="509505" y="3765542"/>
                    <a:pt x="513517" y="3761530"/>
                    <a:pt x="518465" y="3761530"/>
                  </a:cubicBezTo>
                  <a:close/>
                  <a:moveTo>
                    <a:pt x="1024700" y="3761530"/>
                  </a:moveTo>
                  <a:cubicBezTo>
                    <a:pt x="1029651" y="3761530"/>
                    <a:pt x="1033667" y="3765541"/>
                    <a:pt x="1033667" y="3770490"/>
                  </a:cubicBezTo>
                  <a:cubicBezTo>
                    <a:pt x="1033667" y="3775438"/>
                    <a:pt x="1029651" y="3779450"/>
                    <a:pt x="1024700" y="3779450"/>
                  </a:cubicBezTo>
                  <a:cubicBezTo>
                    <a:pt x="1019752" y="3779450"/>
                    <a:pt x="1015741" y="3775438"/>
                    <a:pt x="1015741" y="3770490"/>
                  </a:cubicBezTo>
                  <a:cubicBezTo>
                    <a:pt x="1015741" y="3765541"/>
                    <a:pt x="1019752" y="3761530"/>
                    <a:pt x="1024700" y="3761530"/>
                  </a:cubicBezTo>
                  <a:close/>
                  <a:moveTo>
                    <a:pt x="855973" y="3761530"/>
                  </a:moveTo>
                  <a:cubicBezTo>
                    <a:pt x="860920" y="3761530"/>
                    <a:pt x="864933" y="3765542"/>
                    <a:pt x="864933" y="3770490"/>
                  </a:cubicBezTo>
                  <a:cubicBezTo>
                    <a:pt x="864933" y="3775438"/>
                    <a:pt x="860920" y="3779450"/>
                    <a:pt x="855973" y="3779450"/>
                  </a:cubicBezTo>
                  <a:cubicBezTo>
                    <a:pt x="851023" y="3779450"/>
                    <a:pt x="847013" y="3775438"/>
                    <a:pt x="847013" y="3770490"/>
                  </a:cubicBezTo>
                  <a:cubicBezTo>
                    <a:pt x="847013" y="3765542"/>
                    <a:pt x="851023" y="3761530"/>
                    <a:pt x="855973" y="3761530"/>
                  </a:cubicBezTo>
                  <a:close/>
                  <a:moveTo>
                    <a:pt x="1193453" y="3761530"/>
                  </a:moveTo>
                  <a:cubicBezTo>
                    <a:pt x="1198402" y="3761530"/>
                    <a:pt x="1202414" y="3765541"/>
                    <a:pt x="1202414" y="3770490"/>
                  </a:cubicBezTo>
                  <a:cubicBezTo>
                    <a:pt x="1202414" y="3775438"/>
                    <a:pt x="1198402" y="3779450"/>
                    <a:pt x="1193453" y="3779450"/>
                  </a:cubicBezTo>
                  <a:cubicBezTo>
                    <a:pt x="1188506" y="3779450"/>
                    <a:pt x="1184495" y="3775438"/>
                    <a:pt x="1184495" y="3770490"/>
                  </a:cubicBezTo>
                  <a:cubicBezTo>
                    <a:pt x="1184495" y="3765541"/>
                    <a:pt x="1188506" y="3761530"/>
                    <a:pt x="1193453" y="3761530"/>
                  </a:cubicBezTo>
                  <a:close/>
                  <a:moveTo>
                    <a:pt x="1530945" y="3761529"/>
                  </a:moveTo>
                  <a:cubicBezTo>
                    <a:pt x="1535896" y="3761529"/>
                    <a:pt x="1539907" y="3765541"/>
                    <a:pt x="1539907" y="3770489"/>
                  </a:cubicBezTo>
                  <a:cubicBezTo>
                    <a:pt x="1539907" y="3775438"/>
                    <a:pt x="1535896" y="3779450"/>
                    <a:pt x="1530945" y="3779450"/>
                  </a:cubicBezTo>
                  <a:cubicBezTo>
                    <a:pt x="1525995" y="3779450"/>
                    <a:pt x="1521984" y="3775438"/>
                    <a:pt x="1521984" y="3770489"/>
                  </a:cubicBezTo>
                  <a:cubicBezTo>
                    <a:pt x="1521984" y="3765541"/>
                    <a:pt x="1525995" y="3761529"/>
                    <a:pt x="1530945" y="3761529"/>
                  </a:cubicBezTo>
                  <a:close/>
                  <a:moveTo>
                    <a:pt x="1362195" y="3761529"/>
                  </a:moveTo>
                  <a:cubicBezTo>
                    <a:pt x="1367148" y="3761529"/>
                    <a:pt x="1371157" y="3765541"/>
                    <a:pt x="1371157" y="3770489"/>
                  </a:cubicBezTo>
                  <a:cubicBezTo>
                    <a:pt x="1371157" y="3775438"/>
                    <a:pt x="1367148" y="3779450"/>
                    <a:pt x="1362195" y="3779450"/>
                  </a:cubicBezTo>
                  <a:cubicBezTo>
                    <a:pt x="1357246" y="3779450"/>
                    <a:pt x="1353234" y="3775438"/>
                    <a:pt x="1353234" y="3770489"/>
                  </a:cubicBezTo>
                  <a:cubicBezTo>
                    <a:pt x="1353234" y="3765541"/>
                    <a:pt x="1357246" y="3761529"/>
                    <a:pt x="1362195" y="3761529"/>
                  </a:cubicBezTo>
                  <a:close/>
                  <a:moveTo>
                    <a:pt x="1868438" y="3761529"/>
                  </a:moveTo>
                  <a:cubicBezTo>
                    <a:pt x="1873379" y="3761529"/>
                    <a:pt x="1877390" y="3765541"/>
                    <a:pt x="1877390" y="3770489"/>
                  </a:cubicBezTo>
                  <a:cubicBezTo>
                    <a:pt x="1877390" y="3775438"/>
                    <a:pt x="1873379" y="3779449"/>
                    <a:pt x="1868438" y="3779449"/>
                  </a:cubicBezTo>
                  <a:cubicBezTo>
                    <a:pt x="1863480" y="3779449"/>
                    <a:pt x="1859464" y="3775438"/>
                    <a:pt x="1859464" y="3770489"/>
                  </a:cubicBezTo>
                  <a:cubicBezTo>
                    <a:pt x="1859464" y="3765541"/>
                    <a:pt x="1863480" y="3761529"/>
                    <a:pt x="1868438" y="3761529"/>
                  </a:cubicBezTo>
                  <a:close/>
                  <a:moveTo>
                    <a:pt x="1699687" y="3761529"/>
                  </a:moveTo>
                  <a:cubicBezTo>
                    <a:pt x="1704640" y="3761529"/>
                    <a:pt x="1708654" y="3765541"/>
                    <a:pt x="1708654" y="3770489"/>
                  </a:cubicBezTo>
                  <a:cubicBezTo>
                    <a:pt x="1708654" y="3775438"/>
                    <a:pt x="1704640" y="3779449"/>
                    <a:pt x="1699687" y="3779449"/>
                  </a:cubicBezTo>
                  <a:cubicBezTo>
                    <a:pt x="1694735" y="3779449"/>
                    <a:pt x="1690721" y="3775438"/>
                    <a:pt x="1690721" y="3770489"/>
                  </a:cubicBezTo>
                  <a:cubicBezTo>
                    <a:pt x="1690721" y="3765541"/>
                    <a:pt x="1694735" y="3761529"/>
                    <a:pt x="1699687" y="3761529"/>
                  </a:cubicBezTo>
                  <a:close/>
                  <a:moveTo>
                    <a:pt x="2205894" y="3761529"/>
                  </a:moveTo>
                  <a:cubicBezTo>
                    <a:pt x="2210840" y="3761529"/>
                    <a:pt x="2214851" y="3765540"/>
                    <a:pt x="2214851" y="3770489"/>
                  </a:cubicBezTo>
                  <a:cubicBezTo>
                    <a:pt x="2214851" y="3775437"/>
                    <a:pt x="2210840" y="3779449"/>
                    <a:pt x="2205894" y="3779449"/>
                  </a:cubicBezTo>
                  <a:cubicBezTo>
                    <a:pt x="2200918" y="3779449"/>
                    <a:pt x="2196904" y="3775437"/>
                    <a:pt x="2196904" y="3770489"/>
                  </a:cubicBezTo>
                  <a:cubicBezTo>
                    <a:pt x="2196904" y="3765540"/>
                    <a:pt x="2200918" y="3761529"/>
                    <a:pt x="2205894" y="3761529"/>
                  </a:cubicBezTo>
                  <a:close/>
                  <a:moveTo>
                    <a:pt x="2037148" y="3761529"/>
                  </a:moveTo>
                  <a:cubicBezTo>
                    <a:pt x="2042106" y="3761529"/>
                    <a:pt x="2046092" y="3765540"/>
                    <a:pt x="2046092" y="3770489"/>
                  </a:cubicBezTo>
                  <a:cubicBezTo>
                    <a:pt x="2046092" y="3775437"/>
                    <a:pt x="2042106" y="3779449"/>
                    <a:pt x="2037148" y="3779449"/>
                  </a:cubicBezTo>
                  <a:cubicBezTo>
                    <a:pt x="2032210" y="3779449"/>
                    <a:pt x="2028207" y="3775437"/>
                    <a:pt x="2028207" y="3770489"/>
                  </a:cubicBezTo>
                  <a:cubicBezTo>
                    <a:pt x="2028207" y="3765540"/>
                    <a:pt x="2032210" y="3761529"/>
                    <a:pt x="2037148" y="3761529"/>
                  </a:cubicBezTo>
                  <a:close/>
                  <a:moveTo>
                    <a:pt x="2543391" y="3761528"/>
                  </a:moveTo>
                  <a:cubicBezTo>
                    <a:pt x="2548339" y="3761528"/>
                    <a:pt x="2552353" y="3765540"/>
                    <a:pt x="2552353" y="3770488"/>
                  </a:cubicBezTo>
                  <a:cubicBezTo>
                    <a:pt x="2552353" y="3775437"/>
                    <a:pt x="2548339" y="3779448"/>
                    <a:pt x="2543391" y="3779448"/>
                  </a:cubicBezTo>
                  <a:cubicBezTo>
                    <a:pt x="2538438" y="3779448"/>
                    <a:pt x="2534421" y="3775437"/>
                    <a:pt x="2534421" y="3770488"/>
                  </a:cubicBezTo>
                  <a:cubicBezTo>
                    <a:pt x="2534421" y="3765540"/>
                    <a:pt x="2538438" y="3761528"/>
                    <a:pt x="2543391" y="3761528"/>
                  </a:cubicBezTo>
                  <a:close/>
                  <a:moveTo>
                    <a:pt x="2374601" y="3761528"/>
                  </a:moveTo>
                  <a:cubicBezTo>
                    <a:pt x="2379566" y="3761528"/>
                    <a:pt x="2383602" y="3765540"/>
                    <a:pt x="2383602" y="3770488"/>
                  </a:cubicBezTo>
                  <a:cubicBezTo>
                    <a:pt x="2383602" y="3775437"/>
                    <a:pt x="2379566" y="3779449"/>
                    <a:pt x="2374601" y="3779449"/>
                  </a:cubicBezTo>
                  <a:cubicBezTo>
                    <a:pt x="2369649" y="3779449"/>
                    <a:pt x="2365637" y="3775437"/>
                    <a:pt x="2365637" y="3770488"/>
                  </a:cubicBezTo>
                  <a:cubicBezTo>
                    <a:pt x="2365637" y="3765540"/>
                    <a:pt x="2369649" y="3761528"/>
                    <a:pt x="2374601" y="3761528"/>
                  </a:cubicBezTo>
                  <a:close/>
                  <a:moveTo>
                    <a:pt x="2712082" y="3761528"/>
                  </a:moveTo>
                  <a:cubicBezTo>
                    <a:pt x="2717058" y="3761528"/>
                    <a:pt x="2721065" y="3765540"/>
                    <a:pt x="2721065" y="3770488"/>
                  </a:cubicBezTo>
                  <a:cubicBezTo>
                    <a:pt x="2721065" y="3775437"/>
                    <a:pt x="2717058" y="3779448"/>
                    <a:pt x="2712082" y="3779448"/>
                  </a:cubicBezTo>
                  <a:cubicBezTo>
                    <a:pt x="2707136" y="3779448"/>
                    <a:pt x="2703126" y="3775437"/>
                    <a:pt x="2703126" y="3770488"/>
                  </a:cubicBezTo>
                  <a:cubicBezTo>
                    <a:pt x="2703126" y="3765540"/>
                    <a:pt x="2707136" y="3761528"/>
                    <a:pt x="2712082" y="3761528"/>
                  </a:cubicBezTo>
                  <a:close/>
                  <a:moveTo>
                    <a:pt x="3049576" y="3761528"/>
                  </a:moveTo>
                  <a:cubicBezTo>
                    <a:pt x="3054510" y="3761528"/>
                    <a:pt x="3058523" y="3765539"/>
                    <a:pt x="3058523" y="3770488"/>
                  </a:cubicBezTo>
                  <a:cubicBezTo>
                    <a:pt x="3058523" y="3775436"/>
                    <a:pt x="3054510" y="3779448"/>
                    <a:pt x="3049576" y="3779448"/>
                  </a:cubicBezTo>
                  <a:cubicBezTo>
                    <a:pt x="3044624" y="3779448"/>
                    <a:pt x="3040606" y="3775436"/>
                    <a:pt x="3040606" y="3770488"/>
                  </a:cubicBezTo>
                  <a:cubicBezTo>
                    <a:pt x="3040606" y="3765539"/>
                    <a:pt x="3044624" y="3761528"/>
                    <a:pt x="3049576" y="3761528"/>
                  </a:cubicBezTo>
                  <a:close/>
                  <a:moveTo>
                    <a:pt x="2880846" y="3761528"/>
                  </a:moveTo>
                  <a:cubicBezTo>
                    <a:pt x="2885793" y="3761528"/>
                    <a:pt x="2889804" y="3765539"/>
                    <a:pt x="2889804" y="3770488"/>
                  </a:cubicBezTo>
                  <a:cubicBezTo>
                    <a:pt x="2889804" y="3775436"/>
                    <a:pt x="2885793" y="3779448"/>
                    <a:pt x="2880846" y="3779448"/>
                  </a:cubicBezTo>
                  <a:cubicBezTo>
                    <a:pt x="2875900" y="3779448"/>
                    <a:pt x="2871887" y="3775436"/>
                    <a:pt x="2871887" y="3770488"/>
                  </a:cubicBezTo>
                  <a:cubicBezTo>
                    <a:pt x="2871887" y="3765539"/>
                    <a:pt x="2875900" y="3761528"/>
                    <a:pt x="2880846" y="3761528"/>
                  </a:cubicBezTo>
                  <a:close/>
                  <a:moveTo>
                    <a:pt x="3387044" y="3761527"/>
                  </a:moveTo>
                  <a:cubicBezTo>
                    <a:pt x="3391992" y="3761527"/>
                    <a:pt x="3396004" y="3765539"/>
                    <a:pt x="3396004" y="3770488"/>
                  </a:cubicBezTo>
                  <a:cubicBezTo>
                    <a:pt x="3396004" y="3775436"/>
                    <a:pt x="3391992" y="3779448"/>
                    <a:pt x="3387044" y="3779448"/>
                  </a:cubicBezTo>
                  <a:cubicBezTo>
                    <a:pt x="3382047" y="3779448"/>
                    <a:pt x="3378035" y="3775436"/>
                    <a:pt x="3378035" y="3770488"/>
                  </a:cubicBezTo>
                  <a:cubicBezTo>
                    <a:pt x="3378035" y="3765539"/>
                    <a:pt x="3382047" y="3761527"/>
                    <a:pt x="3387044" y="3761527"/>
                  </a:cubicBezTo>
                  <a:close/>
                  <a:moveTo>
                    <a:pt x="3218285" y="3761527"/>
                  </a:moveTo>
                  <a:cubicBezTo>
                    <a:pt x="3223246" y="3761527"/>
                    <a:pt x="3227255" y="3765539"/>
                    <a:pt x="3227255" y="3770488"/>
                  </a:cubicBezTo>
                  <a:cubicBezTo>
                    <a:pt x="3227255" y="3775436"/>
                    <a:pt x="3223246" y="3779448"/>
                    <a:pt x="3218285" y="3779448"/>
                  </a:cubicBezTo>
                  <a:cubicBezTo>
                    <a:pt x="3213320" y="3779448"/>
                    <a:pt x="3209318" y="3775436"/>
                    <a:pt x="3209318" y="3770488"/>
                  </a:cubicBezTo>
                  <a:cubicBezTo>
                    <a:pt x="3209318" y="3765539"/>
                    <a:pt x="3213320" y="3761527"/>
                    <a:pt x="3218285" y="3761527"/>
                  </a:cubicBezTo>
                  <a:close/>
                  <a:moveTo>
                    <a:pt x="3724429" y="3761527"/>
                  </a:moveTo>
                  <a:cubicBezTo>
                    <a:pt x="3729378" y="3761527"/>
                    <a:pt x="3733390" y="3765538"/>
                    <a:pt x="3733390" y="3770487"/>
                  </a:cubicBezTo>
                  <a:cubicBezTo>
                    <a:pt x="3733390" y="3775436"/>
                    <a:pt x="3729378" y="3779447"/>
                    <a:pt x="3724429" y="3779447"/>
                  </a:cubicBezTo>
                  <a:cubicBezTo>
                    <a:pt x="3719481" y="3779447"/>
                    <a:pt x="3715469" y="3775436"/>
                    <a:pt x="3715469" y="3770487"/>
                  </a:cubicBezTo>
                  <a:cubicBezTo>
                    <a:pt x="3715469" y="3765538"/>
                    <a:pt x="3719481" y="3761527"/>
                    <a:pt x="3724429" y="3761527"/>
                  </a:cubicBezTo>
                  <a:close/>
                  <a:moveTo>
                    <a:pt x="3555688" y="3761527"/>
                  </a:moveTo>
                  <a:cubicBezTo>
                    <a:pt x="3560637" y="3761527"/>
                    <a:pt x="3564649" y="3765539"/>
                    <a:pt x="3564649" y="3770487"/>
                  </a:cubicBezTo>
                  <a:cubicBezTo>
                    <a:pt x="3564649" y="3775436"/>
                    <a:pt x="3560637" y="3779447"/>
                    <a:pt x="3555688" y="3779447"/>
                  </a:cubicBezTo>
                  <a:cubicBezTo>
                    <a:pt x="3550740" y="3779447"/>
                    <a:pt x="3546728" y="3775436"/>
                    <a:pt x="3546728" y="3770487"/>
                  </a:cubicBezTo>
                  <a:cubicBezTo>
                    <a:pt x="3546728" y="3765539"/>
                    <a:pt x="3550740" y="3761527"/>
                    <a:pt x="3555688" y="3761527"/>
                  </a:cubicBezTo>
                  <a:close/>
                  <a:moveTo>
                    <a:pt x="3893170" y="3761527"/>
                  </a:moveTo>
                  <a:cubicBezTo>
                    <a:pt x="3898119" y="3761527"/>
                    <a:pt x="3902131" y="3765538"/>
                    <a:pt x="3902131" y="3770487"/>
                  </a:cubicBezTo>
                  <a:cubicBezTo>
                    <a:pt x="3902131" y="3775435"/>
                    <a:pt x="3898119" y="3779447"/>
                    <a:pt x="3893170" y="3779447"/>
                  </a:cubicBezTo>
                  <a:cubicBezTo>
                    <a:pt x="3888221" y="3779447"/>
                    <a:pt x="3884210" y="3775435"/>
                    <a:pt x="3884210" y="3770487"/>
                  </a:cubicBezTo>
                  <a:cubicBezTo>
                    <a:pt x="3884210" y="3765538"/>
                    <a:pt x="3888221" y="3761527"/>
                    <a:pt x="3893170" y="3761527"/>
                  </a:cubicBezTo>
                  <a:close/>
                  <a:moveTo>
                    <a:pt x="4230654" y="3761526"/>
                  </a:moveTo>
                  <a:cubicBezTo>
                    <a:pt x="4235603" y="3761526"/>
                    <a:pt x="4239615" y="3765538"/>
                    <a:pt x="4239615" y="3770487"/>
                  </a:cubicBezTo>
                  <a:cubicBezTo>
                    <a:pt x="4239615" y="3775435"/>
                    <a:pt x="4235603" y="3779447"/>
                    <a:pt x="4230654" y="3779447"/>
                  </a:cubicBezTo>
                  <a:cubicBezTo>
                    <a:pt x="4225705" y="3779447"/>
                    <a:pt x="4221694" y="3775435"/>
                    <a:pt x="4221694" y="3770487"/>
                  </a:cubicBezTo>
                  <a:cubicBezTo>
                    <a:pt x="4221694" y="3765538"/>
                    <a:pt x="4225705" y="3761526"/>
                    <a:pt x="4230654" y="3761526"/>
                  </a:cubicBezTo>
                  <a:close/>
                  <a:moveTo>
                    <a:pt x="4061912" y="3761526"/>
                  </a:moveTo>
                  <a:cubicBezTo>
                    <a:pt x="4066861" y="3761526"/>
                    <a:pt x="4070873" y="3765538"/>
                    <a:pt x="4070873" y="3770487"/>
                  </a:cubicBezTo>
                  <a:cubicBezTo>
                    <a:pt x="4070873" y="3775435"/>
                    <a:pt x="4066861" y="3779447"/>
                    <a:pt x="4061912" y="3779447"/>
                  </a:cubicBezTo>
                  <a:cubicBezTo>
                    <a:pt x="4056963" y="3779447"/>
                    <a:pt x="4052952" y="3775435"/>
                    <a:pt x="4052952" y="3770487"/>
                  </a:cubicBezTo>
                  <a:cubicBezTo>
                    <a:pt x="4052952" y="3765538"/>
                    <a:pt x="4056963" y="3761526"/>
                    <a:pt x="4061912" y="3761526"/>
                  </a:cubicBezTo>
                  <a:close/>
                  <a:moveTo>
                    <a:pt x="4568137" y="3761526"/>
                  </a:moveTo>
                  <a:cubicBezTo>
                    <a:pt x="4573086" y="3761526"/>
                    <a:pt x="4577098" y="3765538"/>
                    <a:pt x="4577098" y="3770486"/>
                  </a:cubicBezTo>
                  <a:cubicBezTo>
                    <a:pt x="4577098" y="3775435"/>
                    <a:pt x="4573086" y="3779446"/>
                    <a:pt x="4568137" y="3779446"/>
                  </a:cubicBezTo>
                  <a:cubicBezTo>
                    <a:pt x="4563188" y="3779446"/>
                    <a:pt x="4559177" y="3775435"/>
                    <a:pt x="4559177" y="3770486"/>
                  </a:cubicBezTo>
                  <a:cubicBezTo>
                    <a:pt x="4559177" y="3765538"/>
                    <a:pt x="4563188" y="3761526"/>
                    <a:pt x="4568137" y="3761526"/>
                  </a:cubicBezTo>
                  <a:close/>
                  <a:moveTo>
                    <a:pt x="4399396" y="3761526"/>
                  </a:moveTo>
                  <a:cubicBezTo>
                    <a:pt x="4404345" y="3761526"/>
                    <a:pt x="4408357" y="3765538"/>
                    <a:pt x="4408357" y="3770486"/>
                  </a:cubicBezTo>
                  <a:cubicBezTo>
                    <a:pt x="4408357" y="3775435"/>
                    <a:pt x="4404345" y="3779446"/>
                    <a:pt x="4399396" y="3779446"/>
                  </a:cubicBezTo>
                  <a:cubicBezTo>
                    <a:pt x="4394447" y="3779446"/>
                    <a:pt x="4390436" y="3775435"/>
                    <a:pt x="4390436" y="3770486"/>
                  </a:cubicBezTo>
                  <a:cubicBezTo>
                    <a:pt x="4390436" y="3765538"/>
                    <a:pt x="4394447" y="3761526"/>
                    <a:pt x="4399396" y="3761526"/>
                  </a:cubicBezTo>
                  <a:close/>
                  <a:moveTo>
                    <a:pt x="4905620" y="3761526"/>
                  </a:moveTo>
                  <a:cubicBezTo>
                    <a:pt x="4910569" y="3761526"/>
                    <a:pt x="4914581" y="3765537"/>
                    <a:pt x="4914581" y="3770486"/>
                  </a:cubicBezTo>
                  <a:cubicBezTo>
                    <a:pt x="4914581" y="3775434"/>
                    <a:pt x="4910569" y="3779446"/>
                    <a:pt x="4905620" y="3779446"/>
                  </a:cubicBezTo>
                  <a:cubicBezTo>
                    <a:pt x="4900671" y="3779446"/>
                    <a:pt x="4896660" y="3775434"/>
                    <a:pt x="4896660" y="3770486"/>
                  </a:cubicBezTo>
                  <a:cubicBezTo>
                    <a:pt x="4896660" y="3765537"/>
                    <a:pt x="4900671" y="3761526"/>
                    <a:pt x="4905620" y="3761526"/>
                  </a:cubicBezTo>
                  <a:close/>
                  <a:moveTo>
                    <a:pt x="4736878" y="3761526"/>
                  </a:moveTo>
                  <a:cubicBezTo>
                    <a:pt x="4741827" y="3761526"/>
                    <a:pt x="4745839" y="3765538"/>
                    <a:pt x="4745839" y="3770486"/>
                  </a:cubicBezTo>
                  <a:cubicBezTo>
                    <a:pt x="4745839" y="3775434"/>
                    <a:pt x="4741827" y="3779446"/>
                    <a:pt x="4736878" y="3779446"/>
                  </a:cubicBezTo>
                  <a:cubicBezTo>
                    <a:pt x="4731929" y="3779446"/>
                    <a:pt x="4727918" y="3775434"/>
                    <a:pt x="4727918" y="3770486"/>
                  </a:cubicBezTo>
                  <a:cubicBezTo>
                    <a:pt x="4727918" y="3765538"/>
                    <a:pt x="4731929" y="3761526"/>
                    <a:pt x="4736878" y="3761526"/>
                  </a:cubicBezTo>
                  <a:close/>
                  <a:moveTo>
                    <a:pt x="5074362" y="3761526"/>
                  </a:moveTo>
                  <a:cubicBezTo>
                    <a:pt x="5079311" y="3761526"/>
                    <a:pt x="5083323" y="3765537"/>
                    <a:pt x="5083323" y="3770486"/>
                  </a:cubicBezTo>
                  <a:cubicBezTo>
                    <a:pt x="5083323" y="3775434"/>
                    <a:pt x="5079311" y="3779446"/>
                    <a:pt x="5074362" y="3779446"/>
                  </a:cubicBezTo>
                  <a:cubicBezTo>
                    <a:pt x="5069413" y="3779446"/>
                    <a:pt x="5065402" y="3775434"/>
                    <a:pt x="5065402" y="3770486"/>
                  </a:cubicBezTo>
                  <a:cubicBezTo>
                    <a:pt x="5065402" y="3765537"/>
                    <a:pt x="5069413" y="3761526"/>
                    <a:pt x="5074362" y="3761526"/>
                  </a:cubicBezTo>
                  <a:close/>
                  <a:moveTo>
                    <a:pt x="5411845" y="3761525"/>
                  </a:moveTo>
                  <a:cubicBezTo>
                    <a:pt x="5416794" y="3761525"/>
                    <a:pt x="5420806" y="3765537"/>
                    <a:pt x="5420806" y="3770485"/>
                  </a:cubicBezTo>
                  <a:cubicBezTo>
                    <a:pt x="5420806" y="3775434"/>
                    <a:pt x="5416794" y="3779446"/>
                    <a:pt x="5411845" y="3779446"/>
                  </a:cubicBezTo>
                  <a:cubicBezTo>
                    <a:pt x="5406896" y="3779446"/>
                    <a:pt x="5402885" y="3775434"/>
                    <a:pt x="5402885" y="3770485"/>
                  </a:cubicBezTo>
                  <a:cubicBezTo>
                    <a:pt x="5402885" y="3765537"/>
                    <a:pt x="5406896" y="3761525"/>
                    <a:pt x="5411845" y="3761525"/>
                  </a:cubicBezTo>
                  <a:close/>
                  <a:moveTo>
                    <a:pt x="5243103" y="3761525"/>
                  </a:moveTo>
                  <a:cubicBezTo>
                    <a:pt x="5248052" y="3761525"/>
                    <a:pt x="5252064" y="3765537"/>
                    <a:pt x="5252064" y="3770485"/>
                  </a:cubicBezTo>
                  <a:cubicBezTo>
                    <a:pt x="5252064" y="3775434"/>
                    <a:pt x="5248052" y="3779446"/>
                    <a:pt x="5243103" y="3779446"/>
                  </a:cubicBezTo>
                  <a:cubicBezTo>
                    <a:pt x="5238154" y="3779446"/>
                    <a:pt x="5234143" y="3775434"/>
                    <a:pt x="5234143" y="3770485"/>
                  </a:cubicBezTo>
                  <a:cubicBezTo>
                    <a:pt x="5234143" y="3765537"/>
                    <a:pt x="5238154" y="3761525"/>
                    <a:pt x="5243103" y="3761525"/>
                  </a:cubicBezTo>
                  <a:close/>
                  <a:moveTo>
                    <a:pt x="5749328" y="3761525"/>
                  </a:moveTo>
                  <a:cubicBezTo>
                    <a:pt x="5754277" y="3761525"/>
                    <a:pt x="5758289" y="3765537"/>
                    <a:pt x="5758289" y="3770485"/>
                  </a:cubicBezTo>
                  <a:cubicBezTo>
                    <a:pt x="5758289" y="3775434"/>
                    <a:pt x="5754277" y="3779445"/>
                    <a:pt x="5749328" y="3779445"/>
                  </a:cubicBezTo>
                  <a:cubicBezTo>
                    <a:pt x="5744379" y="3779445"/>
                    <a:pt x="5740368" y="3775434"/>
                    <a:pt x="5740368" y="3770485"/>
                  </a:cubicBezTo>
                  <a:cubicBezTo>
                    <a:pt x="5740368" y="3765537"/>
                    <a:pt x="5744379" y="3761525"/>
                    <a:pt x="5749328" y="3761525"/>
                  </a:cubicBezTo>
                  <a:close/>
                  <a:moveTo>
                    <a:pt x="5580586" y="3761525"/>
                  </a:moveTo>
                  <a:cubicBezTo>
                    <a:pt x="5585535" y="3761525"/>
                    <a:pt x="5589547" y="3765537"/>
                    <a:pt x="5589547" y="3770485"/>
                  </a:cubicBezTo>
                  <a:cubicBezTo>
                    <a:pt x="5589547" y="3775434"/>
                    <a:pt x="5585535" y="3779445"/>
                    <a:pt x="5580586" y="3779445"/>
                  </a:cubicBezTo>
                  <a:cubicBezTo>
                    <a:pt x="5575637" y="3779445"/>
                    <a:pt x="5571626" y="3775434"/>
                    <a:pt x="5571626" y="3770485"/>
                  </a:cubicBezTo>
                  <a:cubicBezTo>
                    <a:pt x="5571626" y="3765537"/>
                    <a:pt x="5575637" y="3761525"/>
                    <a:pt x="5580586" y="3761525"/>
                  </a:cubicBezTo>
                  <a:close/>
                  <a:moveTo>
                    <a:pt x="6086811" y="3761525"/>
                  </a:moveTo>
                  <a:cubicBezTo>
                    <a:pt x="6091760" y="3761525"/>
                    <a:pt x="6095772" y="3765536"/>
                    <a:pt x="6095772" y="3770485"/>
                  </a:cubicBezTo>
                  <a:cubicBezTo>
                    <a:pt x="6095772" y="3775433"/>
                    <a:pt x="6091760" y="3779445"/>
                    <a:pt x="6086811" y="3779445"/>
                  </a:cubicBezTo>
                  <a:cubicBezTo>
                    <a:pt x="6081862" y="3779445"/>
                    <a:pt x="6077851" y="3775433"/>
                    <a:pt x="6077851" y="3770485"/>
                  </a:cubicBezTo>
                  <a:cubicBezTo>
                    <a:pt x="6077851" y="3765536"/>
                    <a:pt x="6081862" y="3761525"/>
                    <a:pt x="6086811" y="3761525"/>
                  </a:cubicBezTo>
                  <a:close/>
                  <a:moveTo>
                    <a:pt x="5918069" y="3761525"/>
                  </a:moveTo>
                  <a:cubicBezTo>
                    <a:pt x="5923018" y="3761525"/>
                    <a:pt x="5927030" y="3765536"/>
                    <a:pt x="5927030" y="3770485"/>
                  </a:cubicBezTo>
                  <a:cubicBezTo>
                    <a:pt x="5927030" y="3775433"/>
                    <a:pt x="5923018" y="3779445"/>
                    <a:pt x="5918069" y="3779445"/>
                  </a:cubicBezTo>
                  <a:cubicBezTo>
                    <a:pt x="5913120" y="3779445"/>
                    <a:pt x="5909109" y="3775433"/>
                    <a:pt x="5909109" y="3770485"/>
                  </a:cubicBezTo>
                  <a:cubicBezTo>
                    <a:pt x="5909109" y="3765536"/>
                    <a:pt x="5913120" y="3761525"/>
                    <a:pt x="5918069" y="3761525"/>
                  </a:cubicBezTo>
                  <a:close/>
                  <a:moveTo>
                    <a:pt x="6255553" y="3761524"/>
                  </a:moveTo>
                  <a:cubicBezTo>
                    <a:pt x="6260502" y="3761524"/>
                    <a:pt x="6264514" y="3765536"/>
                    <a:pt x="6264514" y="3770484"/>
                  </a:cubicBezTo>
                  <a:cubicBezTo>
                    <a:pt x="6264514" y="3775433"/>
                    <a:pt x="6260502" y="3779445"/>
                    <a:pt x="6255553" y="3779445"/>
                  </a:cubicBezTo>
                  <a:cubicBezTo>
                    <a:pt x="6250604" y="3779445"/>
                    <a:pt x="6246593" y="3775433"/>
                    <a:pt x="6246593" y="3770484"/>
                  </a:cubicBezTo>
                  <a:cubicBezTo>
                    <a:pt x="6246593" y="3765536"/>
                    <a:pt x="6250604" y="3761524"/>
                    <a:pt x="6255553" y="3761524"/>
                  </a:cubicBezTo>
                  <a:close/>
                  <a:moveTo>
                    <a:pt x="6593035" y="3761524"/>
                  </a:moveTo>
                  <a:cubicBezTo>
                    <a:pt x="6597984" y="3761524"/>
                    <a:pt x="6601996" y="3765536"/>
                    <a:pt x="6601996" y="3770484"/>
                  </a:cubicBezTo>
                  <a:cubicBezTo>
                    <a:pt x="6601996" y="3775433"/>
                    <a:pt x="6597984" y="3779444"/>
                    <a:pt x="6593035" y="3779444"/>
                  </a:cubicBezTo>
                  <a:cubicBezTo>
                    <a:pt x="6588086" y="3779444"/>
                    <a:pt x="6584075" y="3775433"/>
                    <a:pt x="6584075" y="3770484"/>
                  </a:cubicBezTo>
                  <a:cubicBezTo>
                    <a:pt x="6584075" y="3765536"/>
                    <a:pt x="6588086" y="3761524"/>
                    <a:pt x="6593035" y="3761524"/>
                  </a:cubicBezTo>
                  <a:close/>
                  <a:moveTo>
                    <a:pt x="6424294" y="3761524"/>
                  </a:moveTo>
                  <a:cubicBezTo>
                    <a:pt x="6429243" y="3761524"/>
                    <a:pt x="6433255" y="3765536"/>
                    <a:pt x="6433255" y="3770484"/>
                  </a:cubicBezTo>
                  <a:cubicBezTo>
                    <a:pt x="6433255" y="3775433"/>
                    <a:pt x="6429243" y="3779444"/>
                    <a:pt x="6424294" y="3779444"/>
                  </a:cubicBezTo>
                  <a:cubicBezTo>
                    <a:pt x="6419345" y="3779444"/>
                    <a:pt x="6415334" y="3775433"/>
                    <a:pt x="6415334" y="3770484"/>
                  </a:cubicBezTo>
                  <a:cubicBezTo>
                    <a:pt x="6415334" y="3765536"/>
                    <a:pt x="6419345" y="3761524"/>
                    <a:pt x="6424294" y="3761524"/>
                  </a:cubicBezTo>
                  <a:close/>
                  <a:moveTo>
                    <a:pt x="6933679" y="3761524"/>
                  </a:moveTo>
                  <a:cubicBezTo>
                    <a:pt x="6938628" y="3761524"/>
                    <a:pt x="6942639" y="3765535"/>
                    <a:pt x="6942639" y="3770484"/>
                  </a:cubicBezTo>
                  <a:cubicBezTo>
                    <a:pt x="6942639" y="3775432"/>
                    <a:pt x="6938628" y="3779444"/>
                    <a:pt x="6933679" y="3779444"/>
                  </a:cubicBezTo>
                  <a:cubicBezTo>
                    <a:pt x="6928730" y="3779444"/>
                    <a:pt x="6924718" y="3775432"/>
                    <a:pt x="6924718" y="3770484"/>
                  </a:cubicBezTo>
                  <a:cubicBezTo>
                    <a:pt x="6924718" y="3765535"/>
                    <a:pt x="6928730" y="3761524"/>
                    <a:pt x="6933679" y="3761524"/>
                  </a:cubicBezTo>
                  <a:close/>
                  <a:moveTo>
                    <a:pt x="6763357" y="3761524"/>
                  </a:moveTo>
                  <a:cubicBezTo>
                    <a:pt x="6768306" y="3761524"/>
                    <a:pt x="6772318" y="3765535"/>
                    <a:pt x="6772318" y="3770484"/>
                  </a:cubicBezTo>
                  <a:cubicBezTo>
                    <a:pt x="6772318" y="3775433"/>
                    <a:pt x="6768306" y="3779444"/>
                    <a:pt x="6763357" y="3779444"/>
                  </a:cubicBezTo>
                  <a:cubicBezTo>
                    <a:pt x="6758408" y="3779444"/>
                    <a:pt x="6754397" y="3775433"/>
                    <a:pt x="6754397" y="3770484"/>
                  </a:cubicBezTo>
                  <a:cubicBezTo>
                    <a:pt x="6754397" y="3765535"/>
                    <a:pt x="6758408" y="3761524"/>
                    <a:pt x="6763357" y="3761524"/>
                  </a:cubicBezTo>
                  <a:close/>
                  <a:moveTo>
                    <a:pt x="6933679" y="3590544"/>
                  </a:moveTo>
                  <a:cubicBezTo>
                    <a:pt x="6938628" y="3590544"/>
                    <a:pt x="6942639" y="3594561"/>
                    <a:pt x="6942639" y="3599507"/>
                  </a:cubicBezTo>
                  <a:cubicBezTo>
                    <a:pt x="6942639" y="3604456"/>
                    <a:pt x="6938628" y="3608475"/>
                    <a:pt x="6933679" y="3608475"/>
                  </a:cubicBezTo>
                  <a:cubicBezTo>
                    <a:pt x="6928730" y="3608475"/>
                    <a:pt x="6924718" y="3604456"/>
                    <a:pt x="6924718" y="3599507"/>
                  </a:cubicBezTo>
                  <a:cubicBezTo>
                    <a:pt x="6924718" y="3594561"/>
                    <a:pt x="6928730" y="3590544"/>
                    <a:pt x="6933679" y="3590544"/>
                  </a:cubicBezTo>
                  <a:close/>
                  <a:moveTo>
                    <a:pt x="6763357" y="3590544"/>
                  </a:moveTo>
                  <a:cubicBezTo>
                    <a:pt x="6768306" y="3590544"/>
                    <a:pt x="6772318" y="3594561"/>
                    <a:pt x="6772318" y="3599507"/>
                  </a:cubicBezTo>
                  <a:cubicBezTo>
                    <a:pt x="6772318" y="3604456"/>
                    <a:pt x="6768306" y="3608475"/>
                    <a:pt x="6763357" y="3608475"/>
                  </a:cubicBezTo>
                  <a:cubicBezTo>
                    <a:pt x="6758408" y="3608475"/>
                    <a:pt x="6754397" y="3604456"/>
                    <a:pt x="6754397" y="3599507"/>
                  </a:cubicBezTo>
                  <a:cubicBezTo>
                    <a:pt x="6754397" y="3594561"/>
                    <a:pt x="6758408" y="3590544"/>
                    <a:pt x="6763357" y="3590544"/>
                  </a:cubicBezTo>
                  <a:close/>
                  <a:moveTo>
                    <a:pt x="6593035" y="3590544"/>
                  </a:moveTo>
                  <a:cubicBezTo>
                    <a:pt x="6597984" y="3590544"/>
                    <a:pt x="6601996" y="3594564"/>
                    <a:pt x="6601996" y="3599507"/>
                  </a:cubicBezTo>
                  <a:cubicBezTo>
                    <a:pt x="6601996" y="3604456"/>
                    <a:pt x="6597984" y="3608475"/>
                    <a:pt x="6593035" y="3608475"/>
                  </a:cubicBezTo>
                  <a:cubicBezTo>
                    <a:pt x="6588086" y="3608475"/>
                    <a:pt x="6584075" y="3604456"/>
                    <a:pt x="6584075" y="3599507"/>
                  </a:cubicBezTo>
                  <a:cubicBezTo>
                    <a:pt x="6584075" y="3594564"/>
                    <a:pt x="6588086" y="3590544"/>
                    <a:pt x="6593035" y="3590544"/>
                  </a:cubicBezTo>
                  <a:close/>
                  <a:moveTo>
                    <a:pt x="6424294" y="3590544"/>
                  </a:moveTo>
                  <a:cubicBezTo>
                    <a:pt x="6429243" y="3590544"/>
                    <a:pt x="6433255" y="3594564"/>
                    <a:pt x="6433255" y="3599512"/>
                  </a:cubicBezTo>
                  <a:cubicBezTo>
                    <a:pt x="6433255" y="3604456"/>
                    <a:pt x="6429243" y="3608475"/>
                    <a:pt x="6424294" y="3608475"/>
                  </a:cubicBezTo>
                  <a:cubicBezTo>
                    <a:pt x="6419345" y="3608475"/>
                    <a:pt x="6415334" y="3604456"/>
                    <a:pt x="6415334" y="3599512"/>
                  </a:cubicBezTo>
                  <a:cubicBezTo>
                    <a:pt x="6415334" y="3594564"/>
                    <a:pt x="6419345" y="3590544"/>
                    <a:pt x="6424294" y="3590544"/>
                  </a:cubicBezTo>
                  <a:close/>
                  <a:moveTo>
                    <a:pt x="6255553" y="3590544"/>
                  </a:moveTo>
                  <a:cubicBezTo>
                    <a:pt x="6260502" y="3590544"/>
                    <a:pt x="6264514" y="3594564"/>
                    <a:pt x="6264514" y="3599512"/>
                  </a:cubicBezTo>
                  <a:cubicBezTo>
                    <a:pt x="6264514" y="3604456"/>
                    <a:pt x="6260502" y="3608475"/>
                    <a:pt x="6255553" y="3608475"/>
                  </a:cubicBezTo>
                  <a:cubicBezTo>
                    <a:pt x="6250604" y="3608475"/>
                    <a:pt x="6246593" y="3604456"/>
                    <a:pt x="6246593" y="3599512"/>
                  </a:cubicBezTo>
                  <a:cubicBezTo>
                    <a:pt x="6246593" y="3594564"/>
                    <a:pt x="6250604" y="3590544"/>
                    <a:pt x="6255553" y="3590544"/>
                  </a:cubicBezTo>
                  <a:close/>
                  <a:moveTo>
                    <a:pt x="6086811" y="3590544"/>
                  </a:moveTo>
                  <a:cubicBezTo>
                    <a:pt x="6091760" y="3590544"/>
                    <a:pt x="6095772" y="3594564"/>
                    <a:pt x="6095772" y="3599512"/>
                  </a:cubicBezTo>
                  <a:cubicBezTo>
                    <a:pt x="6095772" y="3604456"/>
                    <a:pt x="6091760" y="3608475"/>
                    <a:pt x="6086811" y="3608475"/>
                  </a:cubicBezTo>
                  <a:cubicBezTo>
                    <a:pt x="6081862" y="3608475"/>
                    <a:pt x="6077851" y="3604456"/>
                    <a:pt x="6077851" y="3599512"/>
                  </a:cubicBezTo>
                  <a:cubicBezTo>
                    <a:pt x="6077851" y="3594564"/>
                    <a:pt x="6081862" y="3590544"/>
                    <a:pt x="6086811" y="3590544"/>
                  </a:cubicBezTo>
                  <a:close/>
                  <a:moveTo>
                    <a:pt x="5918069" y="3590544"/>
                  </a:moveTo>
                  <a:cubicBezTo>
                    <a:pt x="5923018" y="3590544"/>
                    <a:pt x="5927030" y="3594564"/>
                    <a:pt x="5927030" y="3599512"/>
                  </a:cubicBezTo>
                  <a:cubicBezTo>
                    <a:pt x="5927030" y="3604457"/>
                    <a:pt x="5923018" y="3608475"/>
                    <a:pt x="5918069" y="3608475"/>
                  </a:cubicBezTo>
                  <a:cubicBezTo>
                    <a:pt x="5913120" y="3608475"/>
                    <a:pt x="5909109" y="3604457"/>
                    <a:pt x="5909109" y="3599512"/>
                  </a:cubicBezTo>
                  <a:cubicBezTo>
                    <a:pt x="5909109" y="3594564"/>
                    <a:pt x="5913120" y="3590544"/>
                    <a:pt x="5918069" y="3590544"/>
                  </a:cubicBezTo>
                  <a:close/>
                  <a:moveTo>
                    <a:pt x="5749328" y="3590544"/>
                  </a:moveTo>
                  <a:cubicBezTo>
                    <a:pt x="5754277" y="3590544"/>
                    <a:pt x="5758289" y="3594564"/>
                    <a:pt x="5758289" y="3599512"/>
                  </a:cubicBezTo>
                  <a:cubicBezTo>
                    <a:pt x="5758289" y="3604457"/>
                    <a:pt x="5754277" y="3608475"/>
                    <a:pt x="5749328" y="3608475"/>
                  </a:cubicBezTo>
                  <a:cubicBezTo>
                    <a:pt x="5744379" y="3608475"/>
                    <a:pt x="5740368" y="3604457"/>
                    <a:pt x="5740368" y="3599512"/>
                  </a:cubicBezTo>
                  <a:cubicBezTo>
                    <a:pt x="5740368" y="3594564"/>
                    <a:pt x="5744379" y="3590544"/>
                    <a:pt x="5749328" y="3590544"/>
                  </a:cubicBezTo>
                  <a:close/>
                  <a:moveTo>
                    <a:pt x="5580586" y="3590544"/>
                  </a:moveTo>
                  <a:cubicBezTo>
                    <a:pt x="5585535" y="3590544"/>
                    <a:pt x="5589547" y="3594564"/>
                    <a:pt x="5589547" y="3599512"/>
                  </a:cubicBezTo>
                  <a:cubicBezTo>
                    <a:pt x="5589547" y="3604457"/>
                    <a:pt x="5585535" y="3608475"/>
                    <a:pt x="5580586" y="3608475"/>
                  </a:cubicBezTo>
                  <a:cubicBezTo>
                    <a:pt x="5575637" y="3608475"/>
                    <a:pt x="5571626" y="3604457"/>
                    <a:pt x="5571626" y="3599512"/>
                  </a:cubicBezTo>
                  <a:cubicBezTo>
                    <a:pt x="5571626" y="3594564"/>
                    <a:pt x="5575637" y="3590544"/>
                    <a:pt x="5580586" y="3590544"/>
                  </a:cubicBezTo>
                  <a:close/>
                  <a:moveTo>
                    <a:pt x="5411845" y="3590544"/>
                  </a:moveTo>
                  <a:cubicBezTo>
                    <a:pt x="5416794" y="3590544"/>
                    <a:pt x="5420806" y="3594564"/>
                    <a:pt x="5420806" y="3599512"/>
                  </a:cubicBezTo>
                  <a:cubicBezTo>
                    <a:pt x="5420806" y="3604457"/>
                    <a:pt x="5416794" y="3608475"/>
                    <a:pt x="5411845" y="3608475"/>
                  </a:cubicBezTo>
                  <a:cubicBezTo>
                    <a:pt x="5406896" y="3608475"/>
                    <a:pt x="5402885" y="3604457"/>
                    <a:pt x="5402885" y="3599512"/>
                  </a:cubicBezTo>
                  <a:cubicBezTo>
                    <a:pt x="5402885" y="3594564"/>
                    <a:pt x="5406896" y="3590544"/>
                    <a:pt x="5411845" y="3590544"/>
                  </a:cubicBezTo>
                  <a:close/>
                  <a:moveTo>
                    <a:pt x="5243103" y="3590544"/>
                  </a:moveTo>
                  <a:cubicBezTo>
                    <a:pt x="5248052" y="3590544"/>
                    <a:pt x="5252064" y="3594564"/>
                    <a:pt x="5252064" y="3599512"/>
                  </a:cubicBezTo>
                  <a:cubicBezTo>
                    <a:pt x="5252064" y="3604457"/>
                    <a:pt x="5248052" y="3608475"/>
                    <a:pt x="5243103" y="3608475"/>
                  </a:cubicBezTo>
                  <a:cubicBezTo>
                    <a:pt x="5238154" y="3608475"/>
                    <a:pt x="5234143" y="3604457"/>
                    <a:pt x="5234143" y="3599512"/>
                  </a:cubicBezTo>
                  <a:cubicBezTo>
                    <a:pt x="5234143" y="3594564"/>
                    <a:pt x="5238154" y="3590544"/>
                    <a:pt x="5243103" y="3590544"/>
                  </a:cubicBezTo>
                  <a:close/>
                  <a:moveTo>
                    <a:pt x="5074362" y="3590544"/>
                  </a:moveTo>
                  <a:cubicBezTo>
                    <a:pt x="5079311" y="3590544"/>
                    <a:pt x="5083323" y="3594564"/>
                    <a:pt x="5083323" y="3599512"/>
                  </a:cubicBezTo>
                  <a:cubicBezTo>
                    <a:pt x="5083323" y="3604457"/>
                    <a:pt x="5079311" y="3608475"/>
                    <a:pt x="5074362" y="3608475"/>
                  </a:cubicBezTo>
                  <a:cubicBezTo>
                    <a:pt x="5069413" y="3608475"/>
                    <a:pt x="5065402" y="3604457"/>
                    <a:pt x="5065402" y="3599512"/>
                  </a:cubicBezTo>
                  <a:cubicBezTo>
                    <a:pt x="5065402" y="3594564"/>
                    <a:pt x="5069413" y="3590544"/>
                    <a:pt x="5074362" y="3590544"/>
                  </a:cubicBezTo>
                  <a:close/>
                  <a:moveTo>
                    <a:pt x="4905620" y="3590544"/>
                  </a:moveTo>
                  <a:cubicBezTo>
                    <a:pt x="4910569" y="3590544"/>
                    <a:pt x="4914581" y="3594564"/>
                    <a:pt x="4914581" y="3599512"/>
                  </a:cubicBezTo>
                  <a:cubicBezTo>
                    <a:pt x="4914581" y="3604457"/>
                    <a:pt x="4910569" y="3608475"/>
                    <a:pt x="4905620" y="3608475"/>
                  </a:cubicBezTo>
                  <a:cubicBezTo>
                    <a:pt x="4900671" y="3608475"/>
                    <a:pt x="4896660" y="3604457"/>
                    <a:pt x="4896660" y="3599512"/>
                  </a:cubicBezTo>
                  <a:cubicBezTo>
                    <a:pt x="4896660" y="3594564"/>
                    <a:pt x="4900671" y="3590544"/>
                    <a:pt x="4905620" y="3590544"/>
                  </a:cubicBezTo>
                  <a:close/>
                  <a:moveTo>
                    <a:pt x="4736878" y="3590544"/>
                  </a:moveTo>
                  <a:cubicBezTo>
                    <a:pt x="4741827" y="3590544"/>
                    <a:pt x="4745839" y="3594564"/>
                    <a:pt x="4745839" y="3599512"/>
                  </a:cubicBezTo>
                  <a:cubicBezTo>
                    <a:pt x="4745839" y="3604457"/>
                    <a:pt x="4741827" y="3608475"/>
                    <a:pt x="4736878" y="3608475"/>
                  </a:cubicBezTo>
                  <a:cubicBezTo>
                    <a:pt x="4731929" y="3608475"/>
                    <a:pt x="4727918" y="3604457"/>
                    <a:pt x="4727918" y="3599512"/>
                  </a:cubicBezTo>
                  <a:cubicBezTo>
                    <a:pt x="4727918" y="3594564"/>
                    <a:pt x="4731929" y="3590544"/>
                    <a:pt x="4736878" y="3590544"/>
                  </a:cubicBezTo>
                  <a:close/>
                  <a:moveTo>
                    <a:pt x="4568137" y="3590544"/>
                  </a:moveTo>
                  <a:cubicBezTo>
                    <a:pt x="4573086" y="3590544"/>
                    <a:pt x="4577098" y="3594564"/>
                    <a:pt x="4577098" y="3599512"/>
                  </a:cubicBezTo>
                  <a:cubicBezTo>
                    <a:pt x="4577098" y="3604457"/>
                    <a:pt x="4573086" y="3608475"/>
                    <a:pt x="4568137" y="3608475"/>
                  </a:cubicBezTo>
                  <a:cubicBezTo>
                    <a:pt x="4563188" y="3608475"/>
                    <a:pt x="4559177" y="3604457"/>
                    <a:pt x="4559177" y="3599512"/>
                  </a:cubicBezTo>
                  <a:cubicBezTo>
                    <a:pt x="4559177" y="3594564"/>
                    <a:pt x="4563188" y="3590544"/>
                    <a:pt x="4568137" y="3590544"/>
                  </a:cubicBezTo>
                  <a:close/>
                  <a:moveTo>
                    <a:pt x="4399396" y="3590544"/>
                  </a:moveTo>
                  <a:cubicBezTo>
                    <a:pt x="4404345" y="3590544"/>
                    <a:pt x="4408357" y="3594564"/>
                    <a:pt x="4408357" y="3599512"/>
                  </a:cubicBezTo>
                  <a:cubicBezTo>
                    <a:pt x="4408357" y="3604457"/>
                    <a:pt x="4404345" y="3608475"/>
                    <a:pt x="4399396" y="3608475"/>
                  </a:cubicBezTo>
                  <a:cubicBezTo>
                    <a:pt x="4394447" y="3608475"/>
                    <a:pt x="4390436" y="3604457"/>
                    <a:pt x="4390436" y="3599512"/>
                  </a:cubicBezTo>
                  <a:cubicBezTo>
                    <a:pt x="4390436" y="3594564"/>
                    <a:pt x="4394447" y="3590544"/>
                    <a:pt x="4399396" y="3590544"/>
                  </a:cubicBezTo>
                  <a:close/>
                  <a:moveTo>
                    <a:pt x="4230654" y="3590544"/>
                  </a:moveTo>
                  <a:cubicBezTo>
                    <a:pt x="4235603" y="3590544"/>
                    <a:pt x="4239615" y="3594564"/>
                    <a:pt x="4239615" y="3599512"/>
                  </a:cubicBezTo>
                  <a:cubicBezTo>
                    <a:pt x="4239615" y="3604457"/>
                    <a:pt x="4235603" y="3608475"/>
                    <a:pt x="4230654" y="3608475"/>
                  </a:cubicBezTo>
                  <a:cubicBezTo>
                    <a:pt x="4225705" y="3608475"/>
                    <a:pt x="4221694" y="3604457"/>
                    <a:pt x="4221694" y="3599512"/>
                  </a:cubicBezTo>
                  <a:cubicBezTo>
                    <a:pt x="4221694" y="3594564"/>
                    <a:pt x="4225705" y="3590544"/>
                    <a:pt x="4230654" y="3590544"/>
                  </a:cubicBezTo>
                  <a:close/>
                  <a:moveTo>
                    <a:pt x="4061912" y="3590544"/>
                  </a:moveTo>
                  <a:cubicBezTo>
                    <a:pt x="4066861" y="3590544"/>
                    <a:pt x="4070873" y="3594564"/>
                    <a:pt x="4070873" y="3599512"/>
                  </a:cubicBezTo>
                  <a:cubicBezTo>
                    <a:pt x="4070873" y="3604457"/>
                    <a:pt x="4066861" y="3608475"/>
                    <a:pt x="4061912" y="3608475"/>
                  </a:cubicBezTo>
                  <a:cubicBezTo>
                    <a:pt x="4056963" y="3608475"/>
                    <a:pt x="4052952" y="3604457"/>
                    <a:pt x="4052952" y="3599512"/>
                  </a:cubicBezTo>
                  <a:cubicBezTo>
                    <a:pt x="4052952" y="3594564"/>
                    <a:pt x="4056963" y="3590544"/>
                    <a:pt x="4061912" y="3590544"/>
                  </a:cubicBezTo>
                  <a:close/>
                  <a:moveTo>
                    <a:pt x="3893170" y="3590544"/>
                  </a:moveTo>
                  <a:cubicBezTo>
                    <a:pt x="3898119" y="3590544"/>
                    <a:pt x="3902131" y="3594564"/>
                    <a:pt x="3902131" y="3599512"/>
                  </a:cubicBezTo>
                  <a:cubicBezTo>
                    <a:pt x="3902131" y="3604457"/>
                    <a:pt x="3898119" y="3608475"/>
                    <a:pt x="3893170" y="3608475"/>
                  </a:cubicBezTo>
                  <a:cubicBezTo>
                    <a:pt x="3888221" y="3608475"/>
                    <a:pt x="3884210" y="3604457"/>
                    <a:pt x="3884210" y="3599512"/>
                  </a:cubicBezTo>
                  <a:cubicBezTo>
                    <a:pt x="3884210" y="3594564"/>
                    <a:pt x="3888221" y="3590544"/>
                    <a:pt x="3893170" y="3590544"/>
                  </a:cubicBezTo>
                  <a:close/>
                  <a:moveTo>
                    <a:pt x="3724429" y="3590544"/>
                  </a:moveTo>
                  <a:cubicBezTo>
                    <a:pt x="3729378" y="3590544"/>
                    <a:pt x="3733390" y="3594564"/>
                    <a:pt x="3733390" y="3599512"/>
                  </a:cubicBezTo>
                  <a:cubicBezTo>
                    <a:pt x="3733390" y="3604457"/>
                    <a:pt x="3729378" y="3608475"/>
                    <a:pt x="3724429" y="3608475"/>
                  </a:cubicBezTo>
                  <a:cubicBezTo>
                    <a:pt x="3719481" y="3608475"/>
                    <a:pt x="3715469" y="3604457"/>
                    <a:pt x="3715469" y="3599512"/>
                  </a:cubicBezTo>
                  <a:cubicBezTo>
                    <a:pt x="3715469" y="3594564"/>
                    <a:pt x="3719481" y="3590544"/>
                    <a:pt x="3724429" y="3590544"/>
                  </a:cubicBezTo>
                  <a:close/>
                  <a:moveTo>
                    <a:pt x="3555688" y="3590544"/>
                  </a:moveTo>
                  <a:cubicBezTo>
                    <a:pt x="3560637" y="3590544"/>
                    <a:pt x="3564649" y="3594567"/>
                    <a:pt x="3564649" y="3599512"/>
                  </a:cubicBezTo>
                  <a:cubicBezTo>
                    <a:pt x="3564649" y="3604457"/>
                    <a:pt x="3560637" y="3608475"/>
                    <a:pt x="3555688" y="3608475"/>
                  </a:cubicBezTo>
                  <a:cubicBezTo>
                    <a:pt x="3550740" y="3608475"/>
                    <a:pt x="3546728" y="3604457"/>
                    <a:pt x="3546728" y="3599512"/>
                  </a:cubicBezTo>
                  <a:cubicBezTo>
                    <a:pt x="3546728" y="3594567"/>
                    <a:pt x="3550740" y="3590544"/>
                    <a:pt x="3555688" y="3590544"/>
                  </a:cubicBezTo>
                  <a:close/>
                  <a:moveTo>
                    <a:pt x="3387047" y="3590544"/>
                  </a:moveTo>
                  <a:cubicBezTo>
                    <a:pt x="3391995" y="3590544"/>
                    <a:pt x="3396007" y="3594567"/>
                    <a:pt x="3396007" y="3599512"/>
                  </a:cubicBezTo>
                  <a:cubicBezTo>
                    <a:pt x="3396007" y="3604457"/>
                    <a:pt x="3391995" y="3608475"/>
                    <a:pt x="3387047" y="3608475"/>
                  </a:cubicBezTo>
                  <a:cubicBezTo>
                    <a:pt x="3382049" y="3608475"/>
                    <a:pt x="3378036" y="3604457"/>
                    <a:pt x="3378036" y="3599512"/>
                  </a:cubicBezTo>
                  <a:cubicBezTo>
                    <a:pt x="3378036" y="3594567"/>
                    <a:pt x="3382049" y="3590544"/>
                    <a:pt x="3387047" y="3590544"/>
                  </a:cubicBezTo>
                  <a:close/>
                  <a:moveTo>
                    <a:pt x="3218288" y="3590544"/>
                  </a:moveTo>
                  <a:cubicBezTo>
                    <a:pt x="3223249" y="3590544"/>
                    <a:pt x="3227258" y="3594567"/>
                    <a:pt x="3227258" y="3599519"/>
                  </a:cubicBezTo>
                  <a:cubicBezTo>
                    <a:pt x="3227258" y="3604457"/>
                    <a:pt x="3223249" y="3608475"/>
                    <a:pt x="3218288" y="3608475"/>
                  </a:cubicBezTo>
                  <a:cubicBezTo>
                    <a:pt x="3213322" y="3608475"/>
                    <a:pt x="3209320" y="3604457"/>
                    <a:pt x="3209320" y="3599519"/>
                  </a:cubicBezTo>
                  <a:cubicBezTo>
                    <a:pt x="3209320" y="3594567"/>
                    <a:pt x="3213322" y="3590544"/>
                    <a:pt x="3218288" y="3590544"/>
                  </a:cubicBezTo>
                  <a:close/>
                  <a:moveTo>
                    <a:pt x="3049579" y="3590544"/>
                  </a:moveTo>
                  <a:cubicBezTo>
                    <a:pt x="3054513" y="3590544"/>
                    <a:pt x="3058526" y="3594567"/>
                    <a:pt x="3058526" y="3599519"/>
                  </a:cubicBezTo>
                  <a:cubicBezTo>
                    <a:pt x="3058526" y="3604459"/>
                    <a:pt x="3054513" y="3608475"/>
                    <a:pt x="3049579" y="3608475"/>
                  </a:cubicBezTo>
                  <a:cubicBezTo>
                    <a:pt x="3044627" y="3608475"/>
                    <a:pt x="3040609" y="3604459"/>
                    <a:pt x="3040609" y="3599519"/>
                  </a:cubicBezTo>
                  <a:cubicBezTo>
                    <a:pt x="3040609" y="3594567"/>
                    <a:pt x="3044627" y="3590544"/>
                    <a:pt x="3049579" y="3590544"/>
                  </a:cubicBezTo>
                  <a:close/>
                  <a:moveTo>
                    <a:pt x="2880850" y="3590544"/>
                  </a:moveTo>
                  <a:cubicBezTo>
                    <a:pt x="2885797" y="3590544"/>
                    <a:pt x="2889808" y="3594567"/>
                    <a:pt x="2889808" y="3599519"/>
                  </a:cubicBezTo>
                  <a:cubicBezTo>
                    <a:pt x="2889808" y="3604459"/>
                    <a:pt x="2885797" y="3608477"/>
                    <a:pt x="2880850" y="3608477"/>
                  </a:cubicBezTo>
                  <a:cubicBezTo>
                    <a:pt x="2875904" y="3608477"/>
                    <a:pt x="2871891" y="3604459"/>
                    <a:pt x="2871891" y="3599519"/>
                  </a:cubicBezTo>
                  <a:cubicBezTo>
                    <a:pt x="2871891" y="3594567"/>
                    <a:pt x="2875904" y="3590544"/>
                    <a:pt x="2880850" y="3590544"/>
                  </a:cubicBezTo>
                  <a:close/>
                  <a:moveTo>
                    <a:pt x="2712085" y="3590544"/>
                  </a:moveTo>
                  <a:cubicBezTo>
                    <a:pt x="2717061" y="3590544"/>
                    <a:pt x="2721068" y="3594567"/>
                    <a:pt x="2721068" y="3599519"/>
                  </a:cubicBezTo>
                  <a:cubicBezTo>
                    <a:pt x="2721068" y="3604459"/>
                    <a:pt x="2717061" y="3608477"/>
                    <a:pt x="2712085" y="3608477"/>
                  </a:cubicBezTo>
                  <a:cubicBezTo>
                    <a:pt x="2707139" y="3608477"/>
                    <a:pt x="2703129" y="3604459"/>
                    <a:pt x="2703129" y="3599519"/>
                  </a:cubicBezTo>
                  <a:cubicBezTo>
                    <a:pt x="2703129" y="3594567"/>
                    <a:pt x="2707139" y="3590544"/>
                    <a:pt x="2712085" y="3590544"/>
                  </a:cubicBezTo>
                  <a:close/>
                  <a:moveTo>
                    <a:pt x="2543396" y="3590544"/>
                  </a:moveTo>
                  <a:cubicBezTo>
                    <a:pt x="2548343" y="3590544"/>
                    <a:pt x="2552357" y="3594567"/>
                    <a:pt x="2552357" y="3599519"/>
                  </a:cubicBezTo>
                  <a:cubicBezTo>
                    <a:pt x="2552357" y="3604459"/>
                    <a:pt x="2548343" y="3608477"/>
                    <a:pt x="2543396" y="3608477"/>
                  </a:cubicBezTo>
                  <a:cubicBezTo>
                    <a:pt x="2538441" y="3608477"/>
                    <a:pt x="2534426" y="3604459"/>
                    <a:pt x="2534426" y="3599519"/>
                  </a:cubicBezTo>
                  <a:cubicBezTo>
                    <a:pt x="2534426" y="3594567"/>
                    <a:pt x="2538441" y="3590544"/>
                    <a:pt x="2543396" y="3590544"/>
                  </a:cubicBezTo>
                  <a:close/>
                  <a:moveTo>
                    <a:pt x="2374604" y="3590544"/>
                  </a:moveTo>
                  <a:cubicBezTo>
                    <a:pt x="2379570" y="3590544"/>
                    <a:pt x="2383606" y="3594567"/>
                    <a:pt x="2383606" y="3599519"/>
                  </a:cubicBezTo>
                  <a:cubicBezTo>
                    <a:pt x="2383606" y="3604459"/>
                    <a:pt x="2379570" y="3608477"/>
                    <a:pt x="2374604" y="3608477"/>
                  </a:cubicBezTo>
                  <a:cubicBezTo>
                    <a:pt x="2369652" y="3608477"/>
                    <a:pt x="2365640" y="3604459"/>
                    <a:pt x="2365640" y="3599519"/>
                  </a:cubicBezTo>
                  <a:cubicBezTo>
                    <a:pt x="2365640" y="3594567"/>
                    <a:pt x="2369652" y="3590544"/>
                    <a:pt x="2374604" y="3590544"/>
                  </a:cubicBezTo>
                  <a:close/>
                  <a:moveTo>
                    <a:pt x="2205899" y="3590544"/>
                  </a:moveTo>
                  <a:cubicBezTo>
                    <a:pt x="2210844" y="3590544"/>
                    <a:pt x="2214855" y="3594567"/>
                    <a:pt x="2214855" y="3599519"/>
                  </a:cubicBezTo>
                  <a:cubicBezTo>
                    <a:pt x="2214855" y="3604459"/>
                    <a:pt x="2210844" y="3608477"/>
                    <a:pt x="2205899" y="3608477"/>
                  </a:cubicBezTo>
                  <a:cubicBezTo>
                    <a:pt x="2200922" y="3608477"/>
                    <a:pt x="2196907" y="3604459"/>
                    <a:pt x="2196907" y="3599519"/>
                  </a:cubicBezTo>
                  <a:cubicBezTo>
                    <a:pt x="2196907" y="3594567"/>
                    <a:pt x="2200922" y="3590544"/>
                    <a:pt x="2205899" y="3590544"/>
                  </a:cubicBezTo>
                  <a:close/>
                  <a:moveTo>
                    <a:pt x="2037151" y="3590544"/>
                  </a:moveTo>
                  <a:cubicBezTo>
                    <a:pt x="2042111" y="3590544"/>
                    <a:pt x="2046095" y="3594567"/>
                    <a:pt x="2046095" y="3599519"/>
                  </a:cubicBezTo>
                  <a:cubicBezTo>
                    <a:pt x="2046095" y="3604459"/>
                    <a:pt x="2042111" y="3608477"/>
                    <a:pt x="2037151" y="3608477"/>
                  </a:cubicBezTo>
                  <a:cubicBezTo>
                    <a:pt x="2032214" y="3608477"/>
                    <a:pt x="2028211" y="3604459"/>
                    <a:pt x="2028211" y="3599519"/>
                  </a:cubicBezTo>
                  <a:cubicBezTo>
                    <a:pt x="2028211" y="3594567"/>
                    <a:pt x="2032214" y="3590544"/>
                    <a:pt x="2037151" y="3590544"/>
                  </a:cubicBezTo>
                  <a:close/>
                  <a:moveTo>
                    <a:pt x="1868443" y="3590544"/>
                  </a:moveTo>
                  <a:cubicBezTo>
                    <a:pt x="1873383" y="3590544"/>
                    <a:pt x="1877393" y="3594567"/>
                    <a:pt x="1877393" y="3599519"/>
                  </a:cubicBezTo>
                  <a:cubicBezTo>
                    <a:pt x="1877393" y="3604459"/>
                    <a:pt x="1873383" y="3608477"/>
                    <a:pt x="1868443" y="3608477"/>
                  </a:cubicBezTo>
                  <a:cubicBezTo>
                    <a:pt x="1863485" y="3608477"/>
                    <a:pt x="1859468" y="3604459"/>
                    <a:pt x="1859468" y="3599519"/>
                  </a:cubicBezTo>
                  <a:cubicBezTo>
                    <a:pt x="1859468" y="3594567"/>
                    <a:pt x="1863485" y="3590544"/>
                    <a:pt x="1868443" y="3590544"/>
                  </a:cubicBezTo>
                  <a:close/>
                  <a:moveTo>
                    <a:pt x="1699691" y="3590544"/>
                  </a:moveTo>
                  <a:cubicBezTo>
                    <a:pt x="1704645" y="3590544"/>
                    <a:pt x="1708660" y="3594567"/>
                    <a:pt x="1708660" y="3599519"/>
                  </a:cubicBezTo>
                  <a:cubicBezTo>
                    <a:pt x="1708660" y="3604459"/>
                    <a:pt x="1704645" y="3608477"/>
                    <a:pt x="1699691" y="3608477"/>
                  </a:cubicBezTo>
                  <a:cubicBezTo>
                    <a:pt x="1694739" y="3608477"/>
                    <a:pt x="1690725" y="3604459"/>
                    <a:pt x="1690725" y="3599519"/>
                  </a:cubicBezTo>
                  <a:cubicBezTo>
                    <a:pt x="1690725" y="3594567"/>
                    <a:pt x="1694739" y="3590544"/>
                    <a:pt x="1699691" y="3590544"/>
                  </a:cubicBezTo>
                  <a:close/>
                  <a:moveTo>
                    <a:pt x="1530950" y="3590544"/>
                  </a:moveTo>
                  <a:cubicBezTo>
                    <a:pt x="1535900" y="3590544"/>
                    <a:pt x="1539912" y="3594567"/>
                    <a:pt x="1539912" y="3599519"/>
                  </a:cubicBezTo>
                  <a:cubicBezTo>
                    <a:pt x="1539912" y="3604459"/>
                    <a:pt x="1535900" y="3608479"/>
                    <a:pt x="1530950" y="3608479"/>
                  </a:cubicBezTo>
                  <a:cubicBezTo>
                    <a:pt x="1526000" y="3608479"/>
                    <a:pt x="1521988" y="3604459"/>
                    <a:pt x="1521988" y="3599519"/>
                  </a:cubicBezTo>
                  <a:cubicBezTo>
                    <a:pt x="1521988" y="3594567"/>
                    <a:pt x="1526000" y="3590544"/>
                    <a:pt x="1530950" y="3590544"/>
                  </a:cubicBezTo>
                  <a:close/>
                  <a:moveTo>
                    <a:pt x="1362199" y="3590544"/>
                  </a:moveTo>
                  <a:cubicBezTo>
                    <a:pt x="1367153" y="3590544"/>
                    <a:pt x="1371161" y="3594567"/>
                    <a:pt x="1371161" y="3599519"/>
                  </a:cubicBezTo>
                  <a:cubicBezTo>
                    <a:pt x="1371161" y="3604459"/>
                    <a:pt x="1367153" y="3608479"/>
                    <a:pt x="1362199" y="3608479"/>
                  </a:cubicBezTo>
                  <a:cubicBezTo>
                    <a:pt x="1357250" y="3608479"/>
                    <a:pt x="1353238" y="3604459"/>
                    <a:pt x="1353238" y="3599519"/>
                  </a:cubicBezTo>
                  <a:cubicBezTo>
                    <a:pt x="1353238" y="3594567"/>
                    <a:pt x="1357250" y="3590544"/>
                    <a:pt x="1362199" y="3590544"/>
                  </a:cubicBezTo>
                  <a:close/>
                  <a:moveTo>
                    <a:pt x="1193458" y="3590544"/>
                  </a:moveTo>
                  <a:cubicBezTo>
                    <a:pt x="1198406" y="3590544"/>
                    <a:pt x="1202418" y="3594567"/>
                    <a:pt x="1202418" y="3599519"/>
                  </a:cubicBezTo>
                  <a:cubicBezTo>
                    <a:pt x="1202418" y="3604459"/>
                    <a:pt x="1198406" y="3608479"/>
                    <a:pt x="1193458" y="3608479"/>
                  </a:cubicBezTo>
                  <a:cubicBezTo>
                    <a:pt x="1188510" y="3608479"/>
                    <a:pt x="1184499" y="3604459"/>
                    <a:pt x="1184499" y="3599519"/>
                  </a:cubicBezTo>
                  <a:cubicBezTo>
                    <a:pt x="1184499" y="3594567"/>
                    <a:pt x="1188510" y="3590544"/>
                    <a:pt x="1193458" y="3590544"/>
                  </a:cubicBezTo>
                  <a:close/>
                  <a:moveTo>
                    <a:pt x="1024704" y="3590544"/>
                  </a:moveTo>
                  <a:cubicBezTo>
                    <a:pt x="1029656" y="3590544"/>
                    <a:pt x="1033671" y="3594567"/>
                    <a:pt x="1033671" y="3599519"/>
                  </a:cubicBezTo>
                  <a:cubicBezTo>
                    <a:pt x="1033671" y="3604462"/>
                    <a:pt x="1029656" y="3608479"/>
                    <a:pt x="1024704" y="3608479"/>
                  </a:cubicBezTo>
                  <a:cubicBezTo>
                    <a:pt x="1019757" y="3608479"/>
                    <a:pt x="1015745" y="3604462"/>
                    <a:pt x="1015745" y="3599519"/>
                  </a:cubicBezTo>
                  <a:cubicBezTo>
                    <a:pt x="1015745" y="3594567"/>
                    <a:pt x="1019757" y="3590544"/>
                    <a:pt x="1024704" y="3590544"/>
                  </a:cubicBezTo>
                  <a:close/>
                  <a:moveTo>
                    <a:pt x="855977" y="3590544"/>
                  </a:moveTo>
                  <a:cubicBezTo>
                    <a:pt x="860925" y="3590544"/>
                    <a:pt x="864937" y="3594570"/>
                    <a:pt x="864937" y="3599519"/>
                  </a:cubicBezTo>
                  <a:cubicBezTo>
                    <a:pt x="864937" y="3604462"/>
                    <a:pt x="860925" y="3608479"/>
                    <a:pt x="855977" y="3608479"/>
                  </a:cubicBezTo>
                  <a:cubicBezTo>
                    <a:pt x="851027" y="3608479"/>
                    <a:pt x="847018" y="3604462"/>
                    <a:pt x="847018" y="3599519"/>
                  </a:cubicBezTo>
                  <a:cubicBezTo>
                    <a:pt x="847018" y="3594570"/>
                    <a:pt x="851027" y="3590544"/>
                    <a:pt x="855977" y="3590544"/>
                  </a:cubicBezTo>
                  <a:close/>
                  <a:moveTo>
                    <a:pt x="687238" y="3590544"/>
                  </a:moveTo>
                  <a:cubicBezTo>
                    <a:pt x="692186" y="3590544"/>
                    <a:pt x="696198" y="3594570"/>
                    <a:pt x="696198" y="3599519"/>
                  </a:cubicBezTo>
                  <a:cubicBezTo>
                    <a:pt x="696198" y="3604462"/>
                    <a:pt x="692186" y="3608479"/>
                    <a:pt x="687238" y="3608479"/>
                  </a:cubicBezTo>
                  <a:cubicBezTo>
                    <a:pt x="682289" y="3608479"/>
                    <a:pt x="678279" y="3604462"/>
                    <a:pt x="678279" y="3599519"/>
                  </a:cubicBezTo>
                  <a:cubicBezTo>
                    <a:pt x="678279" y="3594570"/>
                    <a:pt x="682289" y="3590544"/>
                    <a:pt x="687238" y="3590544"/>
                  </a:cubicBezTo>
                  <a:close/>
                  <a:moveTo>
                    <a:pt x="518469" y="3590544"/>
                  </a:moveTo>
                  <a:cubicBezTo>
                    <a:pt x="523418" y="3590544"/>
                    <a:pt x="527430" y="3594570"/>
                    <a:pt x="527430" y="3599519"/>
                  </a:cubicBezTo>
                  <a:cubicBezTo>
                    <a:pt x="527430" y="3604462"/>
                    <a:pt x="523418" y="3608479"/>
                    <a:pt x="518469" y="3608479"/>
                  </a:cubicBezTo>
                  <a:cubicBezTo>
                    <a:pt x="513520" y="3608479"/>
                    <a:pt x="509509" y="3604462"/>
                    <a:pt x="509509" y="3599519"/>
                  </a:cubicBezTo>
                  <a:cubicBezTo>
                    <a:pt x="509509" y="3594570"/>
                    <a:pt x="513520" y="3590544"/>
                    <a:pt x="518469" y="3590544"/>
                  </a:cubicBezTo>
                  <a:close/>
                  <a:moveTo>
                    <a:pt x="349731" y="3590544"/>
                  </a:moveTo>
                  <a:cubicBezTo>
                    <a:pt x="354680" y="3590544"/>
                    <a:pt x="358692" y="3594570"/>
                    <a:pt x="358692" y="3599519"/>
                  </a:cubicBezTo>
                  <a:cubicBezTo>
                    <a:pt x="358692" y="3604462"/>
                    <a:pt x="354680" y="3608479"/>
                    <a:pt x="349731" y="3608479"/>
                  </a:cubicBezTo>
                  <a:cubicBezTo>
                    <a:pt x="344783" y="3608479"/>
                    <a:pt x="340772" y="3604462"/>
                    <a:pt x="340772" y="3599519"/>
                  </a:cubicBezTo>
                  <a:cubicBezTo>
                    <a:pt x="340772" y="3594570"/>
                    <a:pt x="344783" y="3590544"/>
                    <a:pt x="349731" y="3590544"/>
                  </a:cubicBezTo>
                  <a:close/>
                  <a:moveTo>
                    <a:pt x="179413" y="3590544"/>
                  </a:moveTo>
                  <a:cubicBezTo>
                    <a:pt x="184362" y="3590544"/>
                    <a:pt x="188374" y="3594570"/>
                    <a:pt x="188374" y="3599519"/>
                  </a:cubicBezTo>
                  <a:cubicBezTo>
                    <a:pt x="188374" y="3604462"/>
                    <a:pt x="184362" y="3608479"/>
                    <a:pt x="179413" y="3608479"/>
                  </a:cubicBezTo>
                  <a:cubicBezTo>
                    <a:pt x="174465" y="3608479"/>
                    <a:pt x="170453" y="3604462"/>
                    <a:pt x="170453" y="3599519"/>
                  </a:cubicBezTo>
                  <a:cubicBezTo>
                    <a:pt x="170453" y="3594570"/>
                    <a:pt x="174465" y="3590544"/>
                    <a:pt x="179413" y="3590544"/>
                  </a:cubicBezTo>
                  <a:close/>
                  <a:moveTo>
                    <a:pt x="9097" y="3590544"/>
                  </a:moveTo>
                  <a:cubicBezTo>
                    <a:pt x="14045" y="3590544"/>
                    <a:pt x="18056" y="3594570"/>
                    <a:pt x="18056" y="3599519"/>
                  </a:cubicBezTo>
                  <a:cubicBezTo>
                    <a:pt x="18056" y="3604462"/>
                    <a:pt x="14045" y="3608479"/>
                    <a:pt x="9097" y="3608479"/>
                  </a:cubicBezTo>
                  <a:cubicBezTo>
                    <a:pt x="4148" y="3608479"/>
                    <a:pt x="136" y="3604462"/>
                    <a:pt x="136" y="3599519"/>
                  </a:cubicBezTo>
                  <a:cubicBezTo>
                    <a:pt x="136" y="3594570"/>
                    <a:pt x="4148" y="3590544"/>
                    <a:pt x="9097" y="3590544"/>
                  </a:cubicBezTo>
                  <a:close/>
                  <a:moveTo>
                    <a:pt x="349735" y="3419583"/>
                  </a:moveTo>
                  <a:cubicBezTo>
                    <a:pt x="354684" y="3419583"/>
                    <a:pt x="358696" y="3423603"/>
                    <a:pt x="358696" y="3428544"/>
                  </a:cubicBezTo>
                  <a:cubicBezTo>
                    <a:pt x="358696" y="3433492"/>
                    <a:pt x="354684" y="3437503"/>
                    <a:pt x="349735" y="3437503"/>
                  </a:cubicBezTo>
                  <a:cubicBezTo>
                    <a:pt x="344787" y="3437503"/>
                    <a:pt x="340775" y="3433492"/>
                    <a:pt x="340775" y="3428544"/>
                  </a:cubicBezTo>
                  <a:cubicBezTo>
                    <a:pt x="340775" y="3423603"/>
                    <a:pt x="344787" y="3419583"/>
                    <a:pt x="349735" y="3419583"/>
                  </a:cubicBezTo>
                  <a:close/>
                  <a:moveTo>
                    <a:pt x="179417" y="3419583"/>
                  </a:moveTo>
                  <a:cubicBezTo>
                    <a:pt x="184366" y="3419583"/>
                    <a:pt x="188378" y="3423603"/>
                    <a:pt x="188378" y="3428544"/>
                  </a:cubicBezTo>
                  <a:cubicBezTo>
                    <a:pt x="188378" y="3433492"/>
                    <a:pt x="184366" y="3437503"/>
                    <a:pt x="179417" y="3437503"/>
                  </a:cubicBezTo>
                  <a:cubicBezTo>
                    <a:pt x="174469" y="3437503"/>
                    <a:pt x="170457" y="3433492"/>
                    <a:pt x="170457" y="3428544"/>
                  </a:cubicBezTo>
                  <a:cubicBezTo>
                    <a:pt x="170457" y="3423603"/>
                    <a:pt x="174469" y="3419583"/>
                    <a:pt x="179417" y="3419583"/>
                  </a:cubicBezTo>
                  <a:close/>
                  <a:moveTo>
                    <a:pt x="687243" y="3419581"/>
                  </a:moveTo>
                  <a:cubicBezTo>
                    <a:pt x="692191" y="3419581"/>
                    <a:pt x="696203" y="3423603"/>
                    <a:pt x="696203" y="3428543"/>
                  </a:cubicBezTo>
                  <a:cubicBezTo>
                    <a:pt x="696203" y="3433492"/>
                    <a:pt x="692191" y="3437503"/>
                    <a:pt x="687243" y="3437503"/>
                  </a:cubicBezTo>
                  <a:cubicBezTo>
                    <a:pt x="682294" y="3437503"/>
                    <a:pt x="678284" y="3433492"/>
                    <a:pt x="678284" y="3428543"/>
                  </a:cubicBezTo>
                  <a:cubicBezTo>
                    <a:pt x="678284" y="3423603"/>
                    <a:pt x="682294" y="3419581"/>
                    <a:pt x="687243" y="3419581"/>
                  </a:cubicBezTo>
                  <a:close/>
                  <a:moveTo>
                    <a:pt x="518473" y="3419581"/>
                  </a:moveTo>
                  <a:cubicBezTo>
                    <a:pt x="523422" y="3419581"/>
                    <a:pt x="527433" y="3423603"/>
                    <a:pt x="527433" y="3428543"/>
                  </a:cubicBezTo>
                  <a:cubicBezTo>
                    <a:pt x="527433" y="3433492"/>
                    <a:pt x="523422" y="3437503"/>
                    <a:pt x="518473" y="3437503"/>
                  </a:cubicBezTo>
                  <a:cubicBezTo>
                    <a:pt x="513524" y="3437503"/>
                    <a:pt x="509513" y="3433492"/>
                    <a:pt x="509513" y="3428543"/>
                  </a:cubicBezTo>
                  <a:cubicBezTo>
                    <a:pt x="509513" y="3423603"/>
                    <a:pt x="513524" y="3419581"/>
                    <a:pt x="518473" y="3419581"/>
                  </a:cubicBezTo>
                  <a:close/>
                  <a:moveTo>
                    <a:pt x="9101" y="3419581"/>
                  </a:moveTo>
                  <a:cubicBezTo>
                    <a:pt x="14049" y="3419581"/>
                    <a:pt x="18060" y="3423603"/>
                    <a:pt x="18060" y="3428544"/>
                  </a:cubicBezTo>
                  <a:cubicBezTo>
                    <a:pt x="18060" y="3433492"/>
                    <a:pt x="14049" y="3437503"/>
                    <a:pt x="9101" y="3437503"/>
                  </a:cubicBezTo>
                  <a:cubicBezTo>
                    <a:pt x="4152" y="3437503"/>
                    <a:pt x="140" y="3433492"/>
                    <a:pt x="140" y="3428544"/>
                  </a:cubicBezTo>
                  <a:cubicBezTo>
                    <a:pt x="140" y="3423603"/>
                    <a:pt x="4152" y="3419581"/>
                    <a:pt x="9101" y="3419581"/>
                  </a:cubicBezTo>
                  <a:close/>
                  <a:moveTo>
                    <a:pt x="2374607" y="3419581"/>
                  </a:moveTo>
                  <a:cubicBezTo>
                    <a:pt x="2379573" y="3419581"/>
                    <a:pt x="2383611" y="3423595"/>
                    <a:pt x="2383611" y="3428541"/>
                  </a:cubicBezTo>
                  <a:cubicBezTo>
                    <a:pt x="2383611" y="3433489"/>
                    <a:pt x="2379573" y="3437500"/>
                    <a:pt x="2374607" y="3437500"/>
                  </a:cubicBezTo>
                  <a:cubicBezTo>
                    <a:pt x="2369655" y="3437500"/>
                    <a:pt x="2365643" y="3433489"/>
                    <a:pt x="2365643" y="3428541"/>
                  </a:cubicBezTo>
                  <a:cubicBezTo>
                    <a:pt x="2365643" y="3423595"/>
                    <a:pt x="2369655" y="3419581"/>
                    <a:pt x="2374607" y="3419581"/>
                  </a:cubicBezTo>
                  <a:close/>
                  <a:moveTo>
                    <a:pt x="2205903" y="3419581"/>
                  </a:moveTo>
                  <a:cubicBezTo>
                    <a:pt x="2210849" y="3419581"/>
                    <a:pt x="2214859" y="3423595"/>
                    <a:pt x="2214859" y="3428541"/>
                  </a:cubicBezTo>
                  <a:cubicBezTo>
                    <a:pt x="2214859" y="3433489"/>
                    <a:pt x="2210849" y="3437500"/>
                    <a:pt x="2205903" y="3437500"/>
                  </a:cubicBezTo>
                  <a:cubicBezTo>
                    <a:pt x="2200925" y="3437500"/>
                    <a:pt x="2196910" y="3433489"/>
                    <a:pt x="2196910" y="3428541"/>
                  </a:cubicBezTo>
                  <a:cubicBezTo>
                    <a:pt x="2196910" y="3423595"/>
                    <a:pt x="2200925" y="3419581"/>
                    <a:pt x="2205903" y="3419581"/>
                  </a:cubicBezTo>
                  <a:close/>
                  <a:moveTo>
                    <a:pt x="2037154" y="3419581"/>
                  </a:moveTo>
                  <a:cubicBezTo>
                    <a:pt x="2042115" y="3419581"/>
                    <a:pt x="2046099" y="3423595"/>
                    <a:pt x="2046099" y="3428542"/>
                  </a:cubicBezTo>
                  <a:cubicBezTo>
                    <a:pt x="2046099" y="3433489"/>
                    <a:pt x="2042115" y="3437500"/>
                    <a:pt x="2037154" y="3437500"/>
                  </a:cubicBezTo>
                  <a:cubicBezTo>
                    <a:pt x="2032217" y="3437500"/>
                    <a:pt x="2028216" y="3433489"/>
                    <a:pt x="2028216" y="3428542"/>
                  </a:cubicBezTo>
                  <a:cubicBezTo>
                    <a:pt x="2028216" y="3423595"/>
                    <a:pt x="2032217" y="3419581"/>
                    <a:pt x="2037154" y="3419581"/>
                  </a:cubicBezTo>
                  <a:close/>
                  <a:moveTo>
                    <a:pt x="1868448" y="3419581"/>
                  </a:moveTo>
                  <a:cubicBezTo>
                    <a:pt x="1873388" y="3419581"/>
                    <a:pt x="1877398" y="3423595"/>
                    <a:pt x="1877398" y="3428542"/>
                  </a:cubicBezTo>
                  <a:cubicBezTo>
                    <a:pt x="1877398" y="3433489"/>
                    <a:pt x="1873388" y="3437500"/>
                    <a:pt x="1868448" y="3437500"/>
                  </a:cubicBezTo>
                  <a:cubicBezTo>
                    <a:pt x="1863490" y="3437500"/>
                    <a:pt x="1859473" y="3433489"/>
                    <a:pt x="1859473" y="3428542"/>
                  </a:cubicBezTo>
                  <a:cubicBezTo>
                    <a:pt x="1859473" y="3423595"/>
                    <a:pt x="1863490" y="3419581"/>
                    <a:pt x="1868448" y="3419581"/>
                  </a:cubicBezTo>
                  <a:close/>
                  <a:moveTo>
                    <a:pt x="1699697" y="3419581"/>
                  </a:moveTo>
                  <a:cubicBezTo>
                    <a:pt x="1704649" y="3419581"/>
                    <a:pt x="1708665" y="3423595"/>
                    <a:pt x="1708665" y="3428542"/>
                  </a:cubicBezTo>
                  <a:cubicBezTo>
                    <a:pt x="1708665" y="3433489"/>
                    <a:pt x="1704649" y="3437501"/>
                    <a:pt x="1699697" y="3437501"/>
                  </a:cubicBezTo>
                  <a:cubicBezTo>
                    <a:pt x="1694744" y="3437501"/>
                    <a:pt x="1690730" y="3433489"/>
                    <a:pt x="1690730" y="3428542"/>
                  </a:cubicBezTo>
                  <a:cubicBezTo>
                    <a:pt x="1690730" y="3423595"/>
                    <a:pt x="1694744" y="3419581"/>
                    <a:pt x="1699697" y="3419581"/>
                  </a:cubicBezTo>
                  <a:close/>
                  <a:moveTo>
                    <a:pt x="1530955" y="3419581"/>
                  </a:moveTo>
                  <a:cubicBezTo>
                    <a:pt x="1535905" y="3419581"/>
                    <a:pt x="1539917" y="3423599"/>
                    <a:pt x="1539917" y="3428542"/>
                  </a:cubicBezTo>
                  <a:cubicBezTo>
                    <a:pt x="1539917" y="3433489"/>
                    <a:pt x="1535905" y="3437501"/>
                    <a:pt x="1530955" y="3437501"/>
                  </a:cubicBezTo>
                  <a:cubicBezTo>
                    <a:pt x="1526005" y="3437501"/>
                    <a:pt x="1521993" y="3433489"/>
                    <a:pt x="1521993" y="3428542"/>
                  </a:cubicBezTo>
                  <a:cubicBezTo>
                    <a:pt x="1521993" y="3423599"/>
                    <a:pt x="1526005" y="3419581"/>
                    <a:pt x="1530955" y="3419581"/>
                  </a:cubicBezTo>
                  <a:close/>
                  <a:moveTo>
                    <a:pt x="1362204" y="3419581"/>
                  </a:moveTo>
                  <a:cubicBezTo>
                    <a:pt x="1367157" y="3419581"/>
                    <a:pt x="1371166" y="3423599"/>
                    <a:pt x="1371166" y="3428542"/>
                  </a:cubicBezTo>
                  <a:cubicBezTo>
                    <a:pt x="1371166" y="3433489"/>
                    <a:pt x="1367157" y="3437501"/>
                    <a:pt x="1362204" y="3437501"/>
                  </a:cubicBezTo>
                  <a:cubicBezTo>
                    <a:pt x="1357255" y="3437501"/>
                    <a:pt x="1353243" y="3433489"/>
                    <a:pt x="1353243" y="3428542"/>
                  </a:cubicBezTo>
                  <a:cubicBezTo>
                    <a:pt x="1353243" y="3423599"/>
                    <a:pt x="1357255" y="3419581"/>
                    <a:pt x="1362204" y="3419581"/>
                  </a:cubicBezTo>
                  <a:close/>
                  <a:moveTo>
                    <a:pt x="1193462" y="3419581"/>
                  </a:moveTo>
                  <a:cubicBezTo>
                    <a:pt x="1198410" y="3419581"/>
                    <a:pt x="1202423" y="3423599"/>
                    <a:pt x="1202423" y="3428542"/>
                  </a:cubicBezTo>
                  <a:cubicBezTo>
                    <a:pt x="1202423" y="3433490"/>
                    <a:pt x="1198410" y="3437501"/>
                    <a:pt x="1193462" y="3437501"/>
                  </a:cubicBezTo>
                  <a:cubicBezTo>
                    <a:pt x="1188515" y="3437501"/>
                    <a:pt x="1184504" y="3433490"/>
                    <a:pt x="1184504" y="3428542"/>
                  </a:cubicBezTo>
                  <a:cubicBezTo>
                    <a:pt x="1184504" y="3423599"/>
                    <a:pt x="1188515" y="3419581"/>
                    <a:pt x="1193462" y="3419581"/>
                  </a:cubicBezTo>
                  <a:close/>
                  <a:moveTo>
                    <a:pt x="1024708" y="3419581"/>
                  </a:moveTo>
                  <a:cubicBezTo>
                    <a:pt x="1029660" y="3419581"/>
                    <a:pt x="1033675" y="3423599"/>
                    <a:pt x="1033675" y="3428543"/>
                  </a:cubicBezTo>
                  <a:cubicBezTo>
                    <a:pt x="1033675" y="3433490"/>
                    <a:pt x="1029660" y="3437501"/>
                    <a:pt x="1024708" y="3437501"/>
                  </a:cubicBezTo>
                  <a:cubicBezTo>
                    <a:pt x="1019760" y="3437501"/>
                    <a:pt x="1015750" y="3433490"/>
                    <a:pt x="1015750" y="3428543"/>
                  </a:cubicBezTo>
                  <a:cubicBezTo>
                    <a:pt x="1015750" y="3423599"/>
                    <a:pt x="1019760" y="3419581"/>
                    <a:pt x="1024708" y="3419581"/>
                  </a:cubicBezTo>
                  <a:close/>
                  <a:moveTo>
                    <a:pt x="855982" y="3419581"/>
                  </a:moveTo>
                  <a:cubicBezTo>
                    <a:pt x="860930" y="3419581"/>
                    <a:pt x="864942" y="3423603"/>
                    <a:pt x="864942" y="3428543"/>
                  </a:cubicBezTo>
                  <a:cubicBezTo>
                    <a:pt x="864942" y="3433490"/>
                    <a:pt x="860930" y="3437501"/>
                    <a:pt x="855982" y="3437501"/>
                  </a:cubicBezTo>
                  <a:cubicBezTo>
                    <a:pt x="851032" y="3437501"/>
                    <a:pt x="847022" y="3433490"/>
                    <a:pt x="847022" y="3428543"/>
                  </a:cubicBezTo>
                  <a:cubicBezTo>
                    <a:pt x="847022" y="3423603"/>
                    <a:pt x="851032" y="3419581"/>
                    <a:pt x="855982" y="3419581"/>
                  </a:cubicBezTo>
                  <a:close/>
                  <a:moveTo>
                    <a:pt x="3218290" y="3419578"/>
                  </a:moveTo>
                  <a:cubicBezTo>
                    <a:pt x="3223251" y="3419578"/>
                    <a:pt x="3227261" y="3423595"/>
                    <a:pt x="3227261" y="3428541"/>
                  </a:cubicBezTo>
                  <a:cubicBezTo>
                    <a:pt x="3227261" y="3433489"/>
                    <a:pt x="3223251" y="3437500"/>
                    <a:pt x="3218290" y="3437500"/>
                  </a:cubicBezTo>
                  <a:cubicBezTo>
                    <a:pt x="3213323" y="3437500"/>
                    <a:pt x="3209321" y="3433489"/>
                    <a:pt x="3209321" y="3428541"/>
                  </a:cubicBezTo>
                  <a:cubicBezTo>
                    <a:pt x="3209321" y="3423595"/>
                    <a:pt x="3213323" y="3419578"/>
                    <a:pt x="3218290" y="3419578"/>
                  </a:cubicBezTo>
                  <a:close/>
                  <a:moveTo>
                    <a:pt x="3049582" y="3419578"/>
                  </a:moveTo>
                  <a:cubicBezTo>
                    <a:pt x="3054516" y="3419578"/>
                    <a:pt x="3058529" y="3423595"/>
                    <a:pt x="3058529" y="3428541"/>
                  </a:cubicBezTo>
                  <a:cubicBezTo>
                    <a:pt x="3058529" y="3433489"/>
                    <a:pt x="3054516" y="3437500"/>
                    <a:pt x="3049582" y="3437500"/>
                  </a:cubicBezTo>
                  <a:cubicBezTo>
                    <a:pt x="3044630" y="3437500"/>
                    <a:pt x="3040612" y="3433489"/>
                    <a:pt x="3040612" y="3428541"/>
                  </a:cubicBezTo>
                  <a:cubicBezTo>
                    <a:pt x="3040612" y="3423595"/>
                    <a:pt x="3044630" y="3419578"/>
                    <a:pt x="3049582" y="3419578"/>
                  </a:cubicBezTo>
                  <a:close/>
                  <a:moveTo>
                    <a:pt x="2880853" y="3419578"/>
                  </a:moveTo>
                  <a:cubicBezTo>
                    <a:pt x="2885800" y="3419578"/>
                    <a:pt x="2889812" y="3423595"/>
                    <a:pt x="2889812" y="3428541"/>
                  </a:cubicBezTo>
                  <a:cubicBezTo>
                    <a:pt x="2889812" y="3433489"/>
                    <a:pt x="2885800" y="3437500"/>
                    <a:pt x="2880853" y="3437500"/>
                  </a:cubicBezTo>
                  <a:cubicBezTo>
                    <a:pt x="2875908" y="3437500"/>
                    <a:pt x="2871896" y="3433489"/>
                    <a:pt x="2871896" y="3428541"/>
                  </a:cubicBezTo>
                  <a:cubicBezTo>
                    <a:pt x="2871896" y="3423595"/>
                    <a:pt x="2875908" y="3419578"/>
                    <a:pt x="2880853" y="3419578"/>
                  </a:cubicBezTo>
                  <a:close/>
                  <a:moveTo>
                    <a:pt x="2712088" y="3419578"/>
                  </a:moveTo>
                  <a:cubicBezTo>
                    <a:pt x="2717064" y="3419578"/>
                    <a:pt x="2721071" y="3423595"/>
                    <a:pt x="2721071" y="3428541"/>
                  </a:cubicBezTo>
                  <a:cubicBezTo>
                    <a:pt x="2721071" y="3433489"/>
                    <a:pt x="2717064" y="3437500"/>
                    <a:pt x="2712088" y="3437500"/>
                  </a:cubicBezTo>
                  <a:cubicBezTo>
                    <a:pt x="2707143" y="3437500"/>
                    <a:pt x="2703132" y="3433489"/>
                    <a:pt x="2703132" y="3428541"/>
                  </a:cubicBezTo>
                  <a:cubicBezTo>
                    <a:pt x="2703132" y="3423595"/>
                    <a:pt x="2707143" y="3419578"/>
                    <a:pt x="2712088" y="3419578"/>
                  </a:cubicBezTo>
                  <a:close/>
                  <a:moveTo>
                    <a:pt x="2543400" y="3419578"/>
                  </a:moveTo>
                  <a:cubicBezTo>
                    <a:pt x="2548348" y="3419578"/>
                    <a:pt x="2552363" y="3423595"/>
                    <a:pt x="2552363" y="3428541"/>
                  </a:cubicBezTo>
                  <a:cubicBezTo>
                    <a:pt x="2552363" y="3433489"/>
                    <a:pt x="2548348" y="3437500"/>
                    <a:pt x="2543400" y="3437500"/>
                  </a:cubicBezTo>
                  <a:cubicBezTo>
                    <a:pt x="2538445" y="3437500"/>
                    <a:pt x="2534431" y="3433489"/>
                    <a:pt x="2534431" y="3428541"/>
                  </a:cubicBezTo>
                  <a:cubicBezTo>
                    <a:pt x="2534431" y="3423595"/>
                    <a:pt x="2538445" y="3419578"/>
                    <a:pt x="2543400" y="3419578"/>
                  </a:cubicBezTo>
                  <a:close/>
                  <a:moveTo>
                    <a:pt x="4061912" y="3419577"/>
                  </a:moveTo>
                  <a:cubicBezTo>
                    <a:pt x="4066861" y="3419577"/>
                    <a:pt x="4070873" y="3423595"/>
                    <a:pt x="4070873" y="3428539"/>
                  </a:cubicBezTo>
                  <a:cubicBezTo>
                    <a:pt x="4070873" y="3433487"/>
                    <a:pt x="4066861" y="3437498"/>
                    <a:pt x="4061912" y="3437498"/>
                  </a:cubicBezTo>
                  <a:cubicBezTo>
                    <a:pt x="4056963" y="3437498"/>
                    <a:pt x="4052952" y="3433487"/>
                    <a:pt x="4052952" y="3428539"/>
                  </a:cubicBezTo>
                  <a:cubicBezTo>
                    <a:pt x="4052952" y="3423595"/>
                    <a:pt x="4056963" y="3419577"/>
                    <a:pt x="4061912" y="3419577"/>
                  </a:cubicBezTo>
                  <a:close/>
                  <a:moveTo>
                    <a:pt x="3893170" y="3419577"/>
                  </a:moveTo>
                  <a:cubicBezTo>
                    <a:pt x="3898119" y="3419577"/>
                    <a:pt x="3902131" y="3423595"/>
                    <a:pt x="3902131" y="3428539"/>
                  </a:cubicBezTo>
                  <a:cubicBezTo>
                    <a:pt x="3902131" y="3433487"/>
                    <a:pt x="3898119" y="3437498"/>
                    <a:pt x="3893170" y="3437498"/>
                  </a:cubicBezTo>
                  <a:cubicBezTo>
                    <a:pt x="3888221" y="3437498"/>
                    <a:pt x="3884210" y="3433487"/>
                    <a:pt x="3884210" y="3428539"/>
                  </a:cubicBezTo>
                  <a:cubicBezTo>
                    <a:pt x="3884210" y="3423595"/>
                    <a:pt x="3888221" y="3419577"/>
                    <a:pt x="3893170" y="3419577"/>
                  </a:cubicBezTo>
                  <a:close/>
                  <a:moveTo>
                    <a:pt x="3724429" y="3419577"/>
                  </a:moveTo>
                  <a:cubicBezTo>
                    <a:pt x="3729378" y="3419577"/>
                    <a:pt x="3733390" y="3423595"/>
                    <a:pt x="3733390" y="3428540"/>
                  </a:cubicBezTo>
                  <a:cubicBezTo>
                    <a:pt x="3733390" y="3433489"/>
                    <a:pt x="3729378" y="3437500"/>
                    <a:pt x="3724429" y="3437500"/>
                  </a:cubicBezTo>
                  <a:cubicBezTo>
                    <a:pt x="3719481" y="3437500"/>
                    <a:pt x="3715469" y="3433489"/>
                    <a:pt x="3715469" y="3428540"/>
                  </a:cubicBezTo>
                  <a:cubicBezTo>
                    <a:pt x="3715469" y="3423595"/>
                    <a:pt x="3719481" y="3419577"/>
                    <a:pt x="3724429" y="3419577"/>
                  </a:cubicBezTo>
                  <a:close/>
                  <a:moveTo>
                    <a:pt x="3555688" y="3419577"/>
                  </a:moveTo>
                  <a:cubicBezTo>
                    <a:pt x="3560637" y="3419577"/>
                    <a:pt x="3564649" y="3423595"/>
                    <a:pt x="3564649" y="3428540"/>
                  </a:cubicBezTo>
                  <a:cubicBezTo>
                    <a:pt x="3564649" y="3433489"/>
                    <a:pt x="3560637" y="3437500"/>
                    <a:pt x="3555688" y="3437500"/>
                  </a:cubicBezTo>
                  <a:cubicBezTo>
                    <a:pt x="3550740" y="3437500"/>
                    <a:pt x="3546728" y="3433489"/>
                    <a:pt x="3546728" y="3428540"/>
                  </a:cubicBezTo>
                  <a:cubicBezTo>
                    <a:pt x="3546728" y="3423595"/>
                    <a:pt x="3550740" y="3419577"/>
                    <a:pt x="3555688" y="3419577"/>
                  </a:cubicBezTo>
                  <a:close/>
                  <a:moveTo>
                    <a:pt x="3387049" y="3419577"/>
                  </a:moveTo>
                  <a:cubicBezTo>
                    <a:pt x="3391998" y="3419577"/>
                    <a:pt x="3396010" y="3423595"/>
                    <a:pt x="3396010" y="3428540"/>
                  </a:cubicBezTo>
                  <a:cubicBezTo>
                    <a:pt x="3396010" y="3433489"/>
                    <a:pt x="3391998" y="3437500"/>
                    <a:pt x="3387049" y="3437500"/>
                  </a:cubicBezTo>
                  <a:cubicBezTo>
                    <a:pt x="3382050" y="3437500"/>
                    <a:pt x="3378038" y="3433489"/>
                    <a:pt x="3378038" y="3428540"/>
                  </a:cubicBezTo>
                  <a:cubicBezTo>
                    <a:pt x="3378038" y="3423595"/>
                    <a:pt x="3382050" y="3419577"/>
                    <a:pt x="3387049" y="3419577"/>
                  </a:cubicBezTo>
                  <a:close/>
                  <a:moveTo>
                    <a:pt x="4399396" y="3419577"/>
                  </a:moveTo>
                  <a:cubicBezTo>
                    <a:pt x="4404345" y="3419577"/>
                    <a:pt x="4408357" y="3423595"/>
                    <a:pt x="4408357" y="3428539"/>
                  </a:cubicBezTo>
                  <a:cubicBezTo>
                    <a:pt x="4408357" y="3433487"/>
                    <a:pt x="4404345" y="3437498"/>
                    <a:pt x="4399396" y="3437498"/>
                  </a:cubicBezTo>
                  <a:cubicBezTo>
                    <a:pt x="4394447" y="3437498"/>
                    <a:pt x="4390436" y="3433487"/>
                    <a:pt x="4390436" y="3428539"/>
                  </a:cubicBezTo>
                  <a:cubicBezTo>
                    <a:pt x="4390436" y="3423595"/>
                    <a:pt x="4394447" y="3419577"/>
                    <a:pt x="4399396" y="3419577"/>
                  </a:cubicBezTo>
                  <a:close/>
                  <a:moveTo>
                    <a:pt x="4230654" y="3419577"/>
                  </a:moveTo>
                  <a:cubicBezTo>
                    <a:pt x="4235603" y="3419577"/>
                    <a:pt x="4239615" y="3423595"/>
                    <a:pt x="4239615" y="3428539"/>
                  </a:cubicBezTo>
                  <a:cubicBezTo>
                    <a:pt x="4239615" y="3433487"/>
                    <a:pt x="4235603" y="3437498"/>
                    <a:pt x="4230654" y="3437498"/>
                  </a:cubicBezTo>
                  <a:cubicBezTo>
                    <a:pt x="4225705" y="3437498"/>
                    <a:pt x="4221694" y="3433487"/>
                    <a:pt x="4221694" y="3428539"/>
                  </a:cubicBezTo>
                  <a:cubicBezTo>
                    <a:pt x="4221694" y="3423595"/>
                    <a:pt x="4225705" y="3419577"/>
                    <a:pt x="4230654" y="3419577"/>
                  </a:cubicBezTo>
                  <a:close/>
                  <a:moveTo>
                    <a:pt x="6933679" y="3419575"/>
                  </a:moveTo>
                  <a:cubicBezTo>
                    <a:pt x="6938628" y="3419575"/>
                    <a:pt x="6942639" y="3423595"/>
                    <a:pt x="6942639" y="3428536"/>
                  </a:cubicBezTo>
                  <a:cubicBezTo>
                    <a:pt x="6942639" y="3433485"/>
                    <a:pt x="6938628" y="3437495"/>
                    <a:pt x="6933679" y="3437495"/>
                  </a:cubicBezTo>
                  <a:cubicBezTo>
                    <a:pt x="6928730" y="3437495"/>
                    <a:pt x="6924718" y="3433485"/>
                    <a:pt x="6924718" y="3428536"/>
                  </a:cubicBezTo>
                  <a:cubicBezTo>
                    <a:pt x="6924718" y="3423595"/>
                    <a:pt x="6928730" y="3419575"/>
                    <a:pt x="6933679" y="3419575"/>
                  </a:cubicBezTo>
                  <a:close/>
                  <a:moveTo>
                    <a:pt x="6763357" y="3419575"/>
                  </a:moveTo>
                  <a:cubicBezTo>
                    <a:pt x="6768306" y="3419575"/>
                    <a:pt x="6772318" y="3423595"/>
                    <a:pt x="6772318" y="3428536"/>
                  </a:cubicBezTo>
                  <a:cubicBezTo>
                    <a:pt x="6772318" y="3433485"/>
                    <a:pt x="6768306" y="3437496"/>
                    <a:pt x="6763357" y="3437496"/>
                  </a:cubicBezTo>
                  <a:cubicBezTo>
                    <a:pt x="6758408" y="3437496"/>
                    <a:pt x="6754397" y="3433485"/>
                    <a:pt x="6754397" y="3428536"/>
                  </a:cubicBezTo>
                  <a:cubicBezTo>
                    <a:pt x="6754397" y="3423595"/>
                    <a:pt x="6758408" y="3419575"/>
                    <a:pt x="6763357" y="3419575"/>
                  </a:cubicBezTo>
                  <a:close/>
                  <a:moveTo>
                    <a:pt x="6593035" y="3419575"/>
                  </a:moveTo>
                  <a:cubicBezTo>
                    <a:pt x="6597984" y="3419575"/>
                    <a:pt x="6601996" y="3423595"/>
                    <a:pt x="6601996" y="3428537"/>
                  </a:cubicBezTo>
                  <a:cubicBezTo>
                    <a:pt x="6601996" y="3433485"/>
                    <a:pt x="6597984" y="3437496"/>
                    <a:pt x="6593035" y="3437496"/>
                  </a:cubicBezTo>
                  <a:cubicBezTo>
                    <a:pt x="6588086" y="3437496"/>
                    <a:pt x="6584075" y="3433485"/>
                    <a:pt x="6584075" y="3428537"/>
                  </a:cubicBezTo>
                  <a:cubicBezTo>
                    <a:pt x="6584075" y="3423595"/>
                    <a:pt x="6588086" y="3419575"/>
                    <a:pt x="6593035" y="3419575"/>
                  </a:cubicBezTo>
                  <a:close/>
                  <a:moveTo>
                    <a:pt x="6424294" y="3419575"/>
                  </a:moveTo>
                  <a:cubicBezTo>
                    <a:pt x="6429243" y="3419575"/>
                    <a:pt x="6433255" y="3423595"/>
                    <a:pt x="6433255" y="3428537"/>
                  </a:cubicBezTo>
                  <a:cubicBezTo>
                    <a:pt x="6433255" y="3433485"/>
                    <a:pt x="6429243" y="3437496"/>
                    <a:pt x="6424294" y="3437496"/>
                  </a:cubicBezTo>
                  <a:cubicBezTo>
                    <a:pt x="6419345" y="3437496"/>
                    <a:pt x="6415334" y="3433485"/>
                    <a:pt x="6415334" y="3428537"/>
                  </a:cubicBezTo>
                  <a:cubicBezTo>
                    <a:pt x="6415334" y="3423595"/>
                    <a:pt x="6419345" y="3419575"/>
                    <a:pt x="6424294" y="3419575"/>
                  </a:cubicBezTo>
                  <a:close/>
                  <a:moveTo>
                    <a:pt x="6255553" y="3419575"/>
                  </a:moveTo>
                  <a:cubicBezTo>
                    <a:pt x="6260502" y="3419575"/>
                    <a:pt x="6264514" y="3423595"/>
                    <a:pt x="6264514" y="3428537"/>
                  </a:cubicBezTo>
                  <a:cubicBezTo>
                    <a:pt x="6264514" y="3433485"/>
                    <a:pt x="6260502" y="3437496"/>
                    <a:pt x="6255553" y="3437496"/>
                  </a:cubicBezTo>
                  <a:cubicBezTo>
                    <a:pt x="6250604" y="3437496"/>
                    <a:pt x="6246593" y="3433485"/>
                    <a:pt x="6246593" y="3428537"/>
                  </a:cubicBezTo>
                  <a:cubicBezTo>
                    <a:pt x="6246593" y="3423595"/>
                    <a:pt x="6250604" y="3419575"/>
                    <a:pt x="6255553" y="3419575"/>
                  </a:cubicBezTo>
                  <a:close/>
                  <a:moveTo>
                    <a:pt x="6086811" y="3419575"/>
                  </a:moveTo>
                  <a:cubicBezTo>
                    <a:pt x="6091760" y="3419575"/>
                    <a:pt x="6095772" y="3423595"/>
                    <a:pt x="6095772" y="3428538"/>
                  </a:cubicBezTo>
                  <a:cubicBezTo>
                    <a:pt x="6095772" y="3433485"/>
                    <a:pt x="6091760" y="3437496"/>
                    <a:pt x="6086811" y="3437496"/>
                  </a:cubicBezTo>
                  <a:cubicBezTo>
                    <a:pt x="6081862" y="3437496"/>
                    <a:pt x="6077851" y="3433485"/>
                    <a:pt x="6077851" y="3428538"/>
                  </a:cubicBezTo>
                  <a:cubicBezTo>
                    <a:pt x="6077851" y="3423595"/>
                    <a:pt x="6081862" y="3419575"/>
                    <a:pt x="6086811" y="3419575"/>
                  </a:cubicBezTo>
                  <a:close/>
                  <a:moveTo>
                    <a:pt x="5918069" y="3419575"/>
                  </a:moveTo>
                  <a:cubicBezTo>
                    <a:pt x="5923018" y="3419575"/>
                    <a:pt x="5927030" y="3423595"/>
                    <a:pt x="5927030" y="3428538"/>
                  </a:cubicBezTo>
                  <a:cubicBezTo>
                    <a:pt x="5927030" y="3433485"/>
                    <a:pt x="5923018" y="3437496"/>
                    <a:pt x="5918069" y="3437496"/>
                  </a:cubicBezTo>
                  <a:cubicBezTo>
                    <a:pt x="5913120" y="3437496"/>
                    <a:pt x="5909109" y="3433485"/>
                    <a:pt x="5909109" y="3428538"/>
                  </a:cubicBezTo>
                  <a:cubicBezTo>
                    <a:pt x="5909109" y="3423595"/>
                    <a:pt x="5913120" y="3419575"/>
                    <a:pt x="5918069" y="3419575"/>
                  </a:cubicBezTo>
                  <a:close/>
                  <a:moveTo>
                    <a:pt x="5749328" y="3419575"/>
                  </a:moveTo>
                  <a:cubicBezTo>
                    <a:pt x="5754277" y="3419575"/>
                    <a:pt x="5758289" y="3423595"/>
                    <a:pt x="5758289" y="3428538"/>
                  </a:cubicBezTo>
                  <a:cubicBezTo>
                    <a:pt x="5758289" y="3433487"/>
                    <a:pt x="5754277" y="3437496"/>
                    <a:pt x="5749328" y="3437496"/>
                  </a:cubicBezTo>
                  <a:cubicBezTo>
                    <a:pt x="5744379" y="3437496"/>
                    <a:pt x="5740368" y="3433487"/>
                    <a:pt x="5740368" y="3428538"/>
                  </a:cubicBezTo>
                  <a:cubicBezTo>
                    <a:pt x="5740368" y="3423595"/>
                    <a:pt x="5744379" y="3419575"/>
                    <a:pt x="5749328" y="3419575"/>
                  </a:cubicBezTo>
                  <a:close/>
                  <a:moveTo>
                    <a:pt x="5580586" y="3419575"/>
                  </a:moveTo>
                  <a:cubicBezTo>
                    <a:pt x="5585535" y="3419575"/>
                    <a:pt x="5589547" y="3423595"/>
                    <a:pt x="5589547" y="3428538"/>
                  </a:cubicBezTo>
                  <a:cubicBezTo>
                    <a:pt x="5589547" y="3433487"/>
                    <a:pt x="5585535" y="3437496"/>
                    <a:pt x="5580586" y="3437496"/>
                  </a:cubicBezTo>
                  <a:cubicBezTo>
                    <a:pt x="5575637" y="3437496"/>
                    <a:pt x="5571626" y="3433487"/>
                    <a:pt x="5571626" y="3428538"/>
                  </a:cubicBezTo>
                  <a:cubicBezTo>
                    <a:pt x="5571626" y="3423595"/>
                    <a:pt x="5575637" y="3419575"/>
                    <a:pt x="5580586" y="3419575"/>
                  </a:cubicBezTo>
                  <a:close/>
                  <a:moveTo>
                    <a:pt x="5411845" y="3419575"/>
                  </a:moveTo>
                  <a:cubicBezTo>
                    <a:pt x="5416794" y="3419575"/>
                    <a:pt x="5420806" y="3423595"/>
                    <a:pt x="5420806" y="3428538"/>
                  </a:cubicBezTo>
                  <a:cubicBezTo>
                    <a:pt x="5420806" y="3433487"/>
                    <a:pt x="5416794" y="3437498"/>
                    <a:pt x="5411845" y="3437498"/>
                  </a:cubicBezTo>
                  <a:cubicBezTo>
                    <a:pt x="5406896" y="3437498"/>
                    <a:pt x="5402885" y="3433487"/>
                    <a:pt x="5402885" y="3428538"/>
                  </a:cubicBezTo>
                  <a:cubicBezTo>
                    <a:pt x="5402885" y="3423595"/>
                    <a:pt x="5406896" y="3419575"/>
                    <a:pt x="5411845" y="3419575"/>
                  </a:cubicBezTo>
                  <a:close/>
                  <a:moveTo>
                    <a:pt x="5243103" y="3419575"/>
                  </a:moveTo>
                  <a:cubicBezTo>
                    <a:pt x="5248052" y="3419575"/>
                    <a:pt x="5252064" y="3423595"/>
                    <a:pt x="5252064" y="3428539"/>
                  </a:cubicBezTo>
                  <a:cubicBezTo>
                    <a:pt x="5252064" y="3433487"/>
                    <a:pt x="5248052" y="3437498"/>
                    <a:pt x="5243103" y="3437498"/>
                  </a:cubicBezTo>
                  <a:cubicBezTo>
                    <a:pt x="5238154" y="3437498"/>
                    <a:pt x="5234143" y="3433487"/>
                    <a:pt x="5234143" y="3428539"/>
                  </a:cubicBezTo>
                  <a:cubicBezTo>
                    <a:pt x="5234143" y="3423595"/>
                    <a:pt x="5238154" y="3419575"/>
                    <a:pt x="5243103" y="3419575"/>
                  </a:cubicBezTo>
                  <a:close/>
                  <a:moveTo>
                    <a:pt x="5074362" y="3419575"/>
                  </a:moveTo>
                  <a:cubicBezTo>
                    <a:pt x="5079311" y="3419575"/>
                    <a:pt x="5083323" y="3423595"/>
                    <a:pt x="5083323" y="3428539"/>
                  </a:cubicBezTo>
                  <a:cubicBezTo>
                    <a:pt x="5083323" y="3433487"/>
                    <a:pt x="5079311" y="3437498"/>
                    <a:pt x="5074362" y="3437498"/>
                  </a:cubicBezTo>
                  <a:cubicBezTo>
                    <a:pt x="5069413" y="3437498"/>
                    <a:pt x="5065402" y="3433487"/>
                    <a:pt x="5065402" y="3428539"/>
                  </a:cubicBezTo>
                  <a:cubicBezTo>
                    <a:pt x="5065402" y="3423595"/>
                    <a:pt x="5069413" y="3419575"/>
                    <a:pt x="5074362" y="3419575"/>
                  </a:cubicBezTo>
                  <a:close/>
                  <a:moveTo>
                    <a:pt x="4905620" y="3419575"/>
                  </a:moveTo>
                  <a:cubicBezTo>
                    <a:pt x="4910569" y="3419575"/>
                    <a:pt x="4914581" y="3423595"/>
                    <a:pt x="4914581" y="3428539"/>
                  </a:cubicBezTo>
                  <a:cubicBezTo>
                    <a:pt x="4914581" y="3433487"/>
                    <a:pt x="4910569" y="3437498"/>
                    <a:pt x="4905620" y="3437498"/>
                  </a:cubicBezTo>
                  <a:cubicBezTo>
                    <a:pt x="4900671" y="3437498"/>
                    <a:pt x="4896660" y="3433487"/>
                    <a:pt x="4896660" y="3428539"/>
                  </a:cubicBezTo>
                  <a:cubicBezTo>
                    <a:pt x="4896660" y="3423595"/>
                    <a:pt x="4900671" y="3419575"/>
                    <a:pt x="4905620" y="3419575"/>
                  </a:cubicBezTo>
                  <a:close/>
                  <a:moveTo>
                    <a:pt x="4736878" y="3419575"/>
                  </a:moveTo>
                  <a:cubicBezTo>
                    <a:pt x="4741827" y="3419575"/>
                    <a:pt x="4745839" y="3423595"/>
                    <a:pt x="4745839" y="3428539"/>
                  </a:cubicBezTo>
                  <a:cubicBezTo>
                    <a:pt x="4745839" y="3433487"/>
                    <a:pt x="4741827" y="3437498"/>
                    <a:pt x="4736878" y="3437498"/>
                  </a:cubicBezTo>
                  <a:cubicBezTo>
                    <a:pt x="4731929" y="3437498"/>
                    <a:pt x="4727918" y="3433487"/>
                    <a:pt x="4727918" y="3428539"/>
                  </a:cubicBezTo>
                  <a:cubicBezTo>
                    <a:pt x="4727918" y="3423595"/>
                    <a:pt x="4731929" y="3419575"/>
                    <a:pt x="4736878" y="3419575"/>
                  </a:cubicBezTo>
                  <a:close/>
                  <a:moveTo>
                    <a:pt x="4568137" y="3419575"/>
                  </a:moveTo>
                  <a:cubicBezTo>
                    <a:pt x="4573086" y="3419575"/>
                    <a:pt x="4577098" y="3423595"/>
                    <a:pt x="4577098" y="3428539"/>
                  </a:cubicBezTo>
                  <a:cubicBezTo>
                    <a:pt x="4577098" y="3433487"/>
                    <a:pt x="4573086" y="3437498"/>
                    <a:pt x="4568137" y="3437498"/>
                  </a:cubicBezTo>
                  <a:cubicBezTo>
                    <a:pt x="4563188" y="3437498"/>
                    <a:pt x="4559177" y="3433487"/>
                    <a:pt x="4559177" y="3428539"/>
                  </a:cubicBezTo>
                  <a:cubicBezTo>
                    <a:pt x="4559177" y="3423595"/>
                    <a:pt x="4563188" y="3419575"/>
                    <a:pt x="4568137" y="3419575"/>
                  </a:cubicBezTo>
                  <a:close/>
                  <a:moveTo>
                    <a:pt x="2374610" y="3248609"/>
                  </a:moveTo>
                  <a:cubicBezTo>
                    <a:pt x="2379576" y="3248609"/>
                    <a:pt x="2383615" y="3252621"/>
                    <a:pt x="2383615" y="3257571"/>
                  </a:cubicBezTo>
                  <a:cubicBezTo>
                    <a:pt x="2383615" y="3262517"/>
                    <a:pt x="2379576" y="3266527"/>
                    <a:pt x="2374610" y="3266527"/>
                  </a:cubicBezTo>
                  <a:cubicBezTo>
                    <a:pt x="2369658" y="3266527"/>
                    <a:pt x="2365646" y="3262517"/>
                    <a:pt x="2365646" y="3257571"/>
                  </a:cubicBezTo>
                  <a:cubicBezTo>
                    <a:pt x="2365646" y="3252621"/>
                    <a:pt x="2369658" y="3248609"/>
                    <a:pt x="2374610" y="3248609"/>
                  </a:cubicBezTo>
                  <a:close/>
                  <a:moveTo>
                    <a:pt x="2205906" y="3248609"/>
                  </a:moveTo>
                  <a:cubicBezTo>
                    <a:pt x="2210853" y="3248609"/>
                    <a:pt x="2214863" y="3252621"/>
                    <a:pt x="2214863" y="3257572"/>
                  </a:cubicBezTo>
                  <a:cubicBezTo>
                    <a:pt x="2214863" y="3262517"/>
                    <a:pt x="2210853" y="3266527"/>
                    <a:pt x="2205906" y="3266527"/>
                  </a:cubicBezTo>
                  <a:cubicBezTo>
                    <a:pt x="2200928" y="3266527"/>
                    <a:pt x="2196913" y="3262517"/>
                    <a:pt x="2196913" y="3257572"/>
                  </a:cubicBezTo>
                  <a:cubicBezTo>
                    <a:pt x="2196913" y="3252621"/>
                    <a:pt x="2200928" y="3248609"/>
                    <a:pt x="2205906" y="3248609"/>
                  </a:cubicBezTo>
                  <a:close/>
                  <a:moveTo>
                    <a:pt x="2037157" y="3248609"/>
                  </a:moveTo>
                  <a:cubicBezTo>
                    <a:pt x="2042120" y="3248609"/>
                    <a:pt x="2046103" y="3252622"/>
                    <a:pt x="2046103" y="3257572"/>
                  </a:cubicBezTo>
                  <a:cubicBezTo>
                    <a:pt x="2046103" y="3262518"/>
                    <a:pt x="2042120" y="3266527"/>
                    <a:pt x="2037157" y="3266527"/>
                  </a:cubicBezTo>
                  <a:cubicBezTo>
                    <a:pt x="2032221" y="3266527"/>
                    <a:pt x="2028222" y="3262518"/>
                    <a:pt x="2028222" y="3257572"/>
                  </a:cubicBezTo>
                  <a:cubicBezTo>
                    <a:pt x="2028222" y="3252622"/>
                    <a:pt x="2032221" y="3248609"/>
                    <a:pt x="2037157" y="3248609"/>
                  </a:cubicBezTo>
                  <a:close/>
                  <a:moveTo>
                    <a:pt x="1868454" y="3248609"/>
                  </a:moveTo>
                  <a:cubicBezTo>
                    <a:pt x="1873393" y="3248609"/>
                    <a:pt x="1877402" y="3252622"/>
                    <a:pt x="1877402" y="3257572"/>
                  </a:cubicBezTo>
                  <a:cubicBezTo>
                    <a:pt x="1877402" y="3262518"/>
                    <a:pt x="1873393" y="3266527"/>
                    <a:pt x="1868454" y="3266527"/>
                  </a:cubicBezTo>
                  <a:cubicBezTo>
                    <a:pt x="1863494" y="3266527"/>
                    <a:pt x="1859478" y="3262518"/>
                    <a:pt x="1859478" y="3257572"/>
                  </a:cubicBezTo>
                  <a:cubicBezTo>
                    <a:pt x="1859478" y="3252622"/>
                    <a:pt x="1863494" y="3248609"/>
                    <a:pt x="1868454" y="3248609"/>
                  </a:cubicBezTo>
                  <a:close/>
                  <a:moveTo>
                    <a:pt x="1699702" y="3248609"/>
                  </a:moveTo>
                  <a:cubicBezTo>
                    <a:pt x="1704654" y="3248609"/>
                    <a:pt x="1708669" y="3252622"/>
                    <a:pt x="1708669" y="3257572"/>
                  </a:cubicBezTo>
                  <a:cubicBezTo>
                    <a:pt x="1708669" y="3262519"/>
                    <a:pt x="1704654" y="3266527"/>
                    <a:pt x="1699702" y="3266527"/>
                  </a:cubicBezTo>
                  <a:cubicBezTo>
                    <a:pt x="1694748" y="3266527"/>
                    <a:pt x="1690734" y="3262519"/>
                    <a:pt x="1690734" y="3257572"/>
                  </a:cubicBezTo>
                  <a:cubicBezTo>
                    <a:pt x="1690734" y="3252622"/>
                    <a:pt x="1694748" y="3248609"/>
                    <a:pt x="1699702" y="3248609"/>
                  </a:cubicBezTo>
                  <a:close/>
                  <a:moveTo>
                    <a:pt x="1530960" y="3248609"/>
                  </a:moveTo>
                  <a:cubicBezTo>
                    <a:pt x="1535910" y="3248609"/>
                    <a:pt x="1539922" y="3252622"/>
                    <a:pt x="1539922" y="3257572"/>
                  </a:cubicBezTo>
                  <a:cubicBezTo>
                    <a:pt x="1539922" y="3262519"/>
                    <a:pt x="1535910" y="3266527"/>
                    <a:pt x="1530960" y="3266527"/>
                  </a:cubicBezTo>
                  <a:cubicBezTo>
                    <a:pt x="1526010" y="3266527"/>
                    <a:pt x="1521998" y="3262519"/>
                    <a:pt x="1521998" y="3257572"/>
                  </a:cubicBezTo>
                  <a:cubicBezTo>
                    <a:pt x="1521998" y="3252622"/>
                    <a:pt x="1526010" y="3248609"/>
                    <a:pt x="1530960" y="3248609"/>
                  </a:cubicBezTo>
                  <a:close/>
                  <a:moveTo>
                    <a:pt x="1362209" y="3248609"/>
                  </a:moveTo>
                  <a:cubicBezTo>
                    <a:pt x="1367162" y="3248609"/>
                    <a:pt x="1371170" y="3252622"/>
                    <a:pt x="1371170" y="3257572"/>
                  </a:cubicBezTo>
                  <a:cubicBezTo>
                    <a:pt x="1371170" y="3262519"/>
                    <a:pt x="1367162" y="3266527"/>
                    <a:pt x="1362209" y="3266527"/>
                  </a:cubicBezTo>
                  <a:cubicBezTo>
                    <a:pt x="1357259" y="3266527"/>
                    <a:pt x="1353247" y="3262519"/>
                    <a:pt x="1353247" y="3257572"/>
                  </a:cubicBezTo>
                  <a:cubicBezTo>
                    <a:pt x="1353247" y="3252622"/>
                    <a:pt x="1357259" y="3248609"/>
                    <a:pt x="1362209" y="3248609"/>
                  </a:cubicBezTo>
                  <a:close/>
                  <a:moveTo>
                    <a:pt x="1193467" y="3248609"/>
                  </a:moveTo>
                  <a:cubicBezTo>
                    <a:pt x="1198414" y="3248609"/>
                    <a:pt x="1202427" y="3252622"/>
                    <a:pt x="1202427" y="3257572"/>
                  </a:cubicBezTo>
                  <a:cubicBezTo>
                    <a:pt x="1202427" y="3262519"/>
                    <a:pt x="1198414" y="3266527"/>
                    <a:pt x="1193467" y="3266527"/>
                  </a:cubicBezTo>
                  <a:cubicBezTo>
                    <a:pt x="1188519" y="3266527"/>
                    <a:pt x="1184508" y="3262519"/>
                    <a:pt x="1184508" y="3257572"/>
                  </a:cubicBezTo>
                  <a:cubicBezTo>
                    <a:pt x="1184508" y="3252622"/>
                    <a:pt x="1188519" y="3248609"/>
                    <a:pt x="1193467" y="3248609"/>
                  </a:cubicBezTo>
                  <a:close/>
                  <a:moveTo>
                    <a:pt x="1024712" y="3248609"/>
                  </a:moveTo>
                  <a:cubicBezTo>
                    <a:pt x="1029664" y="3248609"/>
                    <a:pt x="1033679" y="3252622"/>
                    <a:pt x="1033679" y="3257572"/>
                  </a:cubicBezTo>
                  <a:cubicBezTo>
                    <a:pt x="1033679" y="3262519"/>
                    <a:pt x="1029664" y="3266527"/>
                    <a:pt x="1024712" y="3266527"/>
                  </a:cubicBezTo>
                  <a:cubicBezTo>
                    <a:pt x="1019764" y="3266527"/>
                    <a:pt x="1015753" y="3262519"/>
                    <a:pt x="1015753" y="3257572"/>
                  </a:cubicBezTo>
                  <a:cubicBezTo>
                    <a:pt x="1015753" y="3252622"/>
                    <a:pt x="1019764" y="3248609"/>
                    <a:pt x="1024712" y="3248609"/>
                  </a:cubicBezTo>
                  <a:close/>
                  <a:moveTo>
                    <a:pt x="855986" y="3248609"/>
                  </a:moveTo>
                  <a:cubicBezTo>
                    <a:pt x="860934" y="3248609"/>
                    <a:pt x="864946" y="3252622"/>
                    <a:pt x="864946" y="3257572"/>
                  </a:cubicBezTo>
                  <a:cubicBezTo>
                    <a:pt x="864946" y="3262519"/>
                    <a:pt x="860934" y="3266530"/>
                    <a:pt x="855986" y="3266530"/>
                  </a:cubicBezTo>
                  <a:cubicBezTo>
                    <a:pt x="851036" y="3266530"/>
                    <a:pt x="847026" y="3262519"/>
                    <a:pt x="847026" y="3257572"/>
                  </a:cubicBezTo>
                  <a:cubicBezTo>
                    <a:pt x="847026" y="3252622"/>
                    <a:pt x="851036" y="3248609"/>
                    <a:pt x="855986" y="3248609"/>
                  </a:cubicBezTo>
                  <a:close/>
                  <a:moveTo>
                    <a:pt x="687247" y="3248609"/>
                  </a:moveTo>
                  <a:cubicBezTo>
                    <a:pt x="692196" y="3248609"/>
                    <a:pt x="696207" y="3252622"/>
                    <a:pt x="696207" y="3257574"/>
                  </a:cubicBezTo>
                  <a:cubicBezTo>
                    <a:pt x="696207" y="3262519"/>
                    <a:pt x="692196" y="3266530"/>
                    <a:pt x="687247" y="3266530"/>
                  </a:cubicBezTo>
                  <a:cubicBezTo>
                    <a:pt x="682299" y="3266530"/>
                    <a:pt x="678288" y="3262519"/>
                    <a:pt x="678288" y="3257574"/>
                  </a:cubicBezTo>
                  <a:cubicBezTo>
                    <a:pt x="678288" y="3252622"/>
                    <a:pt x="682299" y="3248609"/>
                    <a:pt x="687247" y="3248609"/>
                  </a:cubicBezTo>
                  <a:close/>
                  <a:moveTo>
                    <a:pt x="518477" y="3248609"/>
                  </a:moveTo>
                  <a:cubicBezTo>
                    <a:pt x="523426" y="3248609"/>
                    <a:pt x="527437" y="3252622"/>
                    <a:pt x="527437" y="3257574"/>
                  </a:cubicBezTo>
                  <a:cubicBezTo>
                    <a:pt x="527437" y="3262519"/>
                    <a:pt x="523426" y="3266530"/>
                    <a:pt x="518477" y="3266530"/>
                  </a:cubicBezTo>
                  <a:cubicBezTo>
                    <a:pt x="513528" y="3266530"/>
                    <a:pt x="509516" y="3262519"/>
                    <a:pt x="509516" y="3257574"/>
                  </a:cubicBezTo>
                  <a:cubicBezTo>
                    <a:pt x="509516" y="3252622"/>
                    <a:pt x="513528" y="3248609"/>
                    <a:pt x="518477" y="3248609"/>
                  </a:cubicBezTo>
                  <a:close/>
                  <a:moveTo>
                    <a:pt x="349739" y="3248609"/>
                  </a:moveTo>
                  <a:cubicBezTo>
                    <a:pt x="354688" y="3248609"/>
                    <a:pt x="358699" y="3252627"/>
                    <a:pt x="358699" y="3257574"/>
                  </a:cubicBezTo>
                  <a:cubicBezTo>
                    <a:pt x="358699" y="3262520"/>
                    <a:pt x="354688" y="3266530"/>
                    <a:pt x="349739" y="3266530"/>
                  </a:cubicBezTo>
                  <a:cubicBezTo>
                    <a:pt x="344791" y="3266530"/>
                    <a:pt x="340779" y="3262520"/>
                    <a:pt x="340779" y="3257574"/>
                  </a:cubicBezTo>
                  <a:cubicBezTo>
                    <a:pt x="340779" y="3252627"/>
                    <a:pt x="344791" y="3248609"/>
                    <a:pt x="349739" y="3248609"/>
                  </a:cubicBezTo>
                  <a:close/>
                  <a:moveTo>
                    <a:pt x="179421" y="3248609"/>
                  </a:moveTo>
                  <a:cubicBezTo>
                    <a:pt x="184370" y="3248609"/>
                    <a:pt x="188382" y="3252627"/>
                    <a:pt x="188382" y="3257574"/>
                  </a:cubicBezTo>
                  <a:cubicBezTo>
                    <a:pt x="188382" y="3262520"/>
                    <a:pt x="184370" y="3266530"/>
                    <a:pt x="179421" y="3266530"/>
                  </a:cubicBezTo>
                  <a:cubicBezTo>
                    <a:pt x="174473" y="3266530"/>
                    <a:pt x="170461" y="3262520"/>
                    <a:pt x="170461" y="3257574"/>
                  </a:cubicBezTo>
                  <a:cubicBezTo>
                    <a:pt x="170461" y="3252627"/>
                    <a:pt x="174473" y="3248609"/>
                    <a:pt x="179421" y="3248609"/>
                  </a:cubicBezTo>
                  <a:close/>
                  <a:moveTo>
                    <a:pt x="9105" y="3248609"/>
                  </a:moveTo>
                  <a:cubicBezTo>
                    <a:pt x="14053" y="3248609"/>
                    <a:pt x="18064" y="3252627"/>
                    <a:pt x="18064" y="3257574"/>
                  </a:cubicBezTo>
                  <a:cubicBezTo>
                    <a:pt x="18064" y="3262520"/>
                    <a:pt x="14053" y="3266530"/>
                    <a:pt x="9105" y="3266530"/>
                  </a:cubicBezTo>
                  <a:cubicBezTo>
                    <a:pt x="4156" y="3266530"/>
                    <a:pt x="145" y="3262520"/>
                    <a:pt x="145" y="3257574"/>
                  </a:cubicBezTo>
                  <a:cubicBezTo>
                    <a:pt x="145" y="3252627"/>
                    <a:pt x="4156" y="3248609"/>
                    <a:pt x="9105" y="3248609"/>
                  </a:cubicBezTo>
                  <a:close/>
                  <a:moveTo>
                    <a:pt x="6086811" y="3248605"/>
                  </a:moveTo>
                  <a:cubicBezTo>
                    <a:pt x="6091760" y="3248605"/>
                    <a:pt x="6095772" y="3252620"/>
                    <a:pt x="6095772" y="3257568"/>
                  </a:cubicBezTo>
                  <a:cubicBezTo>
                    <a:pt x="6095772" y="3262514"/>
                    <a:pt x="6091760" y="3266525"/>
                    <a:pt x="6086811" y="3266525"/>
                  </a:cubicBezTo>
                  <a:cubicBezTo>
                    <a:pt x="6081862" y="3266525"/>
                    <a:pt x="6077851" y="3262514"/>
                    <a:pt x="6077851" y="3257568"/>
                  </a:cubicBezTo>
                  <a:cubicBezTo>
                    <a:pt x="6077851" y="3252620"/>
                    <a:pt x="6081862" y="3248605"/>
                    <a:pt x="6086811" y="3248605"/>
                  </a:cubicBezTo>
                  <a:close/>
                  <a:moveTo>
                    <a:pt x="5918069" y="3248605"/>
                  </a:moveTo>
                  <a:cubicBezTo>
                    <a:pt x="5923018" y="3248605"/>
                    <a:pt x="5927030" y="3252620"/>
                    <a:pt x="5927030" y="3257568"/>
                  </a:cubicBezTo>
                  <a:cubicBezTo>
                    <a:pt x="5927030" y="3262514"/>
                    <a:pt x="5923018" y="3266525"/>
                    <a:pt x="5918069" y="3266525"/>
                  </a:cubicBezTo>
                  <a:cubicBezTo>
                    <a:pt x="5913120" y="3266525"/>
                    <a:pt x="5909109" y="3262514"/>
                    <a:pt x="5909109" y="3257568"/>
                  </a:cubicBezTo>
                  <a:cubicBezTo>
                    <a:pt x="5909109" y="3252620"/>
                    <a:pt x="5913120" y="3248605"/>
                    <a:pt x="5918069" y="3248605"/>
                  </a:cubicBezTo>
                  <a:close/>
                  <a:moveTo>
                    <a:pt x="5749328" y="3248605"/>
                  </a:moveTo>
                  <a:cubicBezTo>
                    <a:pt x="5754277" y="3248605"/>
                    <a:pt x="5758289" y="3252620"/>
                    <a:pt x="5758289" y="3257568"/>
                  </a:cubicBezTo>
                  <a:cubicBezTo>
                    <a:pt x="5758289" y="3262514"/>
                    <a:pt x="5754277" y="3266525"/>
                    <a:pt x="5749328" y="3266525"/>
                  </a:cubicBezTo>
                  <a:cubicBezTo>
                    <a:pt x="5744379" y="3266525"/>
                    <a:pt x="5740368" y="3262514"/>
                    <a:pt x="5740368" y="3257568"/>
                  </a:cubicBezTo>
                  <a:cubicBezTo>
                    <a:pt x="5740368" y="3252620"/>
                    <a:pt x="5744379" y="3248605"/>
                    <a:pt x="5749328" y="3248605"/>
                  </a:cubicBezTo>
                  <a:close/>
                  <a:moveTo>
                    <a:pt x="5580586" y="3248605"/>
                  </a:moveTo>
                  <a:cubicBezTo>
                    <a:pt x="5585535" y="3248605"/>
                    <a:pt x="5589547" y="3252620"/>
                    <a:pt x="5589547" y="3257568"/>
                  </a:cubicBezTo>
                  <a:cubicBezTo>
                    <a:pt x="5589547" y="3262514"/>
                    <a:pt x="5585535" y="3266525"/>
                    <a:pt x="5580586" y="3266525"/>
                  </a:cubicBezTo>
                  <a:cubicBezTo>
                    <a:pt x="5575637" y="3266525"/>
                    <a:pt x="5571626" y="3262514"/>
                    <a:pt x="5571626" y="3257568"/>
                  </a:cubicBezTo>
                  <a:cubicBezTo>
                    <a:pt x="5571626" y="3252620"/>
                    <a:pt x="5575637" y="3248605"/>
                    <a:pt x="5580586" y="3248605"/>
                  </a:cubicBezTo>
                  <a:close/>
                  <a:moveTo>
                    <a:pt x="5411845" y="3248605"/>
                  </a:moveTo>
                  <a:cubicBezTo>
                    <a:pt x="5416794" y="3248605"/>
                    <a:pt x="5420806" y="3252620"/>
                    <a:pt x="5420806" y="3257568"/>
                  </a:cubicBezTo>
                  <a:cubicBezTo>
                    <a:pt x="5420806" y="3262514"/>
                    <a:pt x="5416794" y="3266525"/>
                    <a:pt x="5411845" y="3266525"/>
                  </a:cubicBezTo>
                  <a:cubicBezTo>
                    <a:pt x="5406896" y="3266525"/>
                    <a:pt x="5402885" y="3262514"/>
                    <a:pt x="5402885" y="3257568"/>
                  </a:cubicBezTo>
                  <a:cubicBezTo>
                    <a:pt x="5402885" y="3252620"/>
                    <a:pt x="5406896" y="3248605"/>
                    <a:pt x="5411845" y="3248605"/>
                  </a:cubicBezTo>
                  <a:close/>
                  <a:moveTo>
                    <a:pt x="5243103" y="3248605"/>
                  </a:moveTo>
                  <a:cubicBezTo>
                    <a:pt x="5248052" y="3248605"/>
                    <a:pt x="5252064" y="3252620"/>
                    <a:pt x="5252064" y="3257568"/>
                  </a:cubicBezTo>
                  <a:cubicBezTo>
                    <a:pt x="5252064" y="3262514"/>
                    <a:pt x="5248052" y="3266525"/>
                    <a:pt x="5243103" y="3266525"/>
                  </a:cubicBezTo>
                  <a:cubicBezTo>
                    <a:pt x="5238154" y="3266525"/>
                    <a:pt x="5234143" y="3262514"/>
                    <a:pt x="5234143" y="3257568"/>
                  </a:cubicBezTo>
                  <a:cubicBezTo>
                    <a:pt x="5234143" y="3252620"/>
                    <a:pt x="5238154" y="3248605"/>
                    <a:pt x="5243103" y="3248605"/>
                  </a:cubicBezTo>
                  <a:close/>
                  <a:moveTo>
                    <a:pt x="5074362" y="3248605"/>
                  </a:moveTo>
                  <a:cubicBezTo>
                    <a:pt x="5079311" y="3248605"/>
                    <a:pt x="5083323" y="3252620"/>
                    <a:pt x="5083323" y="3257568"/>
                  </a:cubicBezTo>
                  <a:cubicBezTo>
                    <a:pt x="5083323" y="3262514"/>
                    <a:pt x="5079311" y="3266525"/>
                    <a:pt x="5074362" y="3266525"/>
                  </a:cubicBezTo>
                  <a:cubicBezTo>
                    <a:pt x="5069413" y="3266525"/>
                    <a:pt x="5065402" y="3262514"/>
                    <a:pt x="5065402" y="3257568"/>
                  </a:cubicBezTo>
                  <a:cubicBezTo>
                    <a:pt x="5065402" y="3252620"/>
                    <a:pt x="5069413" y="3248605"/>
                    <a:pt x="5074362" y="3248605"/>
                  </a:cubicBezTo>
                  <a:close/>
                  <a:moveTo>
                    <a:pt x="4905620" y="3248605"/>
                  </a:moveTo>
                  <a:cubicBezTo>
                    <a:pt x="4910569" y="3248605"/>
                    <a:pt x="4914581" y="3252620"/>
                    <a:pt x="4914581" y="3257568"/>
                  </a:cubicBezTo>
                  <a:cubicBezTo>
                    <a:pt x="4914581" y="3262514"/>
                    <a:pt x="4910569" y="3266525"/>
                    <a:pt x="4905620" y="3266525"/>
                  </a:cubicBezTo>
                  <a:cubicBezTo>
                    <a:pt x="4900671" y="3266525"/>
                    <a:pt x="4896660" y="3262514"/>
                    <a:pt x="4896660" y="3257568"/>
                  </a:cubicBezTo>
                  <a:cubicBezTo>
                    <a:pt x="4896660" y="3252620"/>
                    <a:pt x="4900671" y="3248605"/>
                    <a:pt x="4905620" y="3248605"/>
                  </a:cubicBezTo>
                  <a:close/>
                  <a:moveTo>
                    <a:pt x="4736878" y="3248605"/>
                  </a:moveTo>
                  <a:cubicBezTo>
                    <a:pt x="4741827" y="3248605"/>
                    <a:pt x="4745839" y="3252620"/>
                    <a:pt x="4745839" y="3257568"/>
                  </a:cubicBezTo>
                  <a:cubicBezTo>
                    <a:pt x="4745839" y="3262514"/>
                    <a:pt x="4741827" y="3266525"/>
                    <a:pt x="4736878" y="3266525"/>
                  </a:cubicBezTo>
                  <a:cubicBezTo>
                    <a:pt x="4731929" y="3266525"/>
                    <a:pt x="4727918" y="3262514"/>
                    <a:pt x="4727918" y="3257568"/>
                  </a:cubicBezTo>
                  <a:cubicBezTo>
                    <a:pt x="4727918" y="3252620"/>
                    <a:pt x="4731929" y="3248605"/>
                    <a:pt x="4736878" y="3248605"/>
                  </a:cubicBezTo>
                  <a:close/>
                  <a:moveTo>
                    <a:pt x="4568137" y="3248605"/>
                  </a:moveTo>
                  <a:cubicBezTo>
                    <a:pt x="4573086" y="3248605"/>
                    <a:pt x="4577098" y="3252620"/>
                    <a:pt x="4577098" y="3257568"/>
                  </a:cubicBezTo>
                  <a:cubicBezTo>
                    <a:pt x="4577098" y="3262514"/>
                    <a:pt x="4573086" y="3266525"/>
                    <a:pt x="4568137" y="3266525"/>
                  </a:cubicBezTo>
                  <a:cubicBezTo>
                    <a:pt x="4563188" y="3266525"/>
                    <a:pt x="4559177" y="3262514"/>
                    <a:pt x="4559177" y="3257568"/>
                  </a:cubicBezTo>
                  <a:cubicBezTo>
                    <a:pt x="4559177" y="3252620"/>
                    <a:pt x="4563188" y="3248605"/>
                    <a:pt x="4568137" y="3248605"/>
                  </a:cubicBezTo>
                  <a:close/>
                  <a:moveTo>
                    <a:pt x="4399396" y="3248605"/>
                  </a:moveTo>
                  <a:cubicBezTo>
                    <a:pt x="4404345" y="3248605"/>
                    <a:pt x="4408357" y="3252620"/>
                    <a:pt x="4408357" y="3257568"/>
                  </a:cubicBezTo>
                  <a:cubicBezTo>
                    <a:pt x="4408357" y="3262514"/>
                    <a:pt x="4404345" y="3266525"/>
                    <a:pt x="4399396" y="3266525"/>
                  </a:cubicBezTo>
                  <a:cubicBezTo>
                    <a:pt x="4394447" y="3266525"/>
                    <a:pt x="4390436" y="3262514"/>
                    <a:pt x="4390436" y="3257568"/>
                  </a:cubicBezTo>
                  <a:cubicBezTo>
                    <a:pt x="4390436" y="3252620"/>
                    <a:pt x="4394447" y="3248605"/>
                    <a:pt x="4399396" y="3248605"/>
                  </a:cubicBezTo>
                  <a:close/>
                  <a:moveTo>
                    <a:pt x="4230654" y="3248605"/>
                  </a:moveTo>
                  <a:cubicBezTo>
                    <a:pt x="4235603" y="3248605"/>
                    <a:pt x="4239615" y="3252621"/>
                    <a:pt x="4239615" y="3257571"/>
                  </a:cubicBezTo>
                  <a:cubicBezTo>
                    <a:pt x="4239615" y="3262515"/>
                    <a:pt x="4235603" y="3266525"/>
                    <a:pt x="4230654" y="3266525"/>
                  </a:cubicBezTo>
                  <a:cubicBezTo>
                    <a:pt x="4225705" y="3266525"/>
                    <a:pt x="4221694" y="3262515"/>
                    <a:pt x="4221694" y="3257571"/>
                  </a:cubicBezTo>
                  <a:cubicBezTo>
                    <a:pt x="4221694" y="3252621"/>
                    <a:pt x="4225705" y="3248605"/>
                    <a:pt x="4230654" y="3248605"/>
                  </a:cubicBezTo>
                  <a:close/>
                  <a:moveTo>
                    <a:pt x="4061912" y="3248605"/>
                  </a:moveTo>
                  <a:cubicBezTo>
                    <a:pt x="4066861" y="3248605"/>
                    <a:pt x="4070873" y="3252621"/>
                    <a:pt x="4070873" y="3257571"/>
                  </a:cubicBezTo>
                  <a:cubicBezTo>
                    <a:pt x="4070873" y="3262515"/>
                    <a:pt x="4066861" y="3266525"/>
                    <a:pt x="4061912" y="3266525"/>
                  </a:cubicBezTo>
                  <a:cubicBezTo>
                    <a:pt x="4056963" y="3266525"/>
                    <a:pt x="4052952" y="3262515"/>
                    <a:pt x="4052952" y="3257571"/>
                  </a:cubicBezTo>
                  <a:cubicBezTo>
                    <a:pt x="4052952" y="3252621"/>
                    <a:pt x="4056963" y="3248605"/>
                    <a:pt x="4061912" y="3248605"/>
                  </a:cubicBezTo>
                  <a:close/>
                  <a:moveTo>
                    <a:pt x="3893170" y="3248605"/>
                  </a:moveTo>
                  <a:cubicBezTo>
                    <a:pt x="3898119" y="3248605"/>
                    <a:pt x="3902131" y="3252621"/>
                    <a:pt x="3902131" y="3257571"/>
                  </a:cubicBezTo>
                  <a:cubicBezTo>
                    <a:pt x="3902131" y="3262515"/>
                    <a:pt x="3898119" y="3266525"/>
                    <a:pt x="3893170" y="3266525"/>
                  </a:cubicBezTo>
                  <a:cubicBezTo>
                    <a:pt x="3888221" y="3266525"/>
                    <a:pt x="3884210" y="3262515"/>
                    <a:pt x="3884210" y="3257571"/>
                  </a:cubicBezTo>
                  <a:cubicBezTo>
                    <a:pt x="3884210" y="3252621"/>
                    <a:pt x="3888221" y="3248605"/>
                    <a:pt x="3893170" y="3248605"/>
                  </a:cubicBezTo>
                  <a:close/>
                  <a:moveTo>
                    <a:pt x="3724429" y="3248605"/>
                  </a:moveTo>
                  <a:cubicBezTo>
                    <a:pt x="3729378" y="3248605"/>
                    <a:pt x="3733390" y="3252621"/>
                    <a:pt x="3733390" y="3257571"/>
                  </a:cubicBezTo>
                  <a:cubicBezTo>
                    <a:pt x="3733390" y="3262515"/>
                    <a:pt x="3729378" y="3266525"/>
                    <a:pt x="3724429" y="3266525"/>
                  </a:cubicBezTo>
                  <a:cubicBezTo>
                    <a:pt x="3719481" y="3266525"/>
                    <a:pt x="3715469" y="3262515"/>
                    <a:pt x="3715469" y="3257571"/>
                  </a:cubicBezTo>
                  <a:cubicBezTo>
                    <a:pt x="3715469" y="3252621"/>
                    <a:pt x="3719481" y="3248605"/>
                    <a:pt x="3724429" y="3248605"/>
                  </a:cubicBezTo>
                  <a:close/>
                  <a:moveTo>
                    <a:pt x="3555688" y="3248605"/>
                  </a:moveTo>
                  <a:cubicBezTo>
                    <a:pt x="3560637" y="3248605"/>
                    <a:pt x="3564649" y="3252621"/>
                    <a:pt x="3564649" y="3257571"/>
                  </a:cubicBezTo>
                  <a:cubicBezTo>
                    <a:pt x="3564649" y="3262515"/>
                    <a:pt x="3560637" y="3266525"/>
                    <a:pt x="3555688" y="3266525"/>
                  </a:cubicBezTo>
                  <a:cubicBezTo>
                    <a:pt x="3550740" y="3266525"/>
                    <a:pt x="3546728" y="3262515"/>
                    <a:pt x="3546728" y="3257571"/>
                  </a:cubicBezTo>
                  <a:cubicBezTo>
                    <a:pt x="3546728" y="3252621"/>
                    <a:pt x="3550740" y="3248605"/>
                    <a:pt x="3555688" y="3248605"/>
                  </a:cubicBezTo>
                  <a:close/>
                  <a:moveTo>
                    <a:pt x="3387050" y="3248605"/>
                  </a:moveTo>
                  <a:cubicBezTo>
                    <a:pt x="3392001" y="3248605"/>
                    <a:pt x="3396013" y="3252621"/>
                    <a:pt x="3396013" y="3257571"/>
                  </a:cubicBezTo>
                  <a:cubicBezTo>
                    <a:pt x="3396013" y="3262517"/>
                    <a:pt x="3392001" y="3266527"/>
                    <a:pt x="3387050" y="3266527"/>
                  </a:cubicBezTo>
                  <a:cubicBezTo>
                    <a:pt x="3382052" y="3266527"/>
                    <a:pt x="3378039" y="3262517"/>
                    <a:pt x="3378039" y="3257571"/>
                  </a:cubicBezTo>
                  <a:cubicBezTo>
                    <a:pt x="3378039" y="3252621"/>
                    <a:pt x="3382052" y="3248605"/>
                    <a:pt x="3387050" y="3248605"/>
                  </a:cubicBezTo>
                  <a:close/>
                  <a:moveTo>
                    <a:pt x="3218292" y="3248605"/>
                  </a:moveTo>
                  <a:cubicBezTo>
                    <a:pt x="3223253" y="3248605"/>
                    <a:pt x="3227264" y="3252621"/>
                    <a:pt x="3227264" y="3257571"/>
                  </a:cubicBezTo>
                  <a:cubicBezTo>
                    <a:pt x="3227264" y="3262517"/>
                    <a:pt x="3223253" y="3266527"/>
                    <a:pt x="3218292" y="3266527"/>
                  </a:cubicBezTo>
                  <a:cubicBezTo>
                    <a:pt x="3213325" y="3266527"/>
                    <a:pt x="3209323" y="3262517"/>
                    <a:pt x="3209323" y="3257571"/>
                  </a:cubicBezTo>
                  <a:cubicBezTo>
                    <a:pt x="3209323" y="3252621"/>
                    <a:pt x="3213325" y="3248605"/>
                    <a:pt x="3218292" y="3248605"/>
                  </a:cubicBezTo>
                  <a:close/>
                  <a:moveTo>
                    <a:pt x="3049585" y="3248605"/>
                  </a:moveTo>
                  <a:cubicBezTo>
                    <a:pt x="3054519" y="3248605"/>
                    <a:pt x="3058532" y="3252621"/>
                    <a:pt x="3058532" y="3257571"/>
                  </a:cubicBezTo>
                  <a:cubicBezTo>
                    <a:pt x="3058532" y="3262517"/>
                    <a:pt x="3054519" y="3266527"/>
                    <a:pt x="3049585" y="3266527"/>
                  </a:cubicBezTo>
                  <a:cubicBezTo>
                    <a:pt x="3044633" y="3266527"/>
                    <a:pt x="3040615" y="3262517"/>
                    <a:pt x="3040615" y="3257571"/>
                  </a:cubicBezTo>
                  <a:cubicBezTo>
                    <a:pt x="3040615" y="3252621"/>
                    <a:pt x="3044633" y="3248605"/>
                    <a:pt x="3049585" y="3248605"/>
                  </a:cubicBezTo>
                  <a:close/>
                  <a:moveTo>
                    <a:pt x="2880857" y="3248605"/>
                  </a:moveTo>
                  <a:cubicBezTo>
                    <a:pt x="2885804" y="3248605"/>
                    <a:pt x="2889816" y="3252621"/>
                    <a:pt x="2889816" y="3257571"/>
                  </a:cubicBezTo>
                  <a:cubicBezTo>
                    <a:pt x="2889816" y="3262517"/>
                    <a:pt x="2885804" y="3266527"/>
                    <a:pt x="2880857" y="3266527"/>
                  </a:cubicBezTo>
                  <a:cubicBezTo>
                    <a:pt x="2875912" y="3266527"/>
                    <a:pt x="2871900" y="3262517"/>
                    <a:pt x="2871900" y="3257571"/>
                  </a:cubicBezTo>
                  <a:cubicBezTo>
                    <a:pt x="2871900" y="3252621"/>
                    <a:pt x="2875912" y="3248605"/>
                    <a:pt x="2880857" y="3248605"/>
                  </a:cubicBezTo>
                  <a:close/>
                  <a:moveTo>
                    <a:pt x="2712091" y="3248605"/>
                  </a:moveTo>
                  <a:cubicBezTo>
                    <a:pt x="2717067" y="3248605"/>
                    <a:pt x="2721074" y="3252621"/>
                    <a:pt x="2721074" y="3257571"/>
                  </a:cubicBezTo>
                  <a:cubicBezTo>
                    <a:pt x="2721074" y="3262517"/>
                    <a:pt x="2717067" y="3266527"/>
                    <a:pt x="2712091" y="3266527"/>
                  </a:cubicBezTo>
                  <a:cubicBezTo>
                    <a:pt x="2707147" y="3266527"/>
                    <a:pt x="2703135" y="3262517"/>
                    <a:pt x="2703135" y="3257571"/>
                  </a:cubicBezTo>
                  <a:cubicBezTo>
                    <a:pt x="2703135" y="3252621"/>
                    <a:pt x="2707147" y="3248605"/>
                    <a:pt x="2712091" y="3248605"/>
                  </a:cubicBezTo>
                  <a:close/>
                  <a:moveTo>
                    <a:pt x="2543405" y="3248605"/>
                  </a:moveTo>
                  <a:cubicBezTo>
                    <a:pt x="2548353" y="3248605"/>
                    <a:pt x="2552368" y="3252621"/>
                    <a:pt x="2552368" y="3257571"/>
                  </a:cubicBezTo>
                  <a:cubicBezTo>
                    <a:pt x="2552368" y="3262517"/>
                    <a:pt x="2548353" y="3266527"/>
                    <a:pt x="2543405" y="3266527"/>
                  </a:cubicBezTo>
                  <a:cubicBezTo>
                    <a:pt x="2538450" y="3266527"/>
                    <a:pt x="2534434" y="3262517"/>
                    <a:pt x="2534434" y="3257571"/>
                  </a:cubicBezTo>
                  <a:cubicBezTo>
                    <a:pt x="2534434" y="3252621"/>
                    <a:pt x="2538450" y="3248605"/>
                    <a:pt x="2543405" y="3248605"/>
                  </a:cubicBezTo>
                  <a:close/>
                  <a:moveTo>
                    <a:pt x="6933679" y="3248602"/>
                  </a:moveTo>
                  <a:cubicBezTo>
                    <a:pt x="6938628" y="3248602"/>
                    <a:pt x="6942639" y="3252616"/>
                    <a:pt x="6942639" y="3257567"/>
                  </a:cubicBezTo>
                  <a:cubicBezTo>
                    <a:pt x="6942639" y="3262513"/>
                    <a:pt x="6938628" y="3266525"/>
                    <a:pt x="6933679" y="3266525"/>
                  </a:cubicBezTo>
                  <a:cubicBezTo>
                    <a:pt x="6928730" y="3266525"/>
                    <a:pt x="6924718" y="3262513"/>
                    <a:pt x="6924718" y="3257567"/>
                  </a:cubicBezTo>
                  <a:cubicBezTo>
                    <a:pt x="6924718" y="3252616"/>
                    <a:pt x="6928730" y="3248602"/>
                    <a:pt x="6933679" y="3248602"/>
                  </a:cubicBezTo>
                  <a:close/>
                  <a:moveTo>
                    <a:pt x="6763357" y="3248602"/>
                  </a:moveTo>
                  <a:cubicBezTo>
                    <a:pt x="6768306" y="3248602"/>
                    <a:pt x="6772318" y="3252616"/>
                    <a:pt x="6772318" y="3257567"/>
                  </a:cubicBezTo>
                  <a:cubicBezTo>
                    <a:pt x="6772318" y="3262513"/>
                    <a:pt x="6768306" y="3266525"/>
                    <a:pt x="6763357" y="3266525"/>
                  </a:cubicBezTo>
                  <a:cubicBezTo>
                    <a:pt x="6758408" y="3266525"/>
                    <a:pt x="6754397" y="3262513"/>
                    <a:pt x="6754397" y="3257567"/>
                  </a:cubicBezTo>
                  <a:cubicBezTo>
                    <a:pt x="6754397" y="3252616"/>
                    <a:pt x="6758408" y="3248602"/>
                    <a:pt x="6763357" y="3248602"/>
                  </a:cubicBezTo>
                  <a:close/>
                  <a:moveTo>
                    <a:pt x="6593035" y="3248602"/>
                  </a:moveTo>
                  <a:cubicBezTo>
                    <a:pt x="6597984" y="3248602"/>
                    <a:pt x="6601996" y="3252616"/>
                    <a:pt x="6601996" y="3257567"/>
                  </a:cubicBezTo>
                  <a:cubicBezTo>
                    <a:pt x="6601996" y="3262513"/>
                    <a:pt x="6597984" y="3266525"/>
                    <a:pt x="6593035" y="3266525"/>
                  </a:cubicBezTo>
                  <a:cubicBezTo>
                    <a:pt x="6588086" y="3266525"/>
                    <a:pt x="6584075" y="3262513"/>
                    <a:pt x="6584075" y="3257567"/>
                  </a:cubicBezTo>
                  <a:cubicBezTo>
                    <a:pt x="6584075" y="3252616"/>
                    <a:pt x="6588086" y="3248602"/>
                    <a:pt x="6593035" y="3248602"/>
                  </a:cubicBezTo>
                  <a:close/>
                  <a:moveTo>
                    <a:pt x="6424294" y="3248602"/>
                  </a:moveTo>
                  <a:cubicBezTo>
                    <a:pt x="6429243" y="3248602"/>
                    <a:pt x="6433255" y="3252616"/>
                    <a:pt x="6433255" y="3257567"/>
                  </a:cubicBezTo>
                  <a:cubicBezTo>
                    <a:pt x="6433255" y="3262513"/>
                    <a:pt x="6429243" y="3266525"/>
                    <a:pt x="6424294" y="3266525"/>
                  </a:cubicBezTo>
                  <a:cubicBezTo>
                    <a:pt x="6419345" y="3266525"/>
                    <a:pt x="6415334" y="3262513"/>
                    <a:pt x="6415334" y="3257567"/>
                  </a:cubicBezTo>
                  <a:cubicBezTo>
                    <a:pt x="6415334" y="3252616"/>
                    <a:pt x="6419345" y="3248602"/>
                    <a:pt x="6424294" y="3248602"/>
                  </a:cubicBezTo>
                  <a:close/>
                  <a:moveTo>
                    <a:pt x="6255553" y="3248602"/>
                  </a:moveTo>
                  <a:cubicBezTo>
                    <a:pt x="6260502" y="3248602"/>
                    <a:pt x="6264514" y="3252620"/>
                    <a:pt x="6264514" y="3257567"/>
                  </a:cubicBezTo>
                  <a:cubicBezTo>
                    <a:pt x="6264514" y="3262513"/>
                    <a:pt x="6260502" y="3266525"/>
                    <a:pt x="6255553" y="3266525"/>
                  </a:cubicBezTo>
                  <a:cubicBezTo>
                    <a:pt x="6250604" y="3266525"/>
                    <a:pt x="6246593" y="3262513"/>
                    <a:pt x="6246593" y="3257567"/>
                  </a:cubicBezTo>
                  <a:cubicBezTo>
                    <a:pt x="6246593" y="3252620"/>
                    <a:pt x="6250604" y="3248602"/>
                    <a:pt x="6255553" y="3248602"/>
                  </a:cubicBezTo>
                  <a:close/>
                  <a:moveTo>
                    <a:pt x="349743" y="3077643"/>
                  </a:moveTo>
                  <a:cubicBezTo>
                    <a:pt x="354691" y="3077643"/>
                    <a:pt x="358703" y="3081655"/>
                    <a:pt x="358703" y="3086605"/>
                  </a:cubicBezTo>
                  <a:cubicBezTo>
                    <a:pt x="358703" y="3091555"/>
                    <a:pt x="354691" y="3095567"/>
                    <a:pt x="349743" y="3095567"/>
                  </a:cubicBezTo>
                  <a:cubicBezTo>
                    <a:pt x="344795" y="3095567"/>
                    <a:pt x="340783" y="3091555"/>
                    <a:pt x="340783" y="3086605"/>
                  </a:cubicBezTo>
                  <a:cubicBezTo>
                    <a:pt x="340783" y="3081655"/>
                    <a:pt x="344795" y="3077643"/>
                    <a:pt x="349743" y="3077643"/>
                  </a:cubicBezTo>
                  <a:close/>
                  <a:moveTo>
                    <a:pt x="1193471" y="3077641"/>
                  </a:moveTo>
                  <a:cubicBezTo>
                    <a:pt x="1198419" y="3077641"/>
                    <a:pt x="1202431" y="3081654"/>
                    <a:pt x="1202431" y="3086603"/>
                  </a:cubicBezTo>
                  <a:cubicBezTo>
                    <a:pt x="1202431" y="3091553"/>
                    <a:pt x="1198419" y="3095566"/>
                    <a:pt x="1193471" y="3095566"/>
                  </a:cubicBezTo>
                  <a:cubicBezTo>
                    <a:pt x="1188524" y="3095566"/>
                    <a:pt x="1184513" y="3091553"/>
                    <a:pt x="1184513" y="3086603"/>
                  </a:cubicBezTo>
                  <a:cubicBezTo>
                    <a:pt x="1184513" y="3081654"/>
                    <a:pt x="1188524" y="3077641"/>
                    <a:pt x="1193471" y="3077641"/>
                  </a:cubicBezTo>
                  <a:close/>
                  <a:moveTo>
                    <a:pt x="1024716" y="3077641"/>
                  </a:moveTo>
                  <a:cubicBezTo>
                    <a:pt x="1029668" y="3077641"/>
                    <a:pt x="1033684" y="3081654"/>
                    <a:pt x="1033684" y="3086603"/>
                  </a:cubicBezTo>
                  <a:cubicBezTo>
                    <a:pt x="1033684" y="3091553"/>
                    <a:pt x="1029668" y="3095566"/>
                    <a:pt x="1024716" y="3095566"/>
                  </a:cubicBezTo>
                  <a:cubicBezTo>
                    <a:pt x="1019769" y="3095566"/>
                    <a:pt x="1015757" y="3091553"/>
                    <a:pt x="1015757" y="3086603"/>
                  </a:cubicBezTo>
                  <a:cubicBezTo>
                    <a:pt x="1015757" y="3081654"/>
                    <a:pt x="1019769" y="3077641"/>
                    <a:pt x="1024716" y="3077641"/>
                  </a:cubicBezTo>
                  <a:close/>
                  <a:moveTo>
                    <a:pt x="855991" y="3077641"/>
                  </a:moveTo>
                  <a:cubicBezTo>
                    <a:pt x="860939" y="3077641"/>
                    <a:pt x="864951" y="3081654"/>
                    <a:pt x="864951" y="3086603"/>
                  </a:cubicBezTo>
                  <a:cubicBezTo>
                    <a:pt x="864951" y="3091553"/>
                    <a:pt x="860939" y="3095566"/>
                    <a:pt x="855991" y="3095566"/>
                  </a:cubicBezTo>
                  <a:cubicBezTo>
                    <a:pt x="851040" y="3095566"/>
                    <a:pt x="847031" y="3091553"/>
                    <a:pt x="847031" y="3086603"/>
                  </a:cubicBezTo>
                  <a:cubicBezTo>
                    <a:pt x="847031" y="3081654"/>
                    <a:pt x="851040" y="3077641"/>
                    <a:pt x="855991" y="3077641"/>
                  </a:cubicBezTo>
                  <a:close/>
                  <a:moveTo>
                    <a:pt x="687252" y="3077641"/>
                  </a:moveTo>
                  <a:cubicBezTo>
                    <a:pt x="692200" y="3077641"/>
                    <a:pt x="696212" y="3081654"/>
                    <a:pt x="696212" y="3086603"/>
                  </a:cubicBezTo>
                  <a:cubicBezTo>
                    <a:pt x="696212" y="3091553"/>
                    <a:pt x="692200" y="3095567"/>
                    <a:pt x="687252" y="3095567"/>
                  </a:cubicBezTo>
                  <a:cubicBezTo>
                    <a:pt x="682303" y="3095567"/>
                    <a:pt x="678293" y="3091553"/>
                    <a:pt x="678293" y="3086603"/>
                  </a:cubicBezTo>
                  <a:cubicBezTo>
                    <a:pt x="678293" y="3081654"/>
                    <a:pt x="682303" y="3077641"/>
                    <a:pt x="687252" y="3077641"/>
                  </a:cubicBezTo>
                  <a:close/>
                  <a:moveTo>
                    <a:pt x="518481" y="3077641"/>
                  </a:moveTo>
                  <a:cubicBezTo>
                    <a:pt x="523429" y="3077641"/>
                    <a:pt x="527441" y="3081654"/>
                    <a:pt x="527441" y="3086603"/>
                  </a:cubicBezTo>
                  <a:cubicBezTo>
                    <a:pt x="527441" y="3091553"/>
                    <a:pt x="523429" y="3095567"/>
                    <a:pt x="518481" y="3095567"/>
                  </a:cubicBezTo>
                  <a:cubicBezTo>
                    <a:pt x="513532" y="3095567"/>
                    <a:pt x="509520" y="3091553"/>
                    <a:pt x="509520" y="3086603"/>
                  </a:cubicBezTo>
                  <a:cubicBezTo>
                    <a:pt x="509520" y="3081654"/>
                    <a:pt x="513532" y="3077641"/>
                    <a:pt x="518481" y="3077641"/>
                  </a:cubicBezTo>
                  <a:close/>
                  <a:moveTo>
                    <a:pt x="179425" y="3077641"/>
                  </a:moveTo>
                  <a:cubicBezTo>
                    <a:pt x="184374" y="3077641"/>
                    <a:pt x="188386" y="3081655"/>
                    <a:pt x="188386" y="3086605"/>
                  </a:cubicBezTo>
                  <a:cubicBezTo>
                    <a:pt x="188386" y="3091555"/>
                    <a:pt x="184374" y="3095567"/>
                    <a:pt x="179425" y="3095567"/>
                  </a:cubicBezTo>
                  <a:cubicBezTo>
                    <a:pt x="174477" y="3095567"/>
                    <a:pt x="170465" y="3091555"/>
                    <a:pt x="170465" y="3086605"/>
                  </a:cubicBezTo>
                  <a:cubicBezTo>
                    <a:pt x="170465" y="3081655"/>
                    <a:pt x="174477" y="3077641"/>
                    <a:pt x="179425" y="3077641"/>
                  </a:cubicBezTo>
                  <a:close/>
                  <a:moveTo>
                    <a:pt x="9109" y="3077641"/>
                  </a:moveTo>
                  <a:cubicBezTo>
                    <a:pt x="14057" y="3077641"/>
                    <a:pt x="18068" y="3081654"/>
                    <a:pt x="18068" y="3086603"/>
                  </a:cubicBezTo>
                  <a:cubicBezTo>
                    <a:pt x="18068" y="3091553"/>
                    <a:pt x="14057" y="3095567"/>
                    <a:pt x="9109" y="3095567"/>
                  </a:cubicBezTo>
                  <a:cubicBezTo>
                    <a:pt x="4160" y="3095567"/>
                    <a:pt x="149" y="3091553"/>
                    <a:pt x="149" y="3086603"/>
                  </a:cubicBezTo>
                  <a:cubicBezTo>
                    <a:pt x="149" y="3081654"/>
                    <a:pt x="4160" y="3077641"/>
                    <a:pt x="9109" y="3077641"/>
                  </a:cubicBezTo>
                  <a:close/>
                  <a:moveTo>
                    <a:pt x="2374613" y="3077640"/>
                  </a:moveTo>
                  <a:cubicBezTo>
                    <a:pt x="2379579" y="3077640"/>
                    <a:pt x="2383620" y="3081652"/>
                    <a:pt x="2383620" y="3086602"/>
                  </a:cubicBezTo>
                  <a:cubicBezTo>
                    <a:pt x="2383620" y="3091552"/>
                    <a:pt x="2379579" y="3095564"/>
                    <a:pt x="2374613" y="3095564"/>
                  </a:cubicBezTo>
                  <a:cubicBezTo>
                    <a:pt x="2369661" y="3095564"/>
                    <a:pt x="2365649" y="3091552"/>
                    <a:pt x="2365649" y="3086602"/>
                  </a:cubicBezTo>
                  <a:cubicBezTo>
                    <a:pt x="2365649" y="3081652"/>
                    <a:pt x="2369661" y="3077640"/>
                    <a:pt x="2374613" y="3077640"/>
                  </a:cubicBezTo>
                  <a:close/>
                  <a:moveTo>
                    <a:pt x="2205911" y="3077640"/>
                  </a:moveTo>
                  <a:cubicBezTo>
                    <a:pt x="2210858" y="3077640"/>
                    <a:pt x="2214867" y="3081652"/>
                    <a:pt x="2214867" y="3086602"/>
                  </a:cubicBezTo>
                  <a:cubicBezTo>
                    <a:pt x="2214867" y="3091552"/>
                    <a:pt x="2210858" y="3095564"/>
                    <a:pt x="2205911" y="3095564"/>
                  </a:cubicBezTo>
                  <a:cubicBezTo>
                    <a:pt x="2200931" y="3095564"/>
                    <a:pt x="2196916" y="3091552"/>
                    <a:pt x="2196916" y="3086602"/>
                  </a:cubicBezTo>
                  <a:cubicBezTo>
                    <a:pt x="2196916" y="3081652"/>
                    <a:pt x="2200931" y="3077640"/>
                    <a:pt x="2205911" y="3077640"/>
                  </a:cubicBezTo>
                  <a:close/>
                  <a:moveTo>
                    <a:pt x="2037160" y="3077640"/>
                  </a:moveTo>
                  <a:cubicBezTo>
                    <a:pt x="2042124" y="3077640"/>
                    <a:pt x="2046107" y="3081652"/>
                    <a:pt x="2046107" y="3086602"/>
                  </a:cubicBezTo>
                  <a:cubicBezTo>
                    <a:pt x="2046107" y="3091552"/>
                    <a:pt x="2042124" y="3095564"/>
                    <a:pt x="2037160" y="3095564"/>
                  </a:cubicBezTo>
                  <a:cubicBezTo>
                    <a:pt x="2032226" y="3095564"/>
                    <a:pt x="2028228" y="3091552"/>
                    <a:pt x="2028228" y="3086602"/>
                  </a:cubicBezTo>
                  <a:cubicBezTo>
                    <a:pt x="2028228" y="3081652"/>
                    <a:pt x="2032226" y="3077640"/>
                    <a:pt x="2037160" y="3077640"/>
                  </a:cubicBezTo>
                  <a:close/>
                  <a:moveTo>
                    <a:pt x="1868458" y="3077640"/>
                  </a:moveTo>
                  <a:cubicBezTo>
                    <a:pt x="1873398" y="3077640"/>
                    <a:pt x="1877407" y="3081652"/>
                    <a:pt x="1877407" y="3086602"/>
                  </a:cubicBezTo>
                  <a:cubicBezTo>
                    <a:pt x="1877407" y="3091552"/>
                    <a:pt x="1873398" y="3095564"/>
                    <a:pt x="1868458" y="3095564"/>
                  </a:cubicBezTo>
                  <a:cubicBezTo>
                    <a:pt x="1863499" y="3095564"/>
                    <a:pt x="1859483" y="3091552"/>
                    <a:pt x="1859483" y="3086602"/>
                  </a:cubicBezTo>
                  <a:cubicBezTo>
                    <a:pt x="1859483" y="3081652"/>
                    <a:pt x="1863499" y="3077640"/>
                    <a:pt x="1868458" y="3077640"/>
                  </a:cubicBezTo>
                  <a:close/>
                  <a:moveTo>
                    <a:pt x="1699706" y="3077640"/>
                  </a:moveTo>
                  <a:cubicBezTo>
                    <a:pt x="1704658" y="3077640"/>
                    <a:pt x="1708675" y="3081654"/>
                    <a:pt x="1708675" y="3086602"/>
                  </a:cubicBezTo>
                  <a:cubicBezTo>
                    <a:pt x="1708675" y="3091552"/>
                    <a:pt x="1704658" y="3095566"/>
                    <a:pt x="1699706" y="3095566"/>
                  </a:cubicBezTo>
                  <a:cubicBezTo>
                    <a:pt x="1694753" y="3095566"/>
                    <a:pt x="1690739" y="3091552"/>
                    <a:pt x="1690739" y="3086602"/>
                  </a:cubicBezTo>
                  <a:cubicBezTo>
                    <a:pt x="1690739" y="3081654"/>
                    <a:pt x="1694753" y="3077640"/>
                    <a:pt x="1699706" y="3077640"/>
                  </a:cubicBezTo>
                  <a:close/>
                  <a:moveTo>
                    <a:pt x="1530965" y="3077640"/>
                  </a:moveTo>
                  <a:cubicBezTo>
                    <a:pt x="1535915" y="3077640"/>
                    <a:pt x="1539926" y="3081654"/>
                    <a:pt x="1539926" y="3086603"/>
                  </a:cubicBezTo>
                  <a:cubicBezTo>
                    <a:pt x="1539926" y="3091553"/>
                    <a:pt x="1535915" y="3095566"/>
                    <a:pt x="1530965" y="3095566"/>
                  </a:cubicBezTo>
                  <a:cubicBezTo>
                    <a:pt x="1526015" y="3095566"/>
                    <a:pt x="1522002" y="3091553"/>
                    <a:pt x="1522002" y="3086603"/>
                  </a:cubicBezTo>
                  <a:cubicBezTo>
                    <a:pt x="1522002" y="3081654"/>
                    <a:pt x="1526015" y="3077640"/>
                    <a:pt x="1530965" y="3077640"/>
                  </a:cubicBezTo>
                  <a:close/>
                  <a:moveTo>
                    <a:pt x="1362213" y="3077640"/>
                  </a:moveTo>
                  <a:cubicBezTo>
                    <a:pt x="1367166" y="3077640"/>
                    <a:pt x="1371175" y="3081654"/>
                    <a:pt x="1371175" y="3086603"/>
                  </a:cubicBezTo>
                  <a:cubicBezTo>
                    <a:pt x="1371175" y="3091553"/>
                    <a:pt x="1367166" y="3095566"/>
                    <a:pt x="1362213" y="3095566"/>
                  </a:cubicBezTo>
                  <a:cubicBezTo>
                    <a:pt x="1357264" y="3095566"/>
                    <a:pt x="1353252" y="3091553"/>
                    <a:pt x="1353252" y="3086603"/>
                  </a:cubicBezTo>
                  <a:cubicBezTo>
                    <a:pt x="1353252" y="3081654"/>
                    <a:pt x="1357264" y="3077640"/>
                    <a:pt x="1362213" y="3077640"/>
                  </a:cubicBezTo>
                  <a:close/>
                  <a:moveTo>
                    <a:pt x="3724429" y="3077639"/>
                  </a:moveTo>
                  <a:cubicBezTo>
                    <a:pt x="3729378" y="3077639"/>
                    <a:pt x="3733390" y="3081651"/>
                    <a:pt x="3733390" y="3086601"/>
                  </a:cubicBezTo>
                  <a:cubicBezTo>
                    <a:pt x="3733390" y="3091551"/>
                    <a:pt x="3729378" y="3095563"/>
                    <a:pt x="3724429" y="3095563"/>
                  </a:cubicBezTo>
                  <a:cubicBezTo>
                    <a:pt x="3719481" y="3095563"/>
                    <a:pt x="3715469" y="3091551"/>
                    <a:pt x="3715469" y="3086601"/>
                  </a:cubicBezTo>
                  <a:cubicBezTo>
                    <a:pt x="3715469" y="3081651"/>
                    <a:pt x="3719481" y="3077639"/>
                    <a:pt x="3724429" y="3077639"/>
                  </a:cubicBezTo>
                  <a:close/>
                  <a:moveTo>
                    <a:pt x="3555688" y="3077639"/>
                  </a:moveTo>
                  <a:cubicBezTo>
                    <a:pt x="3560637" y="3077639"/>
                    <a:pt x="3564649" y="3081651"/>
                    <a:pt x="3564649" y="3086601"/>
                  </a:cubicBezTo>
                  <a:cubicBezTo>
                    <a:pt x="3564649" y="3091551"/>
                    <a:pt x="3560637" y="3095563"/>
                    <a:pt x="3555688" y="3095563"/>
                  </a:cubicBezTo>
                  <a:cubicBezTo>
                    <a:pt x="3550740" y="3095563"/>
                    <a:pt x="3546728" y="3091551"/>
                    <a:pt x="3546728" y="3086601"/>
                  </a:cubicBezTo>
                  <a:cubicBezTo>
                    <a:pt x="3546728" y="3081651"/>
                    <a:pt x="3550740" y="3077639"/>
                    <a:pt x="3555688" y="3077639"/>
                  </a:cubicBezTo>
                  <a:close/>
                  <a:moveTo>
                    <a:pt x="3387052" y="3077639"/>
                  </a:moveTo>
                  <a:cubicBezTo>
                    <a:pt x="3392004" y="3077639"/>
                    <a:pt x="3396016" y="3081651"/>
                    <a:pt x="3396016" y="3086601"/>
                  </a:cubicBezTo>
                  <a:cubicBezTo>
                    <a:pt x="3396016" y="3091551"/>
                    <a:pt x="3392004" y="3095563"/>
                    <a:pt x="3387052" y="3095563"/>
                  </a:cubicBezTo>
                  <a:cubicBezTo>
                    <a:pt x="3382053" y="3095563"/>
                    <a:pt x="3378041" y="3091551"/>
                    <a:pt x="3378041" y="3086601"/>
                  </a:cubicBezTo>
                  <a:cubicBezTo>
                    <a:pt x="3378041" y="3081651"/>
                    <a:pt x="3382053" y="3077639"/>
                    <a:pt x="3387052" y="3077639"/>
                  </a:cubicBezTo>
                  <a:close/>
                  <a:moveTo>
                    <a:pt x="3218294" y="3077639"/>
                  </a:moveTo>
                  <a:cubicBezTo>
                    <a:pt x="3223254" y="3077639"/>
                    <a:pt x="3227267" y="3081651"/>
                    <a:pt x="3227267" y="3086601"/>
                  </a:cubicBezTo>
                  <a:cubicBezTo>
                    <a:pt x="3227267" y="3091551"/>
                    <a:pt x="3223254" y="3095563"/>
                    <a:pt x="3218294" y="3095563"/>
                  </a:cubicBezTo>
                  <a:cubicBezTo>
                    <a:pt x="3213326" y="3095563"/>
                    <a:pt x="3209324" y="3091551"/>
                    <a:pt x="3209324" y="3086601"/>
                  </a:cubicBezTo>
                  <a:cubicBezTo>
                    <a:pt x="3209324" y="3081651"/>
                    <a:pt x="3213326" y="3077639"/>
                    <a:pt x="3218294" y="3077639"/>
                  </a:cubicBezTo>
                  <a:close/>
                  <a:moveTo>
                    <a:pt x="3049588" y="3077639"/>
                  </a:moveTo>
                  <a:cubicBezTo>
                    <a:pt x="3054522" y="3077639"/>
                    <a:pt x="3058535" y="3081651"/>
                    <a:pt x="3058535" y="3086601"/>
                  </a:cubicBezTo>
                  <a:cubicBezTo>
                    <a:pt x="3058535" y="3091551"/>
                    <a:pt x="3054522" y="3095564"/>
                    <a:pt x="3049588" y="3095564"/>
                  </a:cubicBezTo>
                  <a:cubicBezTo>
                    <a:pt x="3044636" y="3095564"/>
                    <a:pt x="3040618" y="3091551"/>
                    <a:pt x="3040618" y="3086601"/>
                  </a:cubicBezTo>
                  <a:cubicBezTo>
                    <a:pt x="3040618" y="3081651"/>
                    <a:pt x="3044636" y="3077639"/>
                    <a:pt x="3049588" y="3077639"/>
                  </a:cubicBezTo>
                  <a:close/>
                  <a:moveTo>
                    <a:pt x="2880860" y="3077639"/>
                  </a:moveTo>
                  <a:cubicBezTo>
                    <a:pt x="2885808" y="3077639"/>
                    <a:pt x="2889819" y="3081651"/>
                    <a:pt x="2889819" y="3086601"/>
                  </a:cubicBezTo>
                  <a:cubicBezTo>
                    <a:pt x="2889819" y="3091551"/>
                    <a:pt x="2885808" y="3095564"/>
                    <a:pt x="2880860" y="3095564"/>
                  </a:cubicBezTo>
                  <a:cubicBezTo>
                    <a:pt x="2875916" y="3095564"/>
                    <a:pt x="2871903" y="3091551"/>
                    <a:pt x="2871903" y="3086601"/>
                  </a:cubicBezTo>
                  <a:cubicBezTo>
                    <a:pt x="2871903" y="3081651"/>
                    <a:pt x="2875916" y="3077639"/>
                    <a:pt x="2880860" y="3077639"/>
                  </a:cubicBezTo>
                  <a:close/>
                  <a:moveTo>
                    <a:pt x="2712094" y="3077639"/>
                  </a:moveTo>
                  <a:cubicBezTo>
                    <a:pt x="2717070" y="3077639"/>
                    <a:pt x="2721077" y="3081652"/>
                    <a:pt x="2721077" y="3086601"/>
                  </a:cubicBezTo>
                  <a:cubicBezTo>
                    <a:pt x="2721077" y="3091551"/>
                    <a:pt x="2717070" y="3095564"/>
                    <a:pt x="2712094" y="3095564"/>
                  </a:cubicBezTo>
                  <a:cubicBezTo>
                    <a:pt x="2707151" y="3095564"/>
                    <a:pt x="2703138" y="3091551"/>
                    <a:pt x="2703138" y="3086601"/>
                  </a:cubicBezTo>
                  <a:cubicBezTo>
                    <a:pt x="2703138" y="3081652"/>
                    <a:pt x="2707151" y="3077639"/>
                    <a:pt x="2712094" y="3077639"/>
                  </a:cubicBezTo>
                  <a:close/>
                  <a:moveTo>
                    <a:pt x="2543409" y="3077639"/>
                  </a:moveTo>
                  <a:cubicBezTo>
                    <a:pt x="2548359" y="3077639"/>
                    <a:pt x="2552372" y="3081652"/>
                    <a:pt x="2552372" y="3086602"/>
                  </a:cubicBezTo>
                  <a:cubicBezTo>
                    <a:pt x="2552372" y="3091552"/>
                    <a:pt x="2548359" y="3095564"/>
                    <a:pt x="2543409" y="3095564"/>
                  </a:cubicBezTo>
                  <a:cubicBezTo>
                    <a:pt x="2538454" y="3095564"/>
                    <a:pt x="2534437" y="3091552"/>
                    <a:pt x="2534437" y="3086602"/>
                  </a:cubicBezTo>
                  <a:cubicBezTo>
                    <a:pt x="2534437" y="3081652"/>
                    <a:pt x="2538454" y="3077639"/>
                    <a:pt x="2543409" y="3077639"/>
                  </a:cubicBezTo>
                  <a:close/>
                  <a:moveTo>
                    <a:pt x="4905620" y="3077637"/>
                  </a:moveTo>
                  <a:cubicBezTo>
                    <a:pt x="4910569" y="3077637"/>
                    <a:pt x="4914581" y="3081650"/>
                    <a:pt x="4914581" y="3086599"/>
                  </a:cubicBezTo>
                  <a:cubicBezTo>
                    <a:pt x="4914581" y="3091549"/>
                    <a:pt x="4910569" y="3095562"/>
                    <a:pt x="4905620" y="3095562"/>
                  </a:cubicBezTo>
                  <a:cubicBezTo>
                    <a:pt x="4900671" y="3095562"/>
                    <a:pt x="4896660" y="3091549"/>
                    <a:pt x="4896660" y="3086599"/>
                  </a:cubicBezTo>
                  <a:cubicBezTo>
                    <a:pt x="4896660" y="3081650"/>
                    <a:pt x="4900671" y="3077637"/>
                    <a:pt x="4905620" y="3077637"/>
                  </a:cubicBezTo>
                  <a:close/>
                  <a:moveTo>
                    <a:pt x="4736878" y="3077637"/>
                  </a:moveTo>
                  <a:cubicBezTo>
                    <a:pt x="4741827" y="3077637"/>
                    <a:pt x="4745839" y="3081650"/>
                    <a:pt x="4745839" y="3086599"/>
                  </a:cubicBezTo>
                  <a:cubicBezTo>
                    <a:pt x="4745839" y="3091549"/>
                    <a:pt x="4741827" y="3095562"/>
                    <a:pt x="4736878" y="3095562"/>
                  </a:cubicBezTo>
                  <a:cubicBezTo>
                    <a:pt x="4731929" y="3095562"/>
                    <a:pt x="4727918" y="3091549"/>
                    <a:pt x="4727918" y="3086599"/>
                  </a:cubicBezTo>
                  <a:cubicBezTo>
                    <a:pt x="4727918" y="3081650"/>
                    <a:pt x="4731929" y="3077637"/>
                    <a:pt x="4736878" y="3077637"/>
                  </a:cubicBezTo>
                  <a:close/>
                  <a:moveTo>
                    <a:pt x="4568137" y="3077637"/>
                  </a:moveTo>
                  <a:cubicBezTo>
                    <a:pt x="4573086" y="3077637"/>
                    <a:pt x="4577098" y="3081650"/>
                    <a:pt x="4577098" y="3086599"/>
                  </a:cubicBezTo>
                  <a:cubicBezTo>
                    <a:pt x="4577098" y="3091549"/>
                    <a:pt x="4573086" y="3095562"/>
                    <a:pt x="4568137" y="3095562"/>
                  </a:cubicBezTo>
                  <a:cubicBezTo>
                    <a:pt x="4563188" y="3095562"/>
                    <a:pt x="4559177" y="3091549"/>
                    <a:pt x="4559177" y="3086599"/>
                  </a:cubicBezTo>
                  <a:cubicBezTo>
                    <a:pt x="4559177" y="3081650"/>
                    <a:pt x="4563188" y="3077637"/>
                    <a:pt x="4568137" y="3077637"/>
                  </a:cubicBezTo>
                  <a:close/>
                  <a:moveTo>
                    <a:pt x="4399396" y="3077637"/>
                  </a:moveTo>
                  <a:cubicBezTo>
                    <a:pt x="4404345" y="3077637"/>
                    <a:pt x="4408357" y="3081650"/>
                    <a:pt x="4408357" y="3086599"/>
                  </a:cubicBezTo>
                  <a:cubicBezTo>
                    <a:pt x="4408357" y="3091549"/>
                    <a:pt x="4404345" y="3095563"/>
                    <a:pt x="4399396" y="3095563"/>
                  </a:cubicBezTo>
                  <a:cubicBezTo>
                    <a:pt x="4394447" y="3095563"/>
                    <a:pt x="4390436" y="3091549"/>
                    <a:pt x="4390436" y="3086599"/>
                  </a:cubicBezTo>
                  <a:cubicBezTo>
                    <a:pt x="4390436" y="3081650"/>
                    <a:pt x="4394447" y="3077637"/>
                    <a:pt x="4399396" y="3077637"/>
                  </a:cubicBezTo>
                  <a:close/>
                  <a:moveTo>
                    <a:pt x="4230654" y="3077637"/>
                  </a:moveTo>
                  <a:cubicBezTo>
                    <a:pt x="4235603" y="3077637"/>
                    <a:pt x="4239615" y="3081650"/>
                    <a:pt x="4239615" y="3086599"/>
                  </a:cubicBezTo>
                  <a:cubicBezTo>
                    <a:pt x="4239615" y="3091549"/>
                    <a:pt x="4235603" y="3095563"/>
                    <a:pt x="4230654" y="3095563"/>
                  </a:cubicBezTo>
                  <a:cubicBezTo>
                    <a:pt x="4225705" y="3095563"/>
                    <a:pt x="4221694" y="3091549"/>
                    <a:pt x="4221694" y="3086599"/>
                  </a:cubicBezTo>
                  <a:cubicBezTo>
                    <a:pt x="4221694" y="3081650"/>
                    <a:pt x="4225705" y="3077637"/>
                    <a:pt x="4230654" y="3077637"/>
                  </a:cubicBezTo>
                  <a:close/>
                  <a:moveTo>
                    <a:pt x="4061912" y="3077637"/>
                  </a:moveTo>
                  <a:cubicBezTo>
                    <a:pt x="4066861" y="3077637"/>
                    <a:pt x="4070873" y="3081651"/>
                    <a:pt x="4070873" y="3086601"/>
                  </a:cubicBezTo>
                  <a:cubicBezTo>
                    <a:pt x="4070873" y="3091549"/>
                    <a:pt x="4066861" y="3095563"/>
                    <a:pt x="4061912" y="3095563"/>
                  </a:cubicBezTo>
                  <a:cubicBezTo>
                    <a:pt x="4056963" y="3095563"/>
                    <a:pt x="4052952" y="3091549"/>
                    <a:pt x="4052952" y="3086601"/>
                  </a:cubicBezTo>
                  <a:cubicBezTo>
                    <a:pt x="4052952" y="3081651"/>
                    <a:pt x="4056963" y="3077637"/>
                    <a:pt x="4061912" y="3077637"/>
                  </a:cubicBezTo>
                  <a:close/>
                  <a:moveTo>
                    <a:pt x="3893170" y="3077637"/>
                  </a:moveTo>
                  <a:cubicBezTo>
                    <a:pt x="3898119" y="3077637"/>
                    <a:pt x="3902131" y="3081651"/>
                    <a:pt x="3902131" y="3086601"/>
                  </a:cubicBezTo>
                  <a:cubicBezTo>
                    <a:pt x="3902131" y="3091551"/>
                    <a:pt x="3898119" y="3095563"/>
                    <a:pt x="3893170" y="3095563"/>
                  </a:cubicBezTo>
                  <a:cubicBezTo>
                    <a:pt x="3888221" y="3095563"/>
                    <a:pt x="3884210" y="3091551"/>
                    <a:pt x="3884210" y="3086601"/>
                  </a:cubicBezTo>
                  <a:cubicBezTo>
                    <a:pt x="3884210" y="3081651"/>
                    <a:pt x="3888221" y="3077637"/>
                    <a:pt x="3893170" y="3077637"/>
                  </a:cubicBezTo>
                  <a:close/>
                  <a:moveTo>
                    <a:pt x="6255553" y="3077636"/>
                  </a:moveTo>
                  <a:cubicBezTo>
                    <a:pt x="6260502" y="3077636"/>
                    <a:pt x="6264514" y="3081648"/>
                    <a:pt x="6264514" y="3086598"/>
                  </a:cubicBezTo>
                  <a:cubicBezTo>
                    <a:pt x="6264514" y="3091548"/>
                    <a:pt x="6260502" y="3095560"/>
                    <a:pt x="6255553" y="3095560"/>
                  </a:cubicBezTo>
                  <a:cubicBezTo>
                    <a:pt x="6250604" y="3095560"/>
                    <a:pt x="6246593" y="3091548"/>
                    <a:pt x="6246593" y="3086598"/>
                  </a:cubicBezTo>
                  <a:cubicBezTo>
                    <a:pt x="6246593" y="3081648"/>
                    <a:pt x="6250604" y="3077636"/>
                    <a:pt x="6255553" y="3077636"/>
                  </a:cubicBezTo>
                  <a:close/>
                  <a:moveTo>
                    <a:pt x="6086811" y="3077636"/>
                  </a:moveTo>
                  <a:cubicBezTo>
                    <a:pt x="6091760" y="3077636"/>
                    <a:pt x="6095772" y="3081648"/>
                    <a:pt x="6095772" y="3086598"/>
                  </a:cubicBezTo>
                  <a:cubicBezTo>
                    <a:pt x="6095772" y="3091548"/>
                    <a:pt x="6091760" y="3095560"/>
                    <a:pt x="6086811" y="3095560"/>
                  </a:cubicBezTo>
                  <a:cubicBezTo>
                    <a:pt x="6081862" y="3095560"/>
                    <a:pt x="6077851" y="3091548"/>
                    <a:pt x="6077851" y="3086598"/>
                  </a:cubicBezTo>
                  <a:cubicBezTo>
                    <a:pt x="6077851" y="3081648"/>
                    <a:pt x="6081862" y="3077636"/>
                    <a:pt x="6086811" y="3077636"/>
                  </a:cubicBezTo>
                  <a:close/>
                  <a:moveTo>
                    <a:pt x="5918069" y="3077636"/>
                  </a:moveTo>
                  <a:cubicBezTo>
                    <a:pt x="5923018" y="3077636"/>
                    <a:pt x="5927030" y="3081648"/>
                    <a:pt x="5927030" y="3086598"/>
                  </a:cubicBezTo>
                  <a:cubicBezTo>
                    <a:pt x="5927030" y="3091548"/>
                    <a:pt x="5923018" y="3095560"/>
                    <a:pt x="5918069" y="3095560"/>
                  </a:cubicBezTo>
                  <a:cubicBezTo>
                    <a:pt x="5913120" y="3095560"/>
                    <a:pt x="5909109" y="3091548"/>
                    <a:pt x="5909109" y="3086598"/>
                  </a:cubicBezTo>
                  <a:cubicBezTo>
                    <a:pt x="5909109" y="3081648"/>
                    <a:pt x="5913120" y="3077636"/>
                    <a:pt x="5918069" y="3077636"/>
                  </a:cubicBezTo>
                  <a:close/>
                  <a:moveTo>
                    <a:pt x="5749328" y="3077636"/>
                  </a:moveTo>
                  <a:cubicBezTo>
                    <a:pt x="5754277" y="3077636"/>
                    <a:pt x="5758289" y="3081648"/>
                    <a:pt x="5758289" y="3086598"/>
                  </a:cubicBezTo>
                  <a:cubicBezTo>
                    <a:pt x="5758289" y="3091548"/>
                    <a:pt x="5754277" y="3095560"/>
                    <a:pt x="5749328" y="3095560"/>
                  </a:cubicBezTo>
                  <a:cubicBezTo>
                    <a:pt x="5744379" y="3095560"/>
                    <a:pt x="5740368" y="3091548"/>
                    <a:pt x="5740368" y="3086598"/>
                  </a:cubicBezTo>
                  <a:cubicBezTo>
                    <a:pt x="5740368" y="3081648"/>
                    <a:pt x="5744379" y="3077636"/>
                    <a:pt x="5749328" y="3077636"/>
                  </a:cubicBezTo>
                  <a:close/>
                  <a:moveTo>
                    <a:pt x="5580586" y="3077636"/>
                  </a:moveTo>
                  <a:cubicBezTo>
                    <a:pt x="5585535" y="3077636"/>
                    <a:pt x="5589547" y="3081648"/>
                    <a:pt x="5589547" y="3086598"/>
                  </a:cubicBezTo>
                  <a:cubicBezTo>
                    <a:pt x="5589547" y="3091548"/>
                    <a:pt x="5585535" y="3095560"/>
                    <a:pt x="5580586" y="3095560"/>
                  </a:cubicBezTo>
                  <a:cubicBezTo>
                    <a:pt x="5575637" y="3095560"/>
                    <a:pt x="5571626" y="3091548"/>
                    <a:pt x="5571626" y="3086598"/>
                  </a:cubicBezTo>
                  <a:cubicBezTo>
                    <a:pt x="5571626" y="3081648"/>
                    <a:pt x="5575637" y="3077636"/>
                    <a:pt x="5580586" y="3077636"/>
                  </a:cubicBezTo>
                  <a:close/>
                  <a:moveTo>
                    <a:pt x="5411845" y="3077636"/>
                  </a:moveTo>
                  <a:cubicBezTo>
                    <a:pt x="5416794" y="3077636"/>
                    <a:pt x="5420806" y="3081650"/>
                    <a:pt x="5420806" y="3086598"/>
                  </a:cubicBezTo>
                  <a:cubicBezTo>
                    <a:pt x="5420806" y="3091548"/>
                    <a:pt x="5416794" y="3095562"/>
                    <a:pt x="5411845" y="3095562"/>
                  </a:cubicBezTo>
                  <a:cubicBezTo>
                    <a:pt x="5406896" y="3095562"/>
                    <a:pt x="5402885" y="3091548"/>
                    <a:pt x="5402885" y="3086598"/>
                  </a:cubicBezTo>
                  <a:cubicBezTo>
                    <a:pt x="5402885" y="3081650"/>
                    <a:pt x="5406896" y="3077636"/>
                    <a:pt x="5411845" y="3077636"/>
                  </a:cubicBezTo>
                  <a:close/>
                  <a:moveTo>
                    <a:pt x="5243103" y="3077636"/>
                  </a:moveTo>
                  <a:cubicBezTo>
                    <a:pt x="5248052" y="3077636"/>
                    <a:pt x="5252064" y="3081650"/>
                    <a:pt x="5252064" y="3086599"/>
                  </a:cubicBezTo>
                  <a:cubicBezTo>
                    <a:pt x="5252064" y="3091549"/>
                    <a:pt x="5248052" y="3095562"/>
                    <a:pt x="5243103" y="3095562"/>
                  </a:cubicBezTo>
                  <a:cubicBezTo>
                    <a:pt x="5238154" y="3095562"/>
                    <a:pt x="5234143" y="3091549"/>
                    <a:pt x="5234143" y="3086599"/>
                  </a:cubicBezTo>
                  <a:cubicBezTo>
                    <a:pt x="5234143" y="3081650"/>
                    <a:pt x="5238154" y="3077636"/>
                    <a:pt x="5243103" y="3077636"/>
                  </a:cubicBezTo>
                  <a:close/>
                  <a:moveTo>
                    <a:pt x="5074362" y="3077636"/>
                  </a:moveTo>
                  <a:cubicBezTo>
                    <a:pt x="5079311" y="3077636"/>
                    <a:pt x="5083323" y="3081650"/>
                    <a:pt x="5083323" y="3086599"/>
                  </a:cubicBezTo>
                  <a:cubicBezTo>
                    <a:pt x="5083323" y="3091549"/>
                    <a:pt x="5079311" y="3095562"/>
                    <a:pt x="5074362" y="3095562"/>
                  </a:cubicBezTo>
                  <a:cubicBezTo>
                    <a:pt x="5069413" y="3095562"/>
                    <a:pt x="5065402" y="3091549"/>
                    <a:pt x="5065402" y="3086599"/>
                  </a:cubicBezTo>
                  <a:cubicBezTo>
                    <a:pt x="5065402" y="3081650"/>
                    <a:pt x="5069413" y="3077636"/>
                    <a:pt x="5074362" y="3077636"/>
                  </a:cubicBezTo>
                  <a:close/>
                  <a:moveTo>
                    <a:pt x="6933679" y="3077635"/>
                  </a:moveTo>
                  <a:cubicBezTo>
                    <a:pt x="6938628" y="3077635"/>
                    <a:pt x="6942639" y="3081647"/>
                    <a:pt x="6942639" y="3086597"/>
                  </a:cubicBezTo>
                  <a:cubicBezTo>
                    <a:pt x="6942639" y="3091547"/>
                    <a:pt x="6938628" y="3095559"/>
                    <a:pt x="6933679" y="3095559"/>
                  </a:cubicBezTo>
                  <a:cubicBezTo>
                    <a:pt x="6928730" y="3095559"/>
                    <a:pt x="6924718" y="3091547"/>
                    <a:pt x="6924718" y="3086597"/>
                  </a:cubicBezTo>
                  <a:cubicBezTo>
                    <a:pt x="6924718" y="3081647"/>
                    <a:pt x="6928730" y="3077635"/>
                    <a:pt x="6933679" y="3077635"/>
                  </a:cubicBezTo>
                  <a:close/>
                  <a:moveTo>
                    <a:pt x="6763357" y="3077635"/>
                  </a:moveTo>
                  <a:cubicBezTo>
                    <a:pt x="6768306" y="3077635"/>
                    <a:pt x="6772318" y="3081648"/>
                    <a:pt x="6772318" y="3086597"/>
                  </a:cubicBezTo>
                  <a:cubicBezTo>
                    <a:pt x="6772318" y="3091547"/>
                    <a:pt x="6768306" y="3095560"/>
                    <a:pt x="6763357" y="3095560"/>
                  </a:cubicBezTo>
                  <a:cubicBezTo>
                    <a:pt x="6758408" y="3095560"/>
                    <a:pt x="6754397" y="3091547"/>
                    <a:pt x="6754397" y="3086597"/>
                  </a:cubicBezTo>
                  <a:cubicBezTo>
                    <a:pt x="6754397" y="3081648"/>
                    <a:pt x="6758408" y="3077635"/>
                    <a:pt x="6763357" y="3077635"/>
                  </a:cubicBezTo>
                  <a:close/>
                  <a:moveTo>
                    <a:pt x="6593035" y="3077635"/>
                  </a:moveTo>
                  <a:cubicBezTo>
                    <a:pt x="6597984" y="3077635"/>
                    <a:pt x="6601996" y="3081648"/>
                    <a:pt x="6601996" y="3086597"/>
                  </a:cubicBezTo>
                  <a:cubicBezTo>
                    <a:pt x="6601996" y="3091547"/>
                    <a:pt x="6597984" y="3095560"/>
                    <a:pt x="6593035" y="3095560"/>
                  </a:cubicBezTo>
                  <a:cubicBezTo>
                    <a:pt x="6588086" y="3095560"/>
                    <a:pt x="6584075" y="3091547"/>
                    <a:pt x="6584075" y="3086597"/>
                  </a:cubicBezTo>
                  <a:cubicBezTo>
                    <a:pt x="6584075" y="3081648"/>
                    <a:pt x="6588086" y="3077635"/>
                    <a:pt x="6593035" y="3077635"/>
                  </a:cubicBezTo>
                  <a:close/>
                  <a:moveTo>
                    <a:pt x="6424294" y="3077635"/>
                  </a:moveTo>
                  <a:cubicBezTo>
                    <a:pt x="6429243" y="3077635"/>
                    <a:pt x="6433255" y="3081648"/>
                    <a:pt x="6433255" y="3086598"/>
                  </a:cubicBezTo>
                  <a:cubicBezTo>
                    <a:pt x="6433255" y="3091547"/>
                    <a:pt x="6429243" y="3095560"/>
                    <a:pt x="6424294" y="3095560"/>
                  </a:cubicBezTo>
                  <a:cubicBezTo>
                    <a:pt x="6419345" y="3095560"/>
                    <a:pt x="6415334" y="3091547"/>
                    <a:pt x="6415334" y="3086598"/>
                  </a:cubicBezTo>
                  <a:cubicBezTo>
                    <a:pt x="6415334" y="3081648"/>
                    <a:pt x="6419345" y="3077635"/>
                    <a:pt x="6424294" y="3077635"/>
                  </a:cubicBezTo>
                  <a:close/>
                  <a:moveTo>
                    <a:pt x="1024720" y="2906631"/>
                  </a:moveTo>
                  <a:cubicBezTo>
                    <a:pt x="1029673" y="2906631"/>
                    <a:pt x="1033688" y="2910643"/>
                    <a:pt x="1033688" y="2915593"/>
                  </a:cubicBezTo>
                  <a:cubicBezTo>
                    <a:pt x="1033688" y="2920543"/>
                    <a:pt x="1029673" y="2924555"/>
                    <a:pt x="1024720" y="2924555"/>
                  </a:cubicBezTo>
                  <a:cubicBezTo>
                    <a:pt x="1019772" y="2924555"/>
                    <a:pt x="1015762" y="2920543"/>
                    <a:pt x="1015762" y="2915593"/>
                  </a:cubicBezTo>
                  <a:cubicBezTo>
                    <a:pt x="1015762" y="2910643"/>
                    <a:pt x="1019772" y="2906631"/>
                    <a:pt x="1024720" y="2906631"/>
                  </a:cubicBezTo>
                  <a:close/>
                  <a:moveTo>
                    <a:pt x="855995" y="2906631"/>
                  </a:moveTo>
                  <a:cubicBezTo>
                    <a:pt x="860943" y="2906631"/>
                    <a:pt x="864955" y="2910643"/>
                    <a:pt x="864955" y="2915593"/>
                  </a:cubicBezTo>
                  <a:cubicBezTo>
                    <a:pt x="864955" y="2920543"/>
                    <a:pt x="860943" y="2924555"/>
                    <a:pt x="855995" y="2924555"/>
                  </a:cubicBezTo>
                  <a:cubicBezTo>
                    <a:pt x="851045" y="2924555"/>
                    <a:pt x="847035" y="2920543"/>
                    <a:pt x="847035" y="2915593"/>
                  </a:cubicBezTo>
                  <a:cubicBezTo>
                    <a:pt x="847035" y="2910643"/>
                    <a:pt x="851045" y="2906631"/>
                    <a:pt x="855995" y="2906631"/>
                  </a:cubicBezTo>
                  <a:close/>
                  <a:moveTo>
                    <a:pt x="687256" y="2906631"/>
                  </a:moveTo>
                  <a:cubicBezTo>
                    <a:pt x="692205" y="2906631"/>
                    <a:pt x="696217" y="2910643"/>
                    <a:pt x="696217" y="2915593"/>
                  </a:cubicBezTo>
                  <a:cubicBezTo>
                    <a:pt x="696217" y="2920543"/>
                    <a:pt x="692205" y="2924555"/>
                    <a:pt x="687256" y="2924555"/>
                  </a:cubicBezTo>
                  <a:cubicBezTo>
                    <a:pt x="682308" y="2924555"/>
                    <a:pt x="678298" y="2920543"/>
                    <a:pt x="678298" y="2915593"/>
                  </a:cubicBezTo>
                  <a:cubicBezTo>
                    <a:pt x="678298" y="2910643"/>
                    <a:pt x="682308" y="2906631"/>
                    <a:pt x="687256" y="2906631"/>
                  </a:cubicBezTo>
                  <a:close/>
                  <a:moveTo>
                    <a:pt x="518485" y="2906631"/>
                  </a:moveTo>
                  <a:cubicBezTo>
                    <a:pt x="523433" y="2906631"/>
                    <a:pt x="527445" y="2910643"/>
                    <a:pt x="527445" y="2915593"/>
                  </a:cubicBezTo>
                  <a:cubicBezTo>
                    <a:pt x="527445" y="2920543"/>
                    <a:pt x="523433" y="2924555"/>
                    <a:pt x="518485" y="2924555"/>
                  </a:cubicBezTo>
                  <a:cubicBezTo>
                    <a:pt x="513536" y="2924555"/>
                    <a:pt x="509524" y="2920543"/>
                    <a:pt x="509524" y="2915593"/>
                  </a:cubicBezTo>
                  <a:cubicBezTo>
                    <a:pt x="509524" y="2910643"/>
                    <a:pt x="513536" y="2906631"/>
                    <a:pt x="518485" y="2906631"/>
                  </a:cubicBezTo>
                  <a:close/>
                  <a:moveTo>
                    <a:pt x="349747" y="2906631"/>
                  </a:moveTo>
                  <a:cubicBezTo>
                    <a:pt x="354695" y="2906631"/>
                    <a:pt x="358707" y="2910643"/>
                    <a:pt x="358707" y="2915594"/>
                  </a:cubicBezTo>
                  <a:cubicBezTo>
                    <a:pt x="358707" y="2920543"/>
                    <a:pt x="354695" y="2924556"/>
                    <a:pt x="349747" y="2924556"/>
                  </a:cubicBezTo>
                  <a:cubicBezTo>
                    <a:pt x="344799" y="2924556"/>
                    <a:pt x="340787" y="2920543"/>
                    <a:pt x="340787" y="2915594"/>
                  </a:cubicBezTo>
                  <a:cubicBezTo>
                    <a:pt x="340787" y="2910643"/>
                    <a:pt x="344799" y="2906631"/>
                    <a:pt x="349747" y="2906631"/>
                  </a:cubicBezTo>
                  <a:close/>
                  <a:moveTo>
                    <a:pt x="179429" y="2906631"/>
                  </a:moveTo>
                  <a:cubicBezTo>
                    <a:pt x="184378" y="2906631"/>
                    <a:pt x="188390" y="2910643"/>
                    <a:pt x="188390" y="2915594"/>
                  </a:cubicBezTo>
                  <a:cubicBezTo>
                    <a:pt x="188390" y="2920543"/>
                    <a:pt x="184378" y="2924555"/>
                    <a:pt x="179429" y="2924555"/>
                  </a:cubicBezTo>
                  <a:cubicBezTo>
                    <a:pt x="174481" y="2924555"/>
                    <a:pt x="170469" y="2920543"/>
                    <a:pt x="170469" y="2915594"/>
                  </a:cubicBezTo>
                  <a:cubicBezTo>
                    <a:pt x="170469" y="2910643"/>
                    <a:pt x="174481" y="2906631"/>
                    <a:pt x="179429" y="2906631"/>
                  </a:cubicBezTo>
                  <a:close/>
                  <a:moveTo>
                    <a:pt x="9113" y="2906631"/>
                  </a:moveTo>
                  <a:cubicBezTo>
                    <a:pt x="14061" y="2906631"/>
                    <a:pt x="18072" y="2910643"/>
                    <a:pt x="18072" y="2915593"/>
                  </a:cubicBezTo>
                  <a:cubicBezTo>
                    <a:pt x="18072" y="2920543"/>
                    <a:pt x="14061" y="2924555"/>
                    <a:pt x="9113" y="2924555"/>
                  </a:cubicBezTo>
                  <a:cubicBezTo>
                    <a:pt x="4165" y="2924555"/>
                    <a:pt x="153" y="2920543"/>
                    <a:pt x="153" y="2915593"/>
                  </a:cubicBezTo>
                  <a:cubicBezTo>
                    <a:pt x="153" y="2910643"/>
                    <a:pt x="4165" y="2906631"/>
                    <a:pt x="9113" y="2906631"/>
                  </a:cubicBezTo>
                  <a:close/>
                  <a:moveTo>
                    <a:pt x="2037163" y="2906629"/>
                  </a:moveTo>
                  <a:cubicBezTo>
                    <a:pt x="2042129" y="2906629"/>
                    <a:pt x="2046111" y="2910642"/>
                    <a:pt x="2046111" y="2915592"/>
                  </a:cubicBezTo>
                  <a:cubicBezTo>
                    <a:pt x="2046111" y="2920541"/>
                    <a:pt x="2042129" y="2924554"/>
                    <a:pt x="2037163" y="2924554"/>
                  </a:cubicBezTo>
                  <a:cubicBezTo>
                    <a:pt x="2032230" y="2924554"/>
                    <a:pt x="2028233" y="2920541"/>
                    <a:pt x="2028233" y="2915592"/>
                  </a:cubicBezTo>
                  <a:cubicBezTo>
                    <a:pt x="2028233" y="2910642"/>
                    <a:pt x="2032230" y="2906629"/>
                    <a:pt x="2037163" y="2906629"/>
                  </a:cubicBezTo>
                  <a:close/>
                  <a:moveTo>
                    <a:pt x="1868463" y="2906629"/>
                  </a:moveTo>
                  <a:cubicBezTo>
                    <a:pt x="1873403" y="2906629"/>
                    <a:pt x="1877411" y="2910642"/>
                    <a:pt x="1877411" y="2915592"/>
                  </a:cubicBezTo>
                  <a:cubicBezTo>
                    <a:pt x="1877411" y="2920541"/>
                    <a:pt x="1873403" y="2924554"/>
                    <a:pt x="1868463" y="2924554"/>
                  </a:cubicBezTo>
                  <a:cubicBezTo>
                    <a:pt x="1863504" y="2924554"/>
                    <a:pt x="1859486" y="2920541"/>
                    <a:pt x="1859486" y="2915592"/>
                  </a:cubicBezTo>
                  <a:cubicBezTo>
                    <a:pt x="1859486" y="2910642"/>
                    <a:pt x="1863504" y="2906629"/>
                    <a:pt x="1868463" y="2906629"/>
                  </a:cubicBezTo>
                  <a:close/>
                  <a:moveTo>
                    <a:pt x="1699712" y="2906629"/>
                  </a:moveTo>
                  <a:cubicBezTo>
                    <a:pt x="1704663" y="2906629"/>
                    <a:pt x="1708680" y="2910642"/>
                    <a:pt x="1708680" y="2915592"/>
                  </a:cubicBezTo>
                  <a:cubicBezTo>
                    <a:pt x="1708680" y="2920541"/>
                    <a:pt x="1704663" y="2924554"/>
                    <a:pt x="1699712" y="2924554"/>
                  </a:cubicBezTo>
                  <a:cubicBezTo>
                    <a:pt x="1694757" y="2924554"/>
                    <a:pt x="1690743" y="2920541"/>
                    <a:pt x="1690743" y="2915592"/>
                  </a:cubicBezTo>
                  <a:cubicBezTo>
                    <a:pt x="1690743" y="2910642"/>
                    <a:pt x="1694757" y="2906629"/>
                    <a:pt x="1699712" y="2906629"/>
                  </a:cubicBezTo>
                  <a:close/>
                  <a:moveTo>
                    <a:pt x="1530969" y="2906629"/>
                  </a:moveTo>
                  <a:cubicBezTo>
                    <a:pt x="1535920" y="2906629"/>
                    <a:pt x="1539931" y="2910642"/>
                    <a:pt x="1539931" y="2915592"/>
                  </a:cubicBezTo>
                  <a:cubicBezTo>
                    <a:pt x="1539931" y="2920541"/>
                    <a:pt x="1535920" y="2924554"/>
                    <a:pt x="1530969" y="2924554"/>
                  </a:cubicBezTo>
                  <a:cubicBezTo>
                    <a:pt x="1526019" y="2924554"/>
                    <a:pt x="1522007" y="2920541"/>
                    <a:pt x="1522007" y="2915592"/>
                  </a:cubicBezTo>
                  <a:cubicBezTo>
                    <a:pt x="1522007" y="2910642"/>
                    <a:pt x="1526019" y="2906629"/>
                    <a:pt x="1530969" y="2906629"/>
                  </a:cubicBezTo>
                  <a:close/>
                  <a:moveTo>
                    <a:pt x="1362218" y="2906629"/>
                  </a:moveTo>
                  <a:cubicBezTo>
                    <a:pt x="1367171" y="2906629"/>
                    <a:pt x="1371180" y="2910642"/>
                    <a:pt x="1371180" y="2915592"/>
                  </a:cubicBezTo>
                  <a:cubicBezTo>
                    <a:pt x="1371180" y="2920541"/>
                    <a:pt x="1367171" y="2924555"/>
                    <a:pt x="1362218" y="2924555"/>
                  </a:cubicBezTo>
                  <a:cubicBezTo>
                    <a:pt x="1357268" y="2924555"/>
                    <a:pt x="1353256" y="2920541"/>
                    <a:pt x="1353256" y="2915592"/>
                  </a:cubicBezTo>
                  <a:cubicBezTo>
                    <a:pt x="1353256" y="2910642"/>
                    <a:pt x="1357268" y="2906629"/>
                    <a:pt x="1362218" y="2906629"/>
                  </a:cubicBezTo>
                  <a:close/>
                  <a:moveTo>
                    <a:pt x="1193475" y="2906629"/>
                  </a:moveTo>
                  <a:cubicBezTo>
                    <a:pt x="1198423" y="2906629"/>
                    <a:pt x="1202436" y="2910643"/>
                    <a:pt x="1202436" y="2915593"/>
                  </a:cubicBezTo>
                  <a:cubicBezTo>
                    <a:pt x="1202436" y="2920543"/>
                    <a:pt x="1198423" y="2924555"/>
                    <a:pt x="1193475" y="2924555"/>
                  </a:cubicBezTo>
                  <a:cubicBezTo>
                    <a:pt x="1188528" y="2924555"/>
                    <a:pt x="1184517" y="2920543"/>
                    <a:pt x="1184517" y="2915593"/>
                  </a:cubicBezTo>
                  <a:cubicBezTo>
                    <a:pt x="1184517" y="2910643"/>
                    <a:pt x="1188528" y="2906629"/>
                    <a:pt x="1193475" y="2906629"/>
                  </a:cubicBezTo>
                  <a:close/>
                  <a:moveTo>
                    <a:pt x="4061912" y="2906628"/>
                  </a:moveTo>
                  <a:cubicBezTo>
                    <a:pt x="4066861" y="2906628"/>
                    <a:pt x="4070873" y="2910640"/>
                    <a:pt x="4070873" y="2915589"/>
                  </a:cubicBezTo>
                  <a:cubicBezTo>
                    <a:pt x="4070873" y="2920540"/>
                    <a:pt x="4066861" y="2924553"/>
                    <a:pt x="4061912" y="2924553"/>
                  </a:cubicBezTo>
                  <a:cubicBezTo>
                    <a:pt x="4056963" y="2924553"/>
                    <a:pt x="4052952" y="2920540"/>
                    <a:pt x="4052952" y="2915589"/>
                  </a:cubicBezTo>
                  <a:cubicBezTo>
                    <a:pt x="4052952" y="2910640"/>
                    <a:pt x="4056963" y="2906628"/>
                    <a:pt x="4061912" y="2906628"/>
                  </a:cubicBezTo>
                  <a:close/>
                  <a:moveTo>
                    <a:pt x="3893170" y="2906628"/>
                  </a:moveTo>
                  <a:cubicBezTo>
                    <a:pt x="3898119" y="2906628"/>
                    <a:pt x="3902131" y="2910640"/>
                    <a:pt x="3902131" y="2915589"/>
                  </a:cubicBezTo>
                  <a:cubicBezTo>
                    <a:pt x="3902131" y="2920540"/>
                    <a:pt x="3898119" y="2924553"/>
                    <a:pt x="3893170" y="2924553"/>
                  </a:cubicBezTo>
                  <a:cubicBezTo>
                    <a:pt x="3888221" y="2924553"/>
                    <a:pt x="3884210" y="2920540"/>
                    <a:pt x="3884210" y="2915589"/>
                  </a:cubicBezTo>
                  <a:cubicBezTo>
                    <a:pt x="3884210" y="2910640"/>
                    <a:pt x="3888221" y="2906628"/>
                    <a:pt x="3893170" y="2906628"/>
                  </a:cubicBezTo>
                  <a:close/>
                  <a:moveTo>
                    <a:pt x="3724429" y="2906628"/>
                  </a:moveTo>
                  <a:cubicBezTo>
                    <a:pt x="3729378" y="2906628"/>
                    <a:pt x="3733390" y="2910640"/>
                    <a:pt x="3733390" y="2915590"/>
                  </a:cubicBezTo>
                  <a:cubicBezTo>
                    <a:pt x="3733390" y="2920540"/>
                    <a:pt x="3729378" y="2924553"/>
                    <a:pt x="3724429" y="2924553"/>
                  </a:cubicBezTo>
                  <a:cubicBezTo>
                    <a:pt x="3719481" y="2924553"/>
                    <a:pt x="3715469" y="2920540"/>
                    <a:pt x="3715469" y="2915590"/>
                  </a:cubicBezTo>
                  <a:cubicBezTo>
                    <a:pt x="3715469" y="2910640"/>
                    <a:pt x="3719481" y="2906628"/>
                    <a:pt x="3724429" y="2906628"/>
                  </a:cubicBezTo>
                  <a:close/>
                  <a:moveTo>
                    <a:pt x="3555688" y="2906628"/>
                  </a:moveTo>
                  <a:cubicBezTo>
                    <a:pt x="3560637" y="2906628"/>
                    <a:pt x="3564649" y="2910640"/>
                    <a:pt x="3564649" y="2915590"/>
                  </a:cubicBezTo>
                  <a:cubicBezTo>
                    <a:pt x="3564649" y="2920540"/>
                    <a:pt x="3560637" y="2924553"/>
                    <a:pt x="3555688" y="2924553"/>
                  </a:cubicBezTo>
                  <a:cubicBezTo>
                    <a:pt x="3550740" y="2924553"/>
                    <a:pt x="3546728" y="2920540"/>
                    <a:pt x="3546728" y="2915590"/>
                  </a:cubicBezTo>
                  <a:cubicBezTo>
                    <a:pt x="3546728" y="2910640"/>
                    <a:pt x="3550740" y="2906628"/>
                    <a:pt x="3555688" y="2906628"/>
                  </a:cubicBezTo>
                  <a:close/>
                  <a:moveTo>
                    <a:pt x="3387053" y="2906628"/>
                  </a:moveTo>
                  <a:cubicBezTo>
                    <a:pt x="3392007" y="2906628"/>
                    <a:pt x="3396019" y="2910640"/>
                    <a:pt x="3396019" y="2915590"/>
                  </a:cubicBezTo>
                  <a:cubicBezTo>
                    <a:pt x="3396019" y="2920540"/>
                    <a:pt x="3392007" y="2924554"/>
                    <a:pt x="3387053" y="2924554"/>
                  </a:cubicBezTo>
                  <a:cubicBezTo>
                    <a:pt x="3382055" y="2924554"/>
                    <a:pt x="3378042" y="2920540"/>
                    <a:pt x="3378042" y="2915590"/>
                  </a:cubicBezTo>
                  <a:cubicBezTo>
                    <a:pt x="3378042" y="2910640"/>
                    <a:pt x="3382055" y="2906628"/>
                    <a:pt x="3387053" y="2906628"/>
                  </a:cubicBezTo>
                  <a:close/>
                  <a:moveTo>
                    <a:pt x="3218296" y="2906628"/>
                  </a:moveTo>
                  <a:cubicBezTo>
                    <a:pt x="3223257" y="2906628"/>
                    <a:pt x="3227270" y="2910640"/>
                    <a:pt x="3227270" y="2915590"/>
                  </a:cubicBezTo>
                  <a:cubicBezTo>
                    <a:pt x="3227270" y="2920540"/>
                    <a:pt x="3223257" y="2924554"/>
                    <a:pt x="3218296" y="2924554"/>
                  </a:cubicBezTo>
                  <a:cubicBezTo>
                    <a:pt x="3213328" y="2924554"/>
                    <a:pt x="3209326" y="2920540"/>
                    <a:pt x="3209326" y="2915590"/>
                  </a:cubicBezTo>
                  <a:cubicBezTo>
                    <a:pt x="3209326" y="2910640"/>
                    <a:pt x="3213328" y="2906628"/>
                    <a:pt x="3218296" y="2906628"/>
                  </a:cubicBezTo>
                  <a:close/>
                  <a:moveTo>
                    <a:pt x="3049591" y="2906628"/>
                  </a:moveTo>
                  <a:cubicBezTo>
                    <a:pt x="3054525" y="2906628"/>
                    <a:pt x="3058538" y="2910640"/>
                    <a:pt x="3058538" y="2915590"/>
                  </a:cubicBezTo>
                  <a:cubicBezTo>
                    <a:pt x="3058538" y="2920540"/>
                    <a:pt x="3054525" y="2924554"/>
                    <a:pt x="3049591" y="2924554"/>
                  </a:cubicBezTo>
                  <a:cubicBezTo>
                    <a:pt x="3044639" y="2924554"/>
                    <a:pt x="3040621" y="2920540"/>
                    <a:pt x="3040621" y="2915590"/>
                  </a:cubicBezTo>
                  <a:cubicBezTo>
                    <a:pt x="3040621" y="2910640"/>
                    <a:pt x="3044639" y="2906628"/>
                    <a:pt x="3049591" y="2906628"/>
                  </a:cubicBezTo>
                  <a:close/>
                  <a:moveTo>
                    <a:pt x="2880864" y="2906628"/>
                  </a:moveTo>
                  <a:cubicBezTo>
                    <a:pt x="2885812" y="2906628"/>
                    <a:pt x="2889823" y="2910640"/>
                    <a:pt x="2889823" y="2915590"/>
                  </a:cubicBezTo>
                  <a:cubicBezTo>
                    <a:pt x="2889823" y="2920540"/>
                    <a:pt x="2885812" y="2924554"/>
                    <a:pt x="2880864" y="2924554"/>
                  </a:cubicBezTo>
                  <a:cubicBezTo>
                    <a:pt x="2875920" y="2924554"/>
                    <a:pt x="2871908" y="2920540"/>
                    <a:pt x="2871908" y="2915590"/>
                  </a:cubicBezTo>
                  <a:cubicBezTo>
                    <a:pt x="2871908" y="2910640"/>
                    <a:pt x="2875920" y="2906628"/>
                    <a:pt x="2880864" y="2906628"/>
                  </a:cubicBezTo>
                  <a:close/>
                  <a:moveTo>
                    <a:pt x="2712097" y="2906628"/>
                  </a:moveTo>
                  <a:cubicBezTo>
                    <a:pt x="2717073" y="2906628"/>
                    <a:pt x="2721080" y="2910642"/>
                    <a:pt x="2721080" y="2915592"/>
                  </a:cubicBezTo>
                  <a:cubicBezTo>
                    <a:pt x="2721080" y="2920540"/>
                    <a:pt x="2717073" y="2924554"/>
                    <a:pt x="2712097" y="2924554"/>
                  </a:cubicBezTo>
                  <a:cubicBezTo>
                    <a:pt x="2707156" y="2924554"/>
                    <a:pt x="2703141" y="2920540"/>
                    <a:pt x="2703141" y="2915592"/>
                  </a:cubicBezTo>
                  <a:cubicBezTo>
                    <a:pt x="2703141" y="2910642"/>
                    <a:pt x="2707156" y="2906628"/>
                    <a:pt x="2712097" y="2906628"/>
                  </a:cubicBezTo>
                  <a:close/>
                  <a:moveTo>
                    <a:pt x="2543414" y="2906628"/>
                  </a:moveTo>
                  <a:cubicBezTo>
                    <a:pt x="2548365" y="2906628"/>
                    <a:pt x="2552377" y="2910642"/>
                    <a:pt x="2552377" y="2915592"/>
                  </a:cubicBezTo>
                  <a:cubicBezTo>
                    <a:pt x="2552377" y="2920540"/>
                    <a:pt x="2548365" y="2924554"/>
                    <a:pt x="2543414" y="2924554"/>
                  </a:cubicBezTo>
                  <a:cubicBezTo>
                    <a:pt x="2538459" y="2924554"/>
                    <a:pt x="2534440" y="2920540"/>
                    <a:pt x="2534440" y="2915592"/>
                  </a:cubicBezTo>
                  <a:cubicBezTo>
                    <a:pt x="2534440" y="2910642"/>
                    <a:pt x="2538459" y="2906628"/>
                    <a:pt x="2543414" y="2906628"/>
                  </a:cubicBezTo>
                  <a:close/>
                  <a:moveTo>
                    <a:pt x="2374616" y="2906628"/>
                  </a:moveTo>
                  <a:cubicBezTo>
                    <a:pt x="2379582" y="2906628"/>
                    <a:pt x="2383624" y="2910642"/>
                    <a:pt x="2383624" y="2915592"/>
                  </a:cubicBezTo>
                  <a:cubicBezTo>
                    <a:pt x="2383624" y="2920540"/>
                    <a:pt x="2379582" y="2924554"/>
                    <a:pt x="2374616" y="2924554"/>
                  </a:cubicBezTo>
                  <a:cubicBezTo>
                    <a:pt x="2369664" y="2924554"/>
                    <a:pt x="2365652" y="2920540"/>
                    <a:pt x="2365652" y="2915592"/>
                  </a:cubicBezTo>
                  <a:cubicBezTo>
                    <a:pt x="2365652" y="2910642"/>
                    <a:pt x="2369664" y="2906628"/>
                    <a:pt x="2374616" y="2906628"/>
                  </a:cubicBezTo>
                  <a:close/>
                  <a:moveTo>
                    <a:pt x="2205915" y="2906628"/>
                  </a:moveTo>
                  <a:cubicBezTo>
                    <a:pt x="2210862" y="2906628"/>
                    <a:pt x="2214871" y="2910642"/>
                    <a:pt x="2214871" y="2915592"/>
                  </a:cubicBezTo>
                  <a:cubicBezTo>
                    <a:pt x="2214871" y="2920541"/>
                    <a:pt x="2210862" y="2924554"/>
                    <a:pt x="2205915" y="2924554"/>
                  </a:cubicBezTo>
                  <a:cubicBezTo>
                    <a:pt x="2200934" y="2924554"/>
                    <a:pt x="2196919" y="2920541"/>
                    <a:pt x="2196919" y="2915592"/>
                  </a:cubicBezTo>
                  <a:cubicBezTo>
                    <a:pt x="2196919" y="2910642"/>
                    <a:pt x="2200934" y="2906628"/>
                    <a:pt x="2205915" y="2906628"/>
                  </a:cubicBezTo>
                  <a:close/>
                  <a:moveTo>
                    <a:pt x="5074362" y="2906627"/>
                  </a:moveTo>
                  <a:cubicBezTo>
                    <a:pt x="5079311" y="2906627"/>
                    <a:pt x="5083323" y="2910639"/>
                    <a:pt x="5083323" y="2915589"/>
                  </a:cubicBezTo>
                  <a:cubicBezTo>
                    <a:pt x="5083323" y="2920539"/>
                    <a:pt x="5079311" y="2924551"/>
                    <a:pt x="5074362" y="2924551"/>
                  </a:cubicBezTo>
                  <a:cubicBezTo>
                    <a:pt x="5069413" y="2924551"/>
                    <a:pt x="5065402" y="2920539"/>
                    <a:pt x="5065402" y="2915589"/>
                  </a:cubicBezTo>
                  <a:cubicBezTo>
                    <a:pt x="5065402" y="2910639"/>
                    <a:pt x="5069413" y="2906627"/>
                    <a:pt x="5074362" y="2906627"/>
                  </a:cubicBezTo>
                  <a:close/>
                  <a:moveTo>
                    <a:pt x="4905620" y="2906627"/>
                  </a:moveTo>
                  <a:cubicBezTo>
                    <a:pt x="4910569" y="2906627"/>
                    <a:pt x="4914581" y="2910639"/>
                    <a:pt x="4914581" y="2915589"/>
                  </a:cubicBezTo>
                  <a:cubicBezTo>
                    <a:pt x="4914581" y="2920539"/>
                    <a:pt x="4910569" y="2924551"/>
                    <a:pt x="4905620" y="2924551"/>
                  </a:cubicBezTo>
                  <a:cubicBezTo>
                    <a:pt x="4900671" y="2924551"/>
                    <a:pt x="4896660" y="2920539"/>
                    <a:pt x="4896660" y="2915589"/>
                  </a:cubicBezTo>
                  <a:cubicBezTo>
                    <a:pt x="4896660" y="2910639"/>
                    <a:pt x="4900671" y="2906627"/>
                    <a:pt x="4905620" y="2906627"/>
                  </a:cubicBezTo>
                  <a:close/>
                  <a:moveTo>
                    <a:pt x="4736878" y="2906627"/>
                  </a:moveTo>
                  <a:cubicBezTo>
                    <a:pt x="4741827" y="2906627"/>
                    <a:pt x="4745839" y="2910639"/>
                    <a:pt x="4745839" y="2915589"/>
                  </a:cubicBezTo>
                  <a:cubicBezTo>
                    <a:pt x="4745839" y="2920539"/>
                    <a:pt x="4741827" y="2924551"/>
                    <a:pt x="4736878" y="2924551"/>
                  </a:cubicBezTo>
                  <a:cubicBezTo>
                    <a:pt x="4731929" y="2924551"/>
                    <a:pt x="4727918" y="2920539"/>
                    <a:pt x="4727918" y="2915589"/>
                  </a:cubicBezTo>
                  <a:cubicBezTo>
                    <a:pt x="4727918" y="2910639"/>
                    <a:pt x="4731929" y="2906627"/>
                    <a:pt x="4736878" y="2906627"/>
                  </a:cubicBezTo>
                  <a:close/>
                  <a:moveTo>
                    <a:pt x="4568137" y="2906627"/>
                  </a:moveTo>
                  <a:cubicBezTo>
                    <a:pt x="4573086" y="2906627"/>
                    <a:pt x="4577098" y="2910639"/>
                    <a:pt x="4577098" y="2915589"/>
                  </a:cubicBezTo>
                  <a:cubicBezTo>
                    <a:pt x="4577098" y="2920540"/>
                    <a:pt x="4573086" y="2924551"/>
                    <a:pt x="4568137" y="2924551"/>
                  </a:cubicBezTo>
                  <a:cubicBezTo>
                    <a:pt x="4563188" y="2924551"/>
                    <a:pt x="4559177" y="2920540"/>
                    <a:pt x="4559177" y="2915589"/>
                  </a:cubicBezTo>
                  <a:cubicBezTo>
                    <a:pt x="4559177" y="2910639"/>
                    <a:pt x="4563188" y="2906627"/>
                    <a:pt x="4568137" y="2906627"/>
                  </a:cubicBezTo>
                  <a:close/>
                  <a:moveTo>
                    <a:pt x="4399396" y="2906627"/>
                  </a:moveTo>
                  <a:cubicBezTo>
                    <a:pt x="4404345" y="2906627"/>
                    <a:pt x="4408357" y="2910639"/>
                    <a:pt x="4408357" y="2915589"/>
                  </a:cubicBezTo>
                  <a:cubicBezTo>
                    <a:pt x="4408357" y="2920540"/>
                    <a:pt x="4404345" y="2924551"/>
                    <a:pt x="4399396" y="2924551"/>
                  </a:cubicBezTo>
                  <a:cubicBezTo>
                    <a:pt x="4394447" y="2924551"/>
                    <a:pt x="4390436" y="2920540"/>
                    <a:pt x="4390436" y="2915589"/>
                  </a:cubicBezTo>
                  <a:cubicBezTo>
                    <a:pt x="4390436" y="2910639"/>
                    <a:pt x="4394447" y="2906627"/>
                    <a:pt x="4399396" y="2906627"/>
                  </a:cubicBezTo>
                  <a:close/>
                  <a:moveTo>
                    <a:pt x="4230654" y="2906627"/>
                  </a:moveTo>
                  <a:cubicBezTo>
                    <a:pt x="4235603" y="2906627"/>
                    <a:pt x="4239615" y="2910640"/>
                    <a:pt x="4239615" y="2915589"/>
                  </a:cubicBezTo>
                  <a:cubicBezTo>
                    <a:pt x="4239615" y="2920540"/>
                    <a:pt x="4235603" y="2924553"/>
                    <a:pt x="4230654" y="2924553"/>
                  </a:cubicBezTo>
                  <a:cubicBezTo>
                    <a:pt x="4225705" y="2924553"/>
                    <a:pt x="4221694" y="2920540"/>
                    <a:pt x="4221694" y="2915589"/>
                  </a:cubicBezTo>
                  <a:cubicBezTo>
                    <a:pt x="4221694" y="2910640"/>
                    <a:pt x="4225705" y="2906627"/>
                    <a:pt x="4230654" y="2906627"/>
                  </a:cubicBezTo>
                  <a:close/>
                  <a:moveTo>
                    <a:pt x="6593035" y="2906625"/>
                  </a:moveTo>
                  <a:cubicBezTo>
                    <a:pt x="6597984" y="2906625"/>
                    <a:pt x="6601996" y="2910638"/>
                    <a:pt x="6601996" y="2915587"/>
                  </a:cubicBezTo>
                  <a:cubicBezTo>
                    <a:pt x="6601996" y="2920537"/>
                    <a:pt x="6597984" y="2924550"/>
                    <a:pt x="6593035" y="2924550"/>
                  </a:cubicBezTo>
                  <a:cubicBezTo>
                    <a:pt x="6588086" y="2924550"/>
                    <a:pt x="6584075" y="2920537"/>
                    <a:pt x="6584075" y="2915587"/>
                  </a:cubicBezTo>
                  <a:cubicBezTo>
                    <a:pt x="6584075" y="2910638"/>
                    <a:pt x="6588086" y="2906625"/>
                    <a:pt x="6593035" y="2906625"/>
                  </a:cubicBezTo>
                  <a:close/>
                  <a:moveTo>
                    <a:pt x="6424294" y="2906625"/>
                  </a:moveTo>
                  <a:cubicBezTo>
                    <a:pt x="6429243" y="2906625"/>
                    <a:pt x="6433255" y="2910638"/>
                    <a:pt x="6433255" y="2915587"/>
                  </a:cubicBezTo>
                  <a:cubicBezTo>
                    <a:pt x="6433255" y="2920537"/>
                    <a:pt x="6429243" y="2924550"/>
                    <a:pt x="6424294" y="2924550"/>
                  </a:cubicBezTo>
                  <a:cubicBezTo>
                    <a:pt x="6419345" y="2924550"/>
                    <a:pt x="6415334" y="2920537"/>
                    <a:pt x="6415334" y="2915587"/>
                  </a:cubicBezTo>
                  <a:cubicBezTo>
                    <a:pt x="6415334" y="2910638"/>
                    <a:pt x="6419345" y="2906625"/>
                    <a:pt x="6424294" y="2906625"/>
                  </a:cubicBezTo>
                  <a:close/>
                  <a:moveTo>
                    <a:pt x="6255553" y="2906625"/>
                  </a:moveTo>
                  <a:cubicBezTo>
                    <a:pt x="6260502" y="2906625"/>
                    <a:pt x="6264514" y="2910638"/>
                    <a:pt x="6264514" y="2915587"/>
                  </a:cubicBezTo>
                  <a:cubicBezTo>
                    <a:pt x="6264514" y="2920537"/>
                    <a:pt x="6260502" y="2924551"/>
                    <a:pt x="6255553" y="2924551"/>
                  </a:cubicBezTo>
                  <a:cubicBezTo>
                    <a:pt x="6250604" y="2924551"/>
                    <a:pt x="6246593" y="2920537"/>
                    <a:pt x="6246593" y="2915587"/>
                  </a:cubicBezTo>
                  <a:cubicBezTo>
                    <a:pt x="6246593" y="2910638"/>
                    <a:pt x="6250604" y="2906625"/>
                    <a:pt x="6255553" y="2906625"/>
                  </a:cubicBezTo>
                  <a:close/>
                  <a:moveTo>
                    <a:pt x="6086811" y="2906625"/>
                  </a:moveTo>
                  <a:cubicBezTo>
                    <a:pt x="6091760" y="2906625"/>
                    <a:pt x="6095772" y="2910638"/>
                    <a:pt x="6095772" y="2915587"/>
                  </a:cubicBezTo>
                  <a:cubicBezTo>
                    <a:pt x="6095772" y="2920537"/>
                    <a:pt x="6091760" y="2924551"/>
                    <a:pt x="6086811" y="2924551"/>
                  </a:cubicBezTo>
                  <a:cubicBezTo>
                    <a:pt x="6081862" y="2924551"/>
                    <a:pt x="6077851" y="2920537"/>
                    <a:pt x="6077851" y="2915587"/>
                  </a:cubicBezTo>
                  <a:cubicBezTo>
                    <a:pt x="6077851" y="2910638"/>
                    <a:pt x="6081862" y="2906625"/>
                    <a:pt x="6086811" y="2906625"/>
                  </a:cubicBezTo>
                  <a:close/>
                  <a:moveTo>
                    <a:pt x="5918069" y="2906625"/>
                  </a:moveTo>
                  <a:cubicBezTo>
                    <a:pt x="5923018" y="2906625"/>
                    <a:pt x="5927030" y="2910638"/>
                    <a:pt x="5927030" y="2915587"/>
                  </a:cubicBezTo>
                  <a:cubicBezTo>
                    <a:pt x="5927030" y="2920537"/>
                    <a:pt x="5923018" y="2924551"/>
                    <a:pt x="5918069" y="2924551"/>
                  </a:cubicBezTo>
                  <a:cubicBezTo>
                    <a:pt x="5913120" y="2924551"/>
                    <a:pt x="5909109" y="2920537"/>
                    <a:pt x="5909109" y="2915587"/>
                  </a:cubicBezTo>
                  <a:cubicBezTo>
                    <a:pt x="5909109" y="2910638"/>
                    <a:pt x="5913120" y="2906625"/>
                    <a:pt x="5918069" y="2906625"/>
                  </a:cubicBezTo>
                  <a:close/>
                  <a:moveTo>
                    <a:pt x="5749328" y="2906625"/>
                  </a:moveTo>
                  <a:cubicBezTo>
                    <a:pt x="5754277" y="2906625"/>
                    <a:pt x="5758289" y="2910638"/>
                    <a:pt x="5758289" y="2915587"/>
                  </a:cubicBezTo>
                  <a:cubicBezTo>
                    <a:pt x="5758289" y="2920537"/>
                    <a:pt x="5754277" y="2924551"/>
                    <a:pt x="5749328" y="2924551"/>
                  </a:cubicBezTo>
                  <a:cubicBezTo>
                    <a:pt x="5744379" y="2924551"/>
                    <a:pt x="5740368" y="2920537"/>
                    <a:pt x="5740368" y="2915587"/>
                  </a:cubicBezTo>
                  <a:cubicBezTo>
                    <a:pt x="5740368" y="2910638"/>
                    <a:pt x="5744379" y="2906625"/>
                    <a:pt x="5749328" y="2906625"/>
                  </a:cubicBezTo>
                  <a:close/>
                  <a:moveTo>
                    <a:pt x="5580586" y="2906625"/>
                  </a:moveTo>
                  <a:cubicBezTo>
                    <a:pt x="5585535" y="2906625"/>
                    <a:pt x="5589547" y="2910639"/>
                    <a:pt x="5589547" y="2915589"/>
                  </a:cubicBezTo>
                  <a:cubicBezTo>
                    <a:pt x="5589547" y="2920537"/>
                    <a:pt x="5585535" y="2924551"/>
                    <a:pt x="5580586" y="2924551"/>
                  </a:cubicBezTo>
                  <a:cubicBezTo>
                    <a:pt x="5575637" y="2924551"/>
                    <a:pt x="5571626" y="2920537"/>
                    <a:pt x="5571626" y="2915589"/>
                  </a:cubicBezTo>
                  <a:cubicBezTo>
                    <a:pt x="5571626" y="2910639"/>
                    <a:pt x="5575637" y="2906625"/>
                    <a:pt x="5580586" y="2906625"/>
                  </a:cubicBezTo>
                  <a:close/>
                  <a:moveTo>
                    <a:pt x="5411845" y="2906625"/>
                  </a:moveTo>
                  <a:cubicBezTo>
                    <a:pt x="5416794" y="2906625"/>
                    <a:pt x="5420806" y="2910639"/>
                    <a:pt x="5420806" y="2915589"/>
                  </a:cubicBezTo>
                  <a:cubicBezTo>
                    <a:pt x="5420806" y="2920537"/>
                    <a:pt x="5416794" y="2924551"/>
                    <a:pt x="5411845" y="2924551"/>
                  </a:cubicBezTo>
                  <a:cubicBezTo>
                    <a:pt x="5406896" y="2924551"/>
                    <a:pt x="5402885" y="2920537"/>
                    <a:pt x="5402885" y="2915589"/>
                  </a:cubicBezTo>
                  <a:cubicBezTo>
                    <a:pt x="5402885" y="2910639"/>
                    <a:pt x="5406896" y="2906625"/>
                    <a:pt x="5411845" y="2906625"/>
                  </a:cubicBezTo>
                  <a:close/>
                  <a:moveTo>
                    <a:pt x="5243103" y="2906625"/>
                  </a:moveTo>
                  <a:cubicBezTo>
                    <a:pt x="5248052" y="2906625"/>
                    <a:pt x="5252064" y="2910639"/>
                    <a:pt x="5252064" y="2915589"/>
                  </a:cubicBezTo>
                  <a:cubicBezTo>
                    <a:pt x="5252064" y="2920539"/>
                    <a:pt x="5248052" y="2924551"/>
                    <a:pt x="5243103" y="2924551"/>
                  </a:cubicBezTo>
                  <a:cubicBezTo>
                    <a:pt x="5238154" y="2924551"/>
                    <a:pt x="5234143" y="2920539"/>
                    <a:pt x="5234143" y="2915589"/>
                  </a:cubicBezTo>
                  <a:cubicBezTo>
                    <a:pt x="5234143" y="2910639"/>
                    <a:pt x="5238154" y="2906625"/>
                    <a:pt x="5243103" y="2906625"/>
                  </a:cubicBezTo>
                  <a:close/>
                  <a:moveTo>
                    <a:pt x="6933679" y="2906624"/>
                  </a:moveTo>
                  <a:cubicBezTo>
                    <a:pt x="6938628" y="2906624"/>
                    <a:pt x="6942639" y="2910638"/>
                    <a:pt x="6942639" y="2915586"/>
                  </a:cubicBezTo>
                  <a:cubicBezTo>
                    <a:pt x="6942639" y="2920537"/>
                    <a:pt x="6938628" y="2924550"/>
                    <a:pt x="6933679" y="2924550"/>
                  </a:cubicBezTo>
                  <a:cubicBezTo>
                    <a:pt x="6928730" y="2924550"/>
                    <a:pt x="6924718" y="2920537"/>
                    <a:pt x="6924718" y="2915586"/>
                  </a:cubicBezTo>
                  <a:cubicBezTo>
                    <a:pt x="6924718" y="2910638"/>
                    <a:pt x="6928730" y="2906624"/>
                    <a:pt x="6933679" y="2906624"/>
                  </a:cubicBezTo>
                  <a:close/>
                  <a:moveTo>
                    <a:pt x="6763357" y="2906624"/>
                  </a:moveTo>
                  <a:cubicBezTo>
                    <a:pt x="6768306" y="2906624"/>
                    <a:pt x="6772318" y="2910638"/>
                    <a:pt x="6772318" y="2915587"/>
                  </a:cubicBezTo>
                  <a:cubicBezTo>
                    <a:pt x="6772318" y="2920537"/>
                    <a:pt x="6768306" y="2924550"/>
                    <a:pt x="6763357" y="2924550"/>
                  </a:cubicBezTo>
                  <a:cubicBezTo>
                    <a:pt x="6758408" y="2924550"/>
                    <a:pt x="6754397" y="2920537"/>
                    <a:pt x="6754397" y="2915587"/>
                  </a:cubicBezTo>
                  <a:cubicBezTo>
                    <a:pt x="6754397" y="2910638"/>
                    <a:pt x="6758408" y="2906624"/>
                    <a:pt x="6763357" y="2906624"/>
                  </a:cubicBezTo>
                  <a:close/>
                  <a:moveTo>
                    <a:pt x="1362222" y="2735676"/>
                  </a:moveTo>
                  <a:cubicBezTo>
                    <a:pt x="1367176" y="2735676"/>
                    <a:pt x="1371184" y="2739696"/>
                    <a:pt x="1371184" y="2744613"/>
                  </a:cubicBezTo>
                  <a:cubicBezTo>
                    <a:pt x="1371184" y="2749578"/>
                    <a:pt x="1367176" y="2753579"/>
                    <a:pt x="1362222" y="2753579"/>
                  </a:cubicBezTo>
                  <a:cubicBezTo>
                    <a:pt x="1357273" y="2753579"/>
                    <a:pt x="1353261" y="2749578"/>
                    <a:pt x="1353261" y="2744613"/>
                  </a:cubicBezTo>
                  <a:cubicBezTo>
                    <a:pt x="1353261" y="2739696"/>
                    <a:pt x="1357273" y="2735676"/>
                    <a:pt x="1362222" y="2735676"/>
                  </a:cubicBezTo>
                  <a:close/>
                  <a:moveTo>
                    <a:pt x="1193480" y="2735676"/>
                  </a:moveTo>
                  <a:cubicBezTo>
                    <a:pt x="1198428" y="2735676"/>
                    <a:pt x="1202440" y="2739696"/>
                    <a:pt x="1202440" y="2744613"/>
                  </a:cubicBezTo>
                  <a:cubicBezTo>
                    <a:pt x="1202440" y="2749578"/>
                    <a:pt x="1198428" y="2753579"/>
                    <a:pt x="1193480" y="2753579"/>
                  </a:cubicBezTo>
                  <a:cubicBezTo>
                    <a:pt x="1188533" y="2753579"/>
                    <a:pt x="1184522" y="2749578"/>
                    <a:pt x="1184522" y="2744613"/>
                  </a:cubicBezTo>
                  <a:cubicBezTo>
                    <a:pt x="1184522" y="2739696"/>
                    <a:pt x="1188533" y="2735676"/>
                    <a:pt x="1193480" y="2735676"/>
                  </a:cubicBezTo>
                  <a:close/>
                  <a:moveTo>
                    <a:pt x="1024725" y="2735676"/>
                  </a:moveTo>
                  <a:cubicBezTo>
                    <a:pt x="1029677" y="2735676"/>
                    <a:pt x="1033692" y="2739696"/>
                    <a:pt x="1033692" y="2744613"/>
                  </a:cubicBezTo>
                  <a:cubicBezTo>
                    <a:pt x="1033692" y="2749578"/>
                    <a:pt x="1029677" y="2753579"/>
                    <a:pt x="1024725" y="2753579"/>
                  </a:cubicBezTo>
                  <a:cubicBezTo>
                    <a:pt x="1019776" y="2753579"/>
                    <a:pt x="1015766" y="2749578"/>
                    <a:pt x="1015766" y="2744613"/>
                  </a:cubicBezTo>
                  <a:cubicBezTo>
                    <a:pt x="1015766" y="2739696"/>
                    <a:pt x="1019776" y="2735676"/>
                    <a:pt x="1024725" y="2735676"/>
                  </a:cubicBezTo>
                  <a:close/>
                  <a:moveTo>
                    <a:pt x="856000" y="2735676"/>
                  </a:moveTo>
                  <a:cubicBezTo>
                    <a:pt x="860948" y="2735676"/>
                    <a:pt x="864960" y="2739696"/>
                    <a:pt x="864960" y="2744613"/>
                  </a:cubicBezTo>
                  <a:cubicBezTo>
                    <a:pt x="864960" y="2749578"/>
                    <a:pt x="860948" y="2753579"/>
                    <a:pt x="856000" y="2753579"/>
                  </a:cubicBezTo>
                  <a:cubicBezTo>
                    <a:pt x="851049" y="2753579"/>
                    <a:pt x="847039" y="2749578"/>
                    <a:pt x="847039" y="2744613"/>
                  </a:cubicBezTo>
                  <a:cubicBezTo>
                    <a:pt x="847039" y="2739696"/>
                    <a:pt x="851049" y="2735676"/>
                    <a:pt x="856000" y="2735676"/>
                  </a:cubicBezTo>
                  <a:close/>
                  <a:moveTo>
                    <a:pt x="687261" y="2735676"/>
                  </a:moveTo>
                  <a:cubicBezTo>
                    <a:pt x="692210" y="2735676"/>
                    <a:pt x="696221" y="2739696"/>
                    <a:pt x="696221" y="2744613"/>
                  </a:cubicBezTo>
                  <a:cubicBezTo>
                    <a:pt x="696221" y="2749578"/>
                    <a:pt x="692210" y="2753581"/>
                    <a:pt x="687261" y="2753581"/>
                  </a:cubicBezTo>
                  <a:cubicBezTo>
                    <a:pt x="682313" y="2753581"/>
                    <a:pt x="678302" y="2749578"/>
                    <a:pt x="678302" y="2744613"/>
                  </a:cubicBezTo>
                  <a:cubicBezTo>
                    <a:pt x="678302" y="2739696"/>
                    <a:pt x="682313" y="2735676"/>
                    <a:pt x="687261" y="2735676"/>
                  </a:cubicBezTo>
                  <a:close/>
                  <a:moveTo>
                    <a:pt x="518488" y="2735676"/>
                  </a:moveTo>
                  <a:cubicBezTo>
                    <a:pt x="523437" y="2735676"/>
                    <a:pt x="527449" y="2739696"/>
                    <a:pt x="527449" y="2744614"/>
                  </a:cubicBezTo>
                  <a:cubicBezTo>
                    <a:pt x="527449" y="2749578"/>
                    <a:pt x="523437" y="2753581"/>
                    <a:pt x="518488" y="2753581"/>
                  </a:cubicBezTo>
                  <a:cubicBezTo>
                    <a:pt x="513540" y="2753581"/>
                    <a:pt x="509528" y="2749578"/>
                    <a:pt x="509528" y="2744614"/>
                  </a:cubicBezTo>
                  <a:cubicBezTo>
                    <a:pt x="509528" y="2739696"/>
                    <a:pt x="513540" y="2735676"/>
                    <a:pt x="518488" y="2735676"/>
                  </a:cubicBezTo>
                  <a:close/>
                  <a:moveTo>
                    <a:pt x="349751" y="2735676"/>
                  </a:moveTo>
                  <a:cubicBezTo>
                    <a:pt x="354699" y="2735676"/>
                    <a:pt x="358711" y="2739696"/>
                    <a:pt x="358711" y="2744614"/>
                  </a:cubicBezTo>
                  <a:cubicBezTo>
                    <a:pt x="358711" y="2749579"/>
                    <a:pt x="354699" y="2753581"/>
                    <a:pt x="349751" y="2753581"/>
                  </a:cubicBezTo>
                  <a:cubicBezTo>
                    <a:pt x="344803" y="2753581"/>
                    <a:pt x="340791" y="2749579"/>
                    <a:pt x="340791" y="2744614"/>
                  </a:cubicBezTo>
                  <a:cubicBezTo>
                    <a:pt x="340791" y="2739696"/>
                    <a:pt x="344803" y="2735676"/>
                    <a:pt x="349751" y="2735676"/>
                  </a:cubicBezTo>
                  <a:close/>
                  <a:moveTo>
                    <a:pt x="179433" y="2735676"/>
                  </a:moveTo>
                  <a:cubicBezTo>
                    <a:pt x="184382" y="2735676"/>
                    <a:pt x="188394" y="2739696"/>
                    <a:pt x="188394" y="2744614"/>
                  </a:cubicBezTo>
                  <a:cubicBezTo>
                    <a:pt x="188394" y="2749578"/>
                    <a:pt x="184382" y="2753581"/>
                    <a:pt x="179433" y="2753581"/>
                  </a:cubicBezTo>
                  <a:cubicBezTo>
                    <a:pt x="174485" y="2753581"/>
                    <a:pt x="170473" y="2749578"/>
                    <a:pt x="170473" y="2744614"/>
                  </a:cubicBezTo>
                  <a:cubicBezTo>
                    <a:pt x="170473" y="2739696"/>
                    <a:pt x="174485" y="2735676"/>
                    <a:pt x="179433" y="2735676"/>
                  </a:cubicBezTo>
                  <a:close/>
                  <a:moveTo>
                    <a:pt x="9117" y="2735676"/>
                  </a:moveTo>
                  <a:cubicBezTo>
                    <a:pt x="14066" y="2735676"/>
                    <a:pt x="18076" y="2739696"/>
                    <a:pt x="18076" y="2744614"/>
                  </a:cubicBezTo>
                  <a:cubicBezTo>
                    <a:pt x="18076" y="2749578"/>
                    <a:pt x="14066" y="2753581"/>
                    <a:pt x="9117" y="2753581"/>
                  </a:cubicBezTo>
                  <a:cubicBezTo>
                    <a:pt x="4169" y="2753581"/>
                    <a:pt x="157" y="2749578"/>
                    <a:pt x="157" y="2744614"/>
                  </a:cubicBezTo>
                  <a:cubicBezTo>
                    <a:pt x="157" y="2739696"/>
                    <a:pt x="4169" y="2735676"/>
                    <a:pt x="9117" y="2735676"/>
                  </a:cubicBezTo>
                  <a:close/>
                  <a:moveTo>
                    <a:pt x="3049594" y="2735675"/>
                  </a:moveTo>
                  <a:cubicBezTo>
                    <a:pt x="3054528" y="2735675"/>
                    <a:pt x="3058541" y="2739694"/>
                    <a:pt x="3058541" y="2744611"/>
                  </a:cubicBezTo>
                  <a:cubicBezTo>
                    <a:pt x="3058541" y="2749576"/>
                    <a:pt x="3054528" y="2753578"/>
                    <a:pt x="3049594" y="2753578"/>
                  </a:cubicBezTo>
                  <a:cubicBezTo>
                    <a:pt x="3044642" y="2753578"/>
                    <a:pt x="3040624" y="2749576"/>
                    <a:pt x="3040624" y="2744611"/>
                  </a:cubicBezTo>
                  <a:cubicBezTo>
                    <a:pt x="3040624" y="2739694"/>
                    <a:pt x="3044642" y="2735675"/>
                    <a:pt x="3049594" y="2735675"/>
                  </a:cubicBezTo>
                  <a:close/>
                  <a:moveTo>
                    <a:pt x="2880868" y="2735675"/>
                  </a:moveTo>
                  <a:cubicBezTo>
                    <a:pt x="2885815" y="2735675"/>
                    <a:pt x="2889827" y="2739694"/>
                    <a:pt x="2889827" y="2744611"/>
                  </a:cubicBezTo>
                  <a:cubicBezTo>
                    <a:pt x="2889827" y="2749576"/>
                    <a:pt x="2885815" y="2753578"/>
                    <a:pt x="2880868" y="2753578"/>
                  </a:cubicBezTo>
                  <a:cubicBezTo>
                    <a:pt x="2875924" y="2753578"/>
                    <a:pt x="2871912" y="2749576"/>
                    <a:pt x="2871912" y="2744611"/>
                  </a:cubicBezTo>
                  <a:cubicBezTo>
                    <a:pt x="2871912" y="2739694"/>
                    <a:pt x="2875924" y="2735675"/>
                    <a:pt x="2880868" y="2735675"/>
                  </a:cubicBezTo>
                  <a:close/>
                  <a:moveTo>
                    <a:pt x="2712100" y="2735675"/>
                  </a:moveTo>
                  <a:cubicBezTo>
                    <a:pt x="2717076" y="2735675"/>
                    <a:pt x="2721083" y="2739694"/>
                    <a:pt x="2721083" y="2744611"/>
                  </a:cubicBezTo>
                  <a:cubicBezTo>
                    <a:pt x="2721083" y="2749576"/>
                    <a:pt x="2717076" y="2753578"/>
                    <a:pt x="2712100" y="2753578"/>
                  </a:cubicBezTo>
                  <a:cubicBezTo>
                    <a:pt x="2707160" y="2753578"/>
                    <a:pt x="2703144" y="2749576"/>
                    <a:pt x="2703144" y="2744611"/>
                  </a:cubicBezTo>
                  <a:cubicBezTo>
                    <a:pt x="2703144" y="2739694"/>
                    <a:pt x="2707160" y="2735675"/>
                    <a:pt x="2712100" y="2735675"/>
                  </a:cubicBezTo>
                  <a:close/>
                  <a:moveTo>
                    <a:pt x="2543418" y="2735675"/>
                  </a:moveTo>
                  <a:cubicBezTo>
                    <a:pt x="2548371" y="2735675"/>
                    <a:pt x="2552381" y="2739696"/>
                    <a:pt x="2552381" y="2744611"/>
                  </a:cubicBezTo>
                  <a:cubicBezTo>
                    <a:pt x="2552381" y="2749576"/>
                    <a:pt x="2548371" y="2753578"/>
                    <a:pt x="2543418" y="2753578"/>
                  </a:cubicBezTo>
                  <a:cubicBezTo>
                    <a:pt x="2538463" y="2753578"/>
                    <a:pt x="2534443" y="2749576"/>
                    <a:pt x="2534443" y="2744611"/>
                  </a:cubicBezTo>
                  <a:cubicBezTo>
                    <a:pt x="2534443" y="2739696"/>
                    <a:pt x="2538463" y="2735675"/>
                    <a:pt x="2543418" y="2735675"/>
                  </a:cubicBezTo>
                  <a:close/>
                  <a:moveTo>
                    <a:pt x="2374619" y="2735675"/>
                  </a:moveTo>
                  <a:cubicBezTo>
                    <a:pt x="2379585" y="2735675"/>
                    <a:pt x="2383628" y="2739696"/>
                    <a:pt x="2383628" y="2744611"/>
                  </a:cubicBezTo>
                  <a:cubicBezTo>
                    <a:pt x="2383628" y="2749576"/>
                    <a:pt x="2379585" y="2753578"/>
                    <a:pt x="2374619" y="2753578"/>
                  </a:cubicBezTo>
                  <a:cubicBezTo>
                    <a:pt x="2369667" y="2753578"/>
                    <a:pt x="2365655" y="2749576"/>
                    <a:pt x="2365655" y="2744611"/>
                  </a:cubicBezTo>
                  <a:cubicBezTo>
                    <a:pt x="2365655" y="2739696"/>
                    <a:pt x="2369667" y="2735675"/>
                    <a:pt x="2374619" y="2735675"/>
                  </a:cubicBezTo>
                  <a:close/>
                  <a:moveTo>
                    <a:pt x="2205918" y="2735675"/>
                  </a:moveTo>
                  <a:cubicBezTo>
                    <a:pt x="2210867" y="2735675"/>
                    <a:pt x="2214875" y="2739696"/>
                    <a:pt x="2214875" y="2744611"/>
                  </a:cubicBezTo>
                  <a:cubicBezTo>
                    <a:pt x="2214875" y="2749576"/>
                    <a:pt x="2210867" y="2753579"/>
                    <a:pt x="2205918" y="2753579"/>
                  </a:cubicBezTo>
                  <a:cubicBezTo>
                    <a:pt x="2200937" y="2753579"/>
                    <a:pt x="2196922" y="2749576"/>
                    <a:pt x="2196922" y="2744611"/>
                  </a:cubicBezTo>
                  <a:cubicBezTo>
                    <a:pt x="2196922" y="2739696"/>
                    <a:pt x="2200937" y="2735675"/>
                    <a:pt x="2205918" y="2735675"/>
                  </a:cubicBezTo>
                  <a:close/>
                  <a:moveTo>
                    <a:pt x="2037168" y="2735675"/>
                  </a:moveTo>
                  <a:cubicBezTo>
                    <a:pt x="2042133" y="2735675"/>
                    <a:pt x="2046114" y="2739696"/>
                    <a:pt x="2046114" y="2744613"/>
                  </a:cubicBezTo>
                  <a:cubicBezTo>
                    <a:pt x="2046114" y="2749578"/>
                    <a:pt x="2042133" y="2753579"/>
                    <a:pt x="2037168" y="2753579"/>
                  </a:cubicBezTo>
                  <a:cubicBezTo>
                    <a:pt x="2032235" y="2753579"/>
                    <a:pt x="2028237" y="2749578"/>
                    <a:pt x="2028237" y="2744613"/>
                  </a:cubicBezTo>
                  <a:cubicBezTo>
                    <a:pt x="2028237" y="2739696"/>
                    <a:pt x="2032235" y="2735675"/>
                    <a:pt x="2037168" y="2735675"/>
                  </a:cubicBezTo>
                  <a:close/>
                  <a:moveTo>
                    <a:pt x="1868469" y="2735675"/>
                  </a:moveTo>
                  <a:cubicBezTo>
                    <a:pt x="1873407" y="2735675"/>
                    <a:pt x="1877416" y="2739696"/>
                    <a:pt x="1877416" y="2744613"/>
                  </a:cubicBezTo>
                  <a:cubicBezTo>
                    <a:pt x="1877416" y="2749578"/>
                    <a:pt x="1873407" y="2753579"/>
                    <a:pt x="1868469" y="2753579"/>
                  </a:cubicBezTo>
                  <a:cubicBezTo>
                    <a:pt x="1863509" y="2753579"/>
                    <a:pt x="1859491" y="2749578"/>
                    <a:pt x="1859491" y="2744613"/>
                  </a:cubicBezTo>
                  <a:cubicBezTo>
                    <a:pt x="1859491" y="2739696"/>
                    <a:pt x="1863509" y="2735675"/>
                    <a:pt x="1868469" y="2735675"/>
                  </a:cubicBezTo>
                  <a:close/>
                  <a:moveTo>
                    <a:pt x="1699717" y="2735675"/>
                  </a:moveTo>
                  <a:cubicBezTo>
                    <a:pt x="1704668" y="2735675"/>
                    <a:pt x="1708684" y="2739696"/>
                    <a:pt x="1708684" y="2744613"/>
                  </a:cubicBezTo>
                  <a:cubicBezTo>
                    <a:pt x="1708684" y="2749578"/>
                    <a:pt x="1704668" y="2753579"/>
                    <a:pt x="1699717" y="2753579"/>
                  </a:cubicBezTo>
                  <a:cubicBezTo>
                    <a:pt x="1694762" y="2753579"/>
                    <a:pt x="1690748" y="2749578"/>
                    <a:pt x="1690748" y="2744613"/>
                  </a:cubicBezTo>
                  <a:cubicBezTo>
                    <a:pt x="1690748" y="2739696"/>
                    <a:pt x="1694762" y="2735675"/>
                    <a:pt x="1699717" y="2735675"/>
                  </a:cubicBezTo>
                  <a:close/>
                  <a:moveTo>
                    <a:pt x="1530974" y="2735675"/>
                  </a:moveTo>
                  <a:cubicBezTo>
                    <a:pt x="1535924" y="2735675"/>
                    <a:pt x="1539936" y="2739696"/>
                    <a:pt x="1539936" y="2744613"/>
                  </a:cubicBezTo>
                  <a:cubicBezTo>
                    <a:pt x="1539936" y="2749578"/>
                    <a:pt x="1535924" y="2753579"/>
                    <a:pt x="1530974" y="2753579"/>
                  </a:cubicBezTo>
                  <a:cubicBezTo>
                    <a:pt x="1526024" y="2753579"/>
                    <a:pt x="1522012" y="2749578"/>
                    <a:pt x="1522012" y="2744613"/>
                  </a:cubicBezTo>
                  <a:cubicBezTo>
                    <a:pt x="1522012" y="2739696"/>
                    <a:pt x="1526024" y="2735675"/>
                    <a:pt x="1530974" y="2735675"/>
                  </a:cubicBezTo>
                  <a:close/>
                  <a:moveTo>
                    <a:pt x="4061912" y="2735670"/>
                  </a:moveTo>
                  <a:cubicBezTo>
                    <a:pt x="4066861" y="2735670"/>
                    <a:pt x="4070873" y="2739691"/>
                    <a:pt x="4070873" y="2744609"/>
                  </a:cubicBezTo>
                  <a:cubicBezTo>
                    <a:pt x="4070873" y="2749575"/>
                    <a:pt x="4066861" y="2753578"/>
                    <a:pt x="4061912" y="2753578"/>
                  </a:cubicBezTo>
                  <a:cubicBezTo>
                    <a:pt x="4056963" y="2753578"/>
                    <a:pt x="4052952" y="2749575"/>
                    <a:pt x="4052952" y="2744609"/>
                  </a:cubicBezTo>
                  <a:cubicBezTo>
                    <a:pt x="4052952" y="2739691"/>
                    <a:pt x="4056963" y="2735670"/>
                    <a:pt x="4061912" y="2735670"/>
                  </a:cubicBezTo>
                  <a:close/>
                  <a:moveTo>
                    <a:pt x="3893170" y="2735670"/>
                  </a:moveTo>
                  <a:cubicBezTo>
                    <a:pt x="3898119" y="2735670"/>
                    <a:pt x="3902131" y="2739691"/>
                    <a:pt x="3902131" y="2744609"/>
                  </a:cubicBezTo>
                  <a:cubicBezTo>
                    <a:pt x="3902131" y="2749575"/>
                    <a:pt x="3898119" y="2753578"/>
                    <a:pt x="3893170" y="2753578"/>
                  </a:cubicBezTo>
                  <a:cubicBezTo>
                    <a:pt x="3888221" y="2753578"/>
                    <a:pt x="3884210" y="2749575"/>
                    <a:pt x="3884210" y="2744609"/>
                  </a:cubicBezTo>
                  <a:cubicBezTo>
                    <a:pt x="3884210" y="2739691"/>
                    <a:pt x="3888221" y="2735670"/>
                    <a:pt x="3893170" y="2735670"/>
                  </a:cubicBezTo>
                  <a:close/>
                  <a:moveTo>
                    <a:pt x="3724429" y="2735670"/>
                  </a:moveTo>
                  <a:cubicBezTo>
                    <a:pt x="3729378" y="2735670"/>
                    <a:pt x="3733390" y="2739693"/>
                    <a:pt x="3733390" y="2744609"/>
                  </a:cubicBezTo>
                  <a:cubicBezTo>
                    <a:pt x="3733390" y="2749575"/>
                    <a:pt x="3729378" y="2753578"/>
                    <a:pt x="3724429" y="2753578"/>
                  </a:cubicBezTo>
                  <a:cubicBezTo>
                    <a:pt x="3719481" y="2753578"/>
                    <a:pt x="3715469" y="2749575"/>
                    <a:pt x="3715469" y="2744609"/>
                  </a:cubicBezTo>
                  <a:cubicBezTo>
                    <a:pt x="3715469" y="2739693"/>
                    <a:pt x="3719481" y="2735670"/>
                    <a:pt x="3724429" y="2735670"/>
                  </a:cubicBezTo>
                  <a:close/>
                  <a:moveTo>
                    <a:pt x="3555688" y="2735670"/>
                  </a:moveTo>
                  <a:cubicBezTo>
                    <a:pt x="3560637" y="2735670"/>
                    <a:pt x="3564649" y="2739693"/>
                    <a:pt x="3564649" y="2744609"/>
                  </a:cubicBezTo>
                  <a:cubicBezTo>
                    <a:pt x="3564649" y="2749576"/>
                    <a:pt x="3560637" y="2753578"/>
                    <a:pt x="3555688" y="2753578"/>
                  </a:cubicBezTo>
                  <a:cubicBezTo>
                    <a:pt x="3550740" y="2753578"/>
                    <a:pt x="3546728" y="2749576"/>
                    <a:pt x="3546728" y="2744609"/>
                  </a:cubicBezTo>
                  <a:cubicBezTo>
                    <a:pt x="3546728" y="2739693"/>
                    <a:pt x="3550740" y="2735670"/>
                    <a:pt x="3555688" y="2735670"/>
                  </a:cubicBezTo>
                  <a:close/>
                  <a:moveTo>
                    <a:pt x="3387055" y="2735670"/>
                  </a:moveTo>
                  <a:cubicBezTo>
                    <a:pt x="3392010" y="2735670"/>
                    <a:pt x="3396022" y="2739693"/>
                    <a:pt x="3396022" y="2744609"/>
                  </a:cubicBezTo>
                  <a:cubicBezTo>
                    <a:pt x="3396022" y="2749576"/>
                    <a:pt x="3392010" y="2753578"/>
                    <a:pt x="3387055" y="2753578"/>
                  </a:cubicBezTo>
                  <a:cubicBezTo>
                    <a:pt x="3382056" y="2753578"/>
                    <a:pt x="3378044" y="2749576"/>
                    <a:pt x="3378044" y="2744609"/>
                  </a:cubicBezTo>
                  <a:cubicBezTo>
                    <a:pt x="3378044" y="2739693"/>
                    <a:pt x="3382056" y="2735670"/>
                    <a:pt x="3387055" y="2735670"/>
                  </a:cubicBezTo>
                  <a:close/>
                  <a:moveTo>
                    <a:pt x="3218298" y="2735670"/>
                  </a:moveTo>
                  <a:cubicBezTo>
                    <a:pt x="3223260" y="2735670"/>
                    <a:pt x="3227273" y="2739694"/>
                    <a:pt x="3227273" y="2744611"/>
                  </a:cubicBezTo>
                  <a:cubicBezTo>
                    <a:pt x="3227273" y="2749576"/>
                    <a:pt x="3223260" y="2753578"/>
                    <a:pt x="3218298" y="2753578"/>
                  </a:cubicBezTo>
                  <a:cubicBezTo>
                    <a:pt x="3213329" y="2753578"/>
                    <a:pt x="3209327" y="2749576"/>
                    <a:pt x="3209327" y="2744611"/>
                  </a:cubicBezTo>
                  <a:cubicBezTo>
                    <a:pt x="3209327" y="2739694"/>
                    <a:pt x="3213329" y="2735670"/>
                    <a:pt x="3218298" y="2735670"/>
                  </a:cubicBezTo>
                  <a:close/>
                  <a:moveTo>
                    <a:pt x="6933679" y="2735668"/>
                  </a:moveTo>
                  <a:cubicBezTo>
                    <a:pt x="6938628" y="2735668"/>
                    <a:pt x="6942639" y="2739685"/>
                    <a:pt x="6942639" y="2744603"/>
                  </a:cubicBezTo>
                  <a:cubicBezTo>
                    <a:pt x="6942639" y="2749571"/>
                    <a:pt x="6938628" y="2753575"/>
                    <a:pt x="6933679" y="2753575"/>
                  </a:cubicBezTo>
                  <a:cubicBezTo>
                    <a:pt x="6928730" y="2753575"/>
                    <a:pt x="6924718" y="2749571"/>
                    <a:pt x="6924718" y="2744603"/>
                  </a:cubicBezTo>
                  <a:cubicBezTo>
                    <a:pt x="6924718" y="2739685"/>
                    <a:pt x="6928730" y="2735668"/>
                    <a:pt x="6933679" y="2735668"/>
                  </a:cubicBezTo>
                  <a:close/>
                  <a:moveTo>
                    <a:pt x="6763357" y="2735668"/>
                  </a:moveTo>
                  <a:cubicBezTo>
                    <a:pt x="6768306" y="2735668"/>
                    <a:pt x="6772318" y="2739685"/>
                    <a:pt x="6772318" y="2744603"/>
                  </a:cubicBezTo>
                  <a:cubicBezTo>
                    <a:pt x="6772318" y="2749573"/>
                    <a:pt x="6768306" y="2753575"/>
                    <a:pt x="6763357" y="2753575"/>
                  </a:cubicBezTo>
                  <a:cubicBezTo>
                    <a:pt x="6758408" y="2753575"/>
                    <a:pt x="6754397" y="2749573"/>
                    <a:pt x="6754397" y="2744603"/>
                  </a:cubicBezTo>
                  <a:cubicBezTo>
                    <a:pt x="6754397" y="2739685"/>
                    <a:pt x="6758408" y="2735668"/>
                    <a:pt x="6763357" y="2735668"/>
                  </a:cubicBezTo>
                  <a:close/>
                  <a:moveTo>
                    <a:pt x="6593035" y="2735668"/>
                  </a:moveTo>
                  <a:cubicBezTo>
                    <a:pt x="6597984" y="2735668"/>
                    <a:pt x="6601996" y="2739685"/>
                    <a:pt x="6601996" y="2744603"/>
                  </a:cubicBezTo>
                  <a:cubicBezTo>
                    <a:pt x="6601996" y="2749573"/>
                    <a:pt x="6597984" y="2753575"/>
                    <a:pt x="6593035" y="2753575"/>
                  </a:cubicBezTo>
                  <a:cubicBezTo>
                    <a:pt x="6588086" y="2753575"/>
                    <a:pt x="6584075" y="2749573"/>
                    <a:pt x="6584075" y="2744603"/>
                  </a:cubicBezTo>
                  <a:cubicBezTo>
                    <a:pt x="6584075" y="2739685"/>
                    <a:pt x="6588086" y="2735668"/>
                    <a:pt x="6593035" y="2735668"/>
                  </a:cubicBezTo>
                  <a:close/>
                  <a:moveTo>
                    <a:pt x="6424294" y="2735668"/>
                  </a:moveTo>
                  <a:cubicBezTo>
                    <a:pt x="6429243" y="2735668"/>
                    <a:pt x="6433255" y="2739686"/>
                    <a:pt x="6433255" y="2744603"/>
                  </a:cubicBezTo>
                  <a:cubicBezTo>
                    <a:pt x="6433255" y="2749573"/>
                    <a:pt x="6429243" y="2753575"/>
                    <a:pt x="6424294" y="2753575"/>
                  </a:cubicBezTo>
                  <a:cubicBezTo>
                    <a:pt x="6419345" y="2753575"/>
                    <a:pt x="6415334" y="2749573"/>
                    <a:pt x="6415334" y="2744603"/>
                  </a:cubicBezTo>
                  <a:cubicBezTo>
                    <a:pt x="6415334" y="2739686"/>
                    <a:pt x="6419345" y="2735668"/>
                    <a:pt x="6424294" y="2735668"/>
                  </a:cubicBezTo>
                  <a:close/>
                  <a:moveTo>
                    <a:pt x="6255553" y="2735668"/>
                  </a:moveTo>
                  <a:cubicBezTo>
                    <a:pt x="6260502" y="2735668"/>
                    <a:pt x="6264514" y="2739686"/>
                    <a:pt x="6264514" y="2744603"/>
                  </a:cubicBezTo>
                  <a:cubicBezTo>
                    <a:pt x="6264514" y="2749573"/>
                    <a:pt x="6260502" y="2753575"/>
                    <a:pt x="6255553" y="2753575"/>
                  </a:cubicBezTo>
                  <a:cubicBezTo>
                    <a:pt x="6250604" y="2753575"/>
                    <a:pt x="6246593" y="2749573"/>
                    <a:pt x="6246593" y="2744603"/>
                  </a:cubicBezTo>
                  <a:cubicBezTo>
                    <a:pt x="6246593" y="2739686"/>
                    <a:pt x="6250604" y="2735668"/>
                    <a:pt x="6255553" y="2735668"/>
                  </a:cubicBezTo>
                  <a:close/>
                  <a:moveTo>
                    <a:pt x="6086811" y="2735668"/>
                  </a:moveTo>
                  <a:cubicBezTo>
                    <a:pt x="6091760" y="2735668"/>
                    <a:pt x="6095772" y="2739686"/>
                    <a:pt x="6095772" y="2744603"/>
                  </a:cubicBezTo>
                  <a:cubicBezTo>
                    <a:pt x="6095772" y="2749573"/>
                    <a:pt x="6091760" y="2753575"/>
                    <a:pt x="6086811" y="2753575"/>
                  </a:cubicBezTo>
                  <a:cubicBezTo>
                    <a:pt x="6081862" y="2753575"/>
                    <a:pt x="6077851" y="2749573"/>
                    <a:pt x="6077851" y="2744603"/>
                  </a:cubicBezTo>
                  <a:cubicBezTo>
                    <a:pt x="6077851" y="2739686"/>
                    <a:pt x="6081862" y="2735668"/>
                    <a:pt x="6086811" y="2735668"/>
                  </a:cubicBezTo>
                  <a:close/>
                  <a:moveTo>
                    <a:pt x="5918069" y="2735668"/>
                  </a:moveTo>
                  <a:cubicBezTo>
                    <a:pt x="5923018" y="2735668"/>
                    <a:pt x="5927030" y="2739686"/>
                    <a:pt x="5927030" y="2744607"/>
                  </a:cubicBezTo>
                  <a:cubicBezTo>
                    <a:pt x="5927030" y="2749573"/>
                    <a:pt x="5923018" y="2753575"/>
                    <a:pt x="5918069" y="2753575"/>
                  </a:cubicBezTo>
                  <a:cubicBezTo>
                    <a:pt x="5913120" y="2753575"/>
                    <a:pt x="5909109" y="2749573"/>
                    <a:pt x="5909109" y="2744607"/>
                  </a:cubicBezTo>
                  <a:cubicBezTo>
                    <a:pt x="5909109" y="2739686"/>
                    <a:pt x="5913120" y="2735668"/>
                    <a:pt x="5918069" y="2735668"/>
                  </a:cubicBezTo>
                  <a:close/>
                  <a:moveTo>
                    <a:pt x="5749328" y="2735668"/>
                  </a:moveTo>
                  <a:cubicBezTo>
                    <a:pt x="5754277" y="2735668"/>
                    <a:pt x="5758289" y="2739686"/>
                    <a:pt x="5758289" y="2744607"/>
                  </a:cubicBezTo>
                  <a:cubicBezTo>
                    <a:pt x="5758289" y="2749573"/>
                    <a:pt x="5754277" y="2753575"/>
                    <a:pt x="5749328" y="2753575"/>
                  </a:cubicBezTo>
                  <a:cubicBezTo>
                    <a:pt x="5744379" y="2753575"/>
                    <a:pt x="5740368" y="2749573"/>
                    <a:pt x="5740368" y="2744607"/>
                  </a:cubicBezTo>
                  <a:cubicBezTo>
                    <a:pt x="5740368" y="2739686"/>
                    <a:pt x="5744379" y="2735668"/>
                    <a:pt x="5749328" y="2735668"/>
                  </a:cubicBezTo>
                  <a:close/>
                  <a:moveTo>
                    <a:pt x="5580586" y="2735668"/>
                  </a:moveTo>
                  <a:cubicBezTo>
                    <a:pt x="5585535" y="2735668"/>
                    <a:pt x="5589547" y="2739686"/>
                    <a:pt x="5589547" y="2744607"/>
                  </a:cubicBezTo>
                  <a:cubicBezTo>
                    <a:pt x="5589547" y="2749573"/>
                    <a:pt x="5585535" y="2753575"/>
                    <a:pt x="5580586" y="2753575"/>
                  </a:cubicBezTo>
                  <a:cubicBezTo>
                    <a:pt x="5575637" y="2753575"/>
                    <a:pt x="5571626" y="2749573"/>
                    <a:pt x="5571626" y="2744607"/>
                  </a:cubicBezTo>
                  <a:cubicBezTo>
                    <a:pt x="5571626" y="2739686"/>
                    <a:pt x="5575637" y="2735668"/>
                    <a:pt x="5580586" y="2735668"/>
                  </a:cubicBezTo>
                  <a:close/>
                  <a:moveTo>
                    <a:pt x="5411845" y="2735668"/>
                  </a:moveTo>
                  <a:cubicBezTo>
                    <a:pt x="5416794" y="2735668"/>
                    <a:pt x="5420806" y="2739690"/>
                    <a:pt x="5420806" y="2744607"/>
                  </a:cubicBezTo>
                  <a:cubicBezTo>
                    <a:pt x="5420806" y="2749573"/>
                    <a:pt x="5416794" y="2753577"/>
                    <a:pt x="5411845" y="2753577"/>
                  </a:cubicBezTo>
                  <a:cubicBezTo>
                    <a:pt x="5406896" y="2753577"/>
                    <a:pt x="5402885" y="2749573"/>
                    <a:pt x="5402885" y="2744607"/>
                  </a:cubicBezTo>
                  <a:cubicBezTo>
                    <a:pt x="5402885" y="2739690"/>
                    <a:pt x="5406896" y="2735668"/>
                    <a:pt x="5411845" y="2735668"/>
                  </a:cubicBezTo>
                  <a:close/>
                  <a:moveTo>
                    <a:pt x="5243103" y="2735668"/>
                  </a:moveTo>
                  <a:cubicBezTo>
                    <a:pt x="5248052" y="2735668"/>
                    <a:pt x="5252064" y="2739690"/>
                    <a:pt x="5252064" y="2744609"/>
                  </a:cubicBezTo>
                  <a:cubicBezTo>
                    <a:pt x="5252064" y="2749575"/>
                    <a:pt x="5248052" y="2753577"/>
                    <a:pt x="5243103" y="2753577"/>
                  </a:cubicBezTo>
                  <a:cubicBezTo>
                    <a:pt x="5238154" y="2753577"/>
                    <a:pt x="5234143" y="2749575"/>
                    <a:pt x="5234143" y="2744609"/>
                  </a:cubicBezTo>
                  <a:cubicBezTo>
                    <a:pt x="5234143" y="2739690"/>
                    <a:pt x="5238154" y="2735668"/>
                    <a:pt x="5243103" y="2735668"/>
                  </a:cubicBezTo>
                  <a:close/>
                  <a:moveTo>
                    <a:pt x="5074362" y="2735668"/>
                  </a:moveTo>
                  <a:cubicBezTo>
                    <a:pt x="5079311" y="2735668"/>
                    <a:pt x="5083323" y="2739690"/>
                    <a:pt x="5083323" y="2744609"/>
                  </a:cubicBezTo>
                  <a:cubicBezTo>
                    <a:pt x="5083323" y="2749575"/>
                    <a:pt x="5079311" y="2753577"/>
                    <a:pt x="5074362" y="2753577"/>
                  </a:cubicBezTo>
                  <a:cubicBezTo>
                    <a:pt x="5069413" y="2753577"/>
                    <a:pt x="5065402" y="2749575"/>
                    <a:pt x="5065402" y="2744609"/>
                  </a:cubicBezTo>
                  <a:cubicBezTo>
                    <a:pt x="5065402" y="2739690"/>
                    <a:pt x="5069413" y="2735668"/>
                    <a:pt x="5074362" y="2735668"/>
                  </a:cubicBezTo>
                  <a:close/>
                  <a:moveTo>
                    <a:pt x="4905620" y="2735668"/>
                  </a:moveTo>
                  <a:cubicBezTo>
                    <a:pt x="4910569" y="2735668"/>
                    <a:pt x="4914581" y="2739691"/>
                    <a:pt x="4914581" y="2744609"/>
                  </a:cubicBezTo>
                  <a:cubicBezTo>
                    <a:pt x="4914581" y="2749575"/>
                    <a:pt x="4910569" y="2753577"/>
                    <a:pt x="4905620" y="2753577"/>
                  </a:cubicBezTo>
                  <a:cubicBezTo>
                    <a:pt x="4900671" y="2753577"/>
                    <a:pt x="4896660" y="2749575"/>
                    <a:pt x="4896660" y="2744609"/>
                  </a:cubicBezTo>
                  <a:cubicBezTo>
                    <a:pt x="4896660" y="2739691"/>
                    <a:pt x="4900671" y="2735668"/>
                    <a:pt x="4905620" y="2735668"/>
                  </a:cubicBezTo>
                  <a:close/>
                  <a:moveTo>
                    <a:pt x="4736878" y="2735668"/>
                  </a:moveTo>
                  <a:cubicBezTo>
                    <a:pt x="4741827" y="2735668"/>
                    <a:pt x="4745839" y="2739691"/>
                    <a:pt x="4745839" y="2744609"/>
                  </a:cubicBezTo>
                  <a:cubicBezTo>
                    <a:pt x="4745839" y="2749575"/>
                    <a:pt x="4741827" y="2753577"/>
                    <a:pt x="4736878" y="2753577"/>
                  </a:cubicBezTo>
                  <a:cubicBezTo>
                    <a:pt x="4731929" y="2753577"/>
                    <a:pt x="4727918" y="2749575"/>
                    <a:pt x="4727918" y="2744609"/>
                  </a:cubicBezTo>
                  <a:cubicBezTo>
                    <a:pt x="4727918" y="2739691"/>
                    <a:pt x="4731929" y="2735668"/>
                    <a:pt x="4736878" y="2735668"/>
                  </a:cubicBezTo>
                  <a:close/>
                  <a:moveTo>
                    <a:pt x="4568137" y="2735668"/>
                  </a:moveTo>
                  <a:cubicBezTo>
                    <a:pt x="4573086" y="2735668"/>
                    <a:pt x="4577098" y="2739691"/>
                    <a:pt x="4577098" y="2744609"/>
                  </a:cubicBezTo>
                  <a:cubicBezTo>
                    <a:pt x="4577098" y="2749575"/>
                    <a:pt x="4573086" y="2753577"/>
                    <a:pt x="4568137" y="2753577"/>
                  </a:cubicBezTo>
                  <a:cubicBezTo>
                    <a:pt x="4563188" y="2753577"/>
                    <a:pt x="4559177" y="2749575"/>
                    <a:pt x="4559177" y="2744609"/>
                  </a:cubicBezTo>
                  <a:cubicBezTo>
                    <a:pt x="4559177" y="2739691"/>
                    <a:pt x="4563188" y="2735668"/>
                    <a:pt x="4568137" y="2735668"/>
                  </a:cubicBezTo>
                  <a:close/>
                  <a:moveTo>
                    <a:pt x="4399396" y="2735668"/>
                  </a:moveTo>
                  <a:cubicBezTo>
                    <a:pt x="4404345" y="2735668"/>
                    <a:pt x="4408357" y="2739691"/>
                    <a:pt x="4408357" y="2744609"/>
                  </a:cubicBezTo>
                  <a:cubicBezTo>
                    <a:pt x="4408357" y="2749575"/>
                    <a:pt x="4404345" y="2753577"/>
                    <a:pt x="4399396" y="2753577"/>
                  </a:cubicBezTo>
                  <a:cubicBezTo>
                    <a:pt x="4394447" y="2753577"/>
                    <a:pt x="4390436" y="2749575"/>
                    <a:pt x="4390436" y="2744609"/>
                  </a:cubicBezTo>
                  <a:cubicBezTo>
                    <a:pt x="4390436" y="2739691"/>
                    <a:pt x="4394447" y="2735668"/>
                    <a:pt x="4399396" y="2735668"/>
                  </a:cubicBezTo>
                  <a:close/>
                  <a:moveTo>
                    <a:pt x="4230654" y="2735668"/>
                  </a:moveTo>
                  <a:cubicBezTo>
                    <a:pt x="4235603" y="2735668"/>
                    <a:pt x="4239615" y="2739691"/>
                    <a:pt x="4239615" y="2744609"/>
                  </a:cubicBezTo>
                  <a:cubicBezTo>
                    <a:pt x="4239615" y="2749575"/>
                    <a:pt x="4235603" y="2753578"/>
                    <a:pt x="4230654" y="2753578"/>
                  </a:cubicBezTo>
                  <a:cubicBezTo>
                    <a:pt x="4225705" y="2753578"/>
                    <a:pt x="4221694" y="2749575"/>
                    <a:pt x="4221694" y="2744609"/>
                  </a:cubicBezTo>
                  <a:cubicBezTo>
                    <a:pt x="4221694" y="2739691"/>
                    <a:pt x="4225705" y="2735668"/>
                    <a:pt x="4230654" y="2735668"/>
                  </a:cubicBezTo>
                  <a:close/>
                  <a:moveTo>
                    <a:pt x="1530979" y="2564703"/>
                  </a:moveTo>
                  <a:cubicBezTo>
                    <a:pt x="1535929" y="2564703"/>
                    <a:pt x="1539941" y="2568701"/>
                    <a:pt x="1539941" y="2573653"/>
                  </a:cubicBezTo>
                  <a:cubicBezTo>
                    <a:pt x="1539941" y="2578613"/>
                    <a:pt x="1535929" y="2582620"/>
                    <a:pt x="1530979" y="2582620"/>
                  </a:cubicBezTo>
                  <a:cubicBezTo>
                    <a:pt x="1526029" y="2582620"/>
                    <a:pt x="1522017" y="2578613"/>
                    <a:pt x="1522017" y="2573653"/>
                  </a:cubicBezTo>
                  <a:cubicBezTo>
                    <a:pt x="1522017" y="2568701"/>
                    <a:pt x="1526029" y="2564703"/>
                    <a:pt x="1530979" y="2564703"/>
                  </a:cubicBezTo>
                  <a:close/>
                  <a:moveTo>
                    <a:pt x="1362227" y="2564703"/>
                  </a:moveTo>
                  <a:cubicBezTo>
                    <a:pt x="1367180" y="2564703"/>
                    <a:pt x="1371189" y="2568701"/>
                    <a:pt x="1371189" y="2573653"/>
                  </a:cubicBezTo>
                  <a:cubicBezTo>
                    <a:pt x="1371189" y="2578613"/>
                    <a:pt x="1367180" y="2582620"/>
                    <a:pt x="1362227" y="2582620"/>
                  </a:cubicBezTo>
                  <a:cubicBezTo>
                    <a:pt x="1357277" y="2582620"/>
                    <a:pt x="1353265" y="2578613"/>
                    <a:pt x="1353265" y="2573653"/>
                  </a:cubicBezTo>
                  <a:cubicBezTo>
                    <a:pt x="1353265" y="2568701"/>
                    <a:pt x="1357277" y="2564703"/>
                    <a:pt x="1362227" y="2564703"/>
                  </a:cubicBezTo>
                  <a:close/>
                  <a:moveTo>
                    <a:pt x="1193484" y="2564703"/>
                  </a:moveTo>
                  <a:cubicBezTo>
                    <a:pt x="1198432" y="2564703"/>
                    <a:pt x="1202445" y="2568701"/>
                    <a:pt x="1202445" y="2573653"/>
                  </a:cubicBezTo>
                  <a:cubicBezTo>
                    <a:pt x="1202445" y="2578613"/>
                    <a:pt x="1198432" y="2582620"/>
                    <a:pt x="1193484" y="2582620"/>
                  </a:cubicBezTo>
                  <a:cubicBezTo>
                    <a:pt x="1188537" y="2582620"/>
                    <a:pt x="1184526" y="2578613"/>
                    <a:pt x="1184526" y="2573653"/>
                  </a:cubicBezTo>
                  <a:cubicBezTo>
                    <a:pt x="1184526" y="2568701"/>
                    <a:pt x="1188537" y="2564703"/>
                    <a:pt x="1193484" y="2564703"/>
                  </a:cubicBezTo>
                  <a:close/>
                  <a:moveTo>
                    <a:pt x="1024729" y="2564703"/>
                  </a:moveTo>
                  <a:cubicBezTo>
                    <a:pt x="1029681" y="2564703"/>
                    <a:pt x="1033696" y="2568701"/>
                    <a:pt x="1033696" y="2573653"/>
                  </a:cubicBezTo>
                  <a:cubicBezTo>
                    <a:pt x="1033696" y="2578613"/>
                    <a:pt x="1029681" y="2582621"/>
                    <a:pt x="1024729" y="2582621"/>
                  </a:cubicBezTo>
                  <a:cubicBezTo>
                    <a:pt x="1019780" y="2582621"/>
                    <a:pt x="1015769" y="2578613"/>
                    <a:pt x="1015769" y="2573653"/>
                  </a:cubicBezTo>
                  <a:cubicBezTo>
                    <a:pt x="1015769" y="2568701"/>
                    <a:pt x="1019780" y="2564703"/>
                    <a:pt x="1024729" y="2564703"/>
                  </a:cubicBezTo>
                  <a:close/>
                  <a:moveTo>
                    <a:pt x="856004" y="2564703"/>
                  </a:moveTo>
                  <a:cubicBezTo>
                    <a:pt x="860952" y="2564703"/>
                    <a:pt x="864964" y="2568701"/>
                    <a:pt x="864964" y="2573653"/>
                  </a:cubicBezTo>
                  <a:cubicBezTo>
                    <a:pt x="864964" y="2578613"/>
                    <a:pt x="860952" y="2582621"/>
                    <a:pt x="856004" y="2582621"/>
                  </a:cubicBezTo>
                  <a:cubicBezTo>
                    <a:pt x="851053" y="2582621"/>
                    <a:pt x="847043" y="2578613"/>
                    <a:pt x="847043" y="2573653"/>
                  </a:cubicBezTo>
                  <a:cubicBezTo>
                    <a:pt x="847043" y="2568701"/>
                    <a:pt x="851053" y="2564703"/>
                    <a:pt x="856004" y="2564703"/>
                  </a:cubicBezTo>
                  <a:close/>
                  <a:moveTo>
                    <a:pt x="687266" y="2564703"/>
                  </a:moveTo>
                  <a:cubicBezTo>
                    <a:pt x="692214" y="2564703"/>
                    <a:pt x="696226" y="2568701"/>
                    <a:pt x="696226" y="2573653"/>
                  </a:cubicBezTo>
                  <a:cubicBezTo>
                    <a:pt x="696226" y="2578613"/>
                    <a:pt x="692214" y="2582621"/>
                    <a:pt x="687266" y="2582621"/>
                  </a:cubicBezTo>
                  <a:cubicBezTo>
                    <a:pt x="682317" y="2582621"/>
                    <a:pt x="678307" y="2578613"/>
                    <a:pt x="678307" y="2573653"/>
                  </a:cubicBezTo>
                  <a:cubicBezTo>
                    <a:pt x="678307" y="2568701"/>
                    <a:pt x="682317" y="2564703"/>
                    <a:pt x="687266" y="2564703"/>
                  </a:cubicBezTo>
                  <a:close/>
                  <a:moveTo>
                    <a:pt x="518492" y="2564703"/>
                  </a:moveTo>
                  <a:cubicBezTo>
                    <a:pt x="523441" y="2564703"/>
                    <a:pt x="527453" y="2568701"/>
                    <a:pt x="527453" y="2573653"/>
                  </a:cubicBezTo>
                  <a:cubicBezTo>
                    <a:pt x="527453" y="2578613"/>
                    <a:pt x="523441" y="2582621"/>
                    <a:pt x="518492" y="2582621"/>
                  </a:cubicBezTo>
                  <a:cubicBezTo>
                    <a:pt x="513543" y="2582621"/>
                    <a:pt x="509532" y="2578613"/>
                    <a:pt x="509532" y="2573653"/>
                  </a:cubicBezTo>
                  <a:cubicBezTo>
                    <a:pt x="509532" y="2568701"/>
                    <a:pt x="513543" y="2564703"/>
                    <a:pt x="518492" y="2564703"/>
                  </a:cubicBezTo>
                  <a:close/>
                  <a:moveTo>
                    <a:pt x="349754" y="2564703"/>
                  </a:moveTo>
                  <a:cubicBezTo>
                    <a:pt x="354703" y="2564703"/>
                    <a:pt x="358715" y="2568701"/>
                    <a:pt x="358715" y="2573653"/>
                  </a:cubicBezTo>
                  <a:cubicBezTo>
                    <a:pt x="358715" y="2578613"/>
                    <a:pt x="354703" y="2582622"/>
                    <a:pt x="349754" y="2582622"/>
                  </a:cubicBezTo>
                  <a:cubicBezTo>
                    <a:pt x="344807" y="2582622"/>
                    <a:pt x="340795" y="2578613"/>
                    <a:pt x="340795" y="2573653"/>
                  </a:cubicBezTo>
                  <a:cubicBezTo>
                    <a:pt x="340795" y="2568701"/>
                    <a:pt x="344807" y="2564703"/>
                    <a:pt x="349754" y="2564703"/>
                  </a:cubicBezTo>
                  <a:close/>
                  <a:moveTo>
                    <a:pt x="179437" y="2564703"/>
                  </a:moveTo>
                  <a:cubicBezTo>
                    <a:pt x="184386" y="2564703"/>
                    <a:pt x="188398" y="2568701"/>
                    <a:pt x="188398" y="2573653"/>
                  </a:cubicBezTo>
                  <a:cubicBezTo>
                    <a:pt x="188398" y="2578613"/>
                    <a:pt x="184386" y="2582622"/>
                    <a:pt x="179437" y="2582622"/>
                  </a:cubicBezTo>
                  <a:cubicBezTo>
                    <a:pt x="174489" y="2582622"/>
                    <a:pt x="170477" y="2578613"/>
                    <a:pt x="170477" y="2573653"/>
                  </a:cubicBezTo>
                  <a:cubicBezTo>
                    <a:pt x="170477" y="2568701"/>
                    <a:pt x="174489" y="2564703"/>
                    <a:pt x="179437" y="2564703"/>
                  </a:cubicBezTo>
                  <a:close/>
                  <a:moveTo>
                    <a:pt x="9121" y="2564703"/>
                  </a:moveTo>
                  <a:cubicBezTo>
                    <a:pt x="14070" y="2564703"/>
                    <a:pt x="18081" y="2568701"/>
                    <a:pt x="18081" y="2573653"/>
                  </a:cubicBezTo>
                  <a:cubicBezTo>
                    <a:pt x="18081" y="2578613"/>
                    <a:pt x="14070" y="2582622"/>
                    <a:pt x="9121" y="2582622"/>
                  </a:cubicBezTo>
                  <a:cubicBezTo>
                    <a:pt x="4173" y="2582622"/>
                    <a:pt x="161" y="2578613"/>
                    <a:pt x="161" y="2573653"/>
                  </a:cubicBezTo>
                  <a:cubicBezTo>
                    <a:pt x="161" y="2568701"/>
                    <a:pt x="4173" y="2564703"/>
                    <a:pt x="9121" y="2564703"/>
                  </a:cubicBezTo>
                  <a:close/>
                  <a:moveTo>
                    <a:pt x="3218299" y="2564697"/>
                  </a:moveTo>
                  <a:cubicBezTo>
                    <a:pt x="3223263" y="2564697"/>
                    <a:pt x="3227276" y="2568701"/>
                    <a:pt x="3227276" y="2573651"/>
                  </a:cubicBezTo>
                  <a:cubicBezTo>
                    <a:pt x="3227276" y="2578611"/>
                    <a:pt x="3223263" y="2582618"/>
                    <a:pt x="3218299" y="2582618"/>
                  </a:cubicBezTo>
                  <a:cubicBezTo>
                    <a:pt x="3213331" y="2582618"/>
                    <a:pt x="3209329" y="2578611"/>
                    <a:pt x="3209329" y="2573651"/>
                  </a:cubicBezTo>
                  <a:cubicBezTo>
                    <a:pt x="3209329" y="2568701"/>
                    <a:pt x="3213331" y="2564697"/>
                    <a:pt x="3218299" y="2564697"/>
                  </a:cubicBezTo>
                  <a:close/>
                  <a:moveTo>
                    <a:pt x="3049597" y="2564697"/>
                  </a:moveTo>
                  <a:cubicBezTo>
                    <a:pt x="3054533" y="2564697"/>
                    <a:pt x="3058544" y="2568701"/>
                    <a:pt x="3058544" y="2573651"/>
                  </a:cubicBezTo>
                  <a:cubicBezTo>
                    <a:pt x="3058544" y="2578611"/>
                    <a:pt x="3054533" y="2582618"/>
                    <a:pt x="3049597" y="2582618"/>
                  </a:cubicBezTo>
                  <a:cubicBezTo>
                    <a:pt x="3044645" y="2582618"/>
                    <a:pt x="3040627" y="2578611"/>
                    <a:pt x="3040627" y="2573651"/>
                  </a:cubicBezTo>
                  <a:cubicBezTo>
                    <a:pt x="3040627" y="2568701"/>
                    <a:pt x="3044645" y="2564697"/>
                    <a:pt x="3049597" y="2564697"/>
                  </a:cubicBezTo>
                  <a:close/>
                  <a:moveTo>
                    <a:pt x="2880872" y="2564697"/>
                  </a:moveTo>
                  <a:cubicBezTo>
                    <a:pt x="2885819" y="2564697"/>
                    <a:pt x="2889831" y="2568701"/>
                    <a:pt x="2889831" y="2573651"/>
                  </a:cubicBezTo>
                  <a:cubicBezTo>
                    <a:pt x="2889831" y="2578611"/>
                    <a:pt x="2885819" y="2582620"/>
                    <a:pt x="2880872" y="2582620"/>
                  </a:cubicBezTo>
                  <a:cubicBezTo>
                    <a:pt x="2875928" y="2582620"/>
                    <a:pt x="2871916" y="2578611"/>
                    <a:pt x="2871916" y="2573651"/>
                  </a:cubicBezTo>
                  <a:cubicBezTo>
                    <a:pt x="2871916" y="2568701"/>
                    <a:pt x="2875928" y="2564697"/>
                    <a:pt x="2880872" y="2564697"/>
                  </a:cubicBezTo>
                  <a:close/>
                  <a:moveTo>
                    <a:pt x="2712103" y="2564697"/>
                  </a:moveTo>
                  <a:cubicBezTo>
                    <a:pt x="2717079" y="2564697"/>
                    <a:pt x="2721086" y="2568701"/>
                    <a:pt x="2721086" y="2573651"/>
                  </a:cubicBezTo>
                  <a:cubicBezTo>
                    <a:pt x="2721086" y="2578611"/>
                    <a:pt x="2717079" y="2582620"/>
                    <a:pt x="2712103" y="2582620"/>
                  </a:cubicBezTo>
                  <a:cubicBezTo>
                    <a:pt x="2707165" y="2582620"/>
                    <a:pt x="2703147" y="2578611"/>
                    <a:pt x="2703147" y="2573651"/>
                  </a:cubicBezTo>
                  <a:cubicBezTo>
                    <a:pt x="2703147" y="2568701"/>
                    <a:pt x="2707165" y="2564697"/>
                    <a:pt x="2712103" y="2564697"/>
                  </a:cubicBezTo>
                  <a:close/>
                  <a:moveTo>
                    <a:pt x="2543423" y="2564697"/>
                  </a:moveTo>
                  <a:cubicBezTo>
                    <a:pt x="2548377" y="2564697"/>
                    <a:pt x="2552386" y="2568701"/>
                    <a:pt x="2552386" y="2573651"/>
                  </a:cubicBezTo>
                  <a:cubicBezTo>
                    <a:pt x="2552386" y="2578611"/>
                    <a:pt x="2548377" y="2582620"/>
                    <a:pt x="2543423" y="2582620"/>
                  </a:cubicBezTo>
                  <a:cubicBezTo>
                    <a:pt x="2538467" y="2582620"/>
                    <a:pt x="2534447" y="2578611"/>
                    <a:pt x="2534447" y="2573651"/>
                  </a:cubicBezTo>
                  <a:cubicBezTo>
                    <a:pt x="2534447" y="2568701"/>
                    <a:pt x="2538467" y="2564697"/>
                    <a:pt x="2543423" y="2564697"/>
                  </a:cubicBezTo>
                  <a:close/>
                  <a:moveTo>
                    <a:pt x="2374622" y="2564697"/>
                  </a:moveTo>
                  <a:cubicBezTo>
                    <a:pt x="2379588" y="2564697"/>
                    <a:pt x="2383633" y="2568701"/>
                    <a:pt x="2383633" y="2573651"/>
                  </a:cubicBezTo>
                  <a:cubicBezTo>
                    <a:pt x="2383633" y="2578611"/>
                    <a:pt x="2379588" y="2582620"/>
                    <a:pt x="2374622" y="2582620"/>
                  </a:cubicBezTo>
                  <a:cubicBezTo>
                    <a:pt x="2369670" y="2582620"/>
                    <a:pt x="2365658" y="2578611"/>
                    <a:pt x="2365658" y="2573651"/>
                  </a:cubicBezTo>
                  <a:cubicBezTo>
                    <a:pt x="2365658" y="2568701"/>
                    <a:pt x="2369670" y="2564697"/>
                    <a:pt x="2374622" y="2564697"/>
                  </a:cubicBezTo>
                  <a:close/>
                  <a:moveTo>
                    <a:pt x="2205922" y="2564697"/>
                  </a:moveTo>
                  <a:cubicBezTo>
                    <a:pt x="2210871" y="2564697"/>
                    <a:pt x="2214879" y="2568701"/>
                    <a:pt x="2214879" y="2573651"/>
                  </a:cubicBezTo>
                  <a:cubicBezTo>
                    <a:pt x="2214879" y="2578611"/>
                    <a:pt x="2210871" y="2582620"/>
                    <a:pt x="2205922" y="2582620"/>
                  </a:cubicBezTo>
                  <a:cubicBezTo>
                    <a:pt x="2200941" y="2582620"/>
                    <a:pt x="2196925" y="2578611"/>
                    <a:pt x="2196925" y="2573651"/>
                  </a:cubicBezTo>
                  <a:cubicBezTo>
                    <a:pt x="2196925" y="2568701"/>
                    <a:pt x="2200941" y="2564697"/>
                    <a:pt x="2205922" y="2564697"/>
                  </a:cubicBezTo>
                  <a:close/>
                  <a:moveTo>
                    <a:pt x="2037173" y="2564697"/>
                  </a:moveTo>
                  <a:cubicBezTo>
                    <a:pt x="2042137" y="2564697"/>
                    <a:pt x="2046118" y="2568701"/>
                    <a:pt x="2046118" y="2573651"/>
                  </a:cubicBezTo>
                  <a:cubicBezTo>
                    <a:pt x="2046118" y="2578611"/>
                    <a:pt x="2042137" y="2582620"/>
                    <a:pt x="2037173" y="2582620"/>
                  </a:cubicBezTo>
                  <a:cubicBezTo>
                    <a:pt x="2032239" y="2582620"/>
                    <a:pt x="2028242" y="2578611"/>
                    <a:pt x="2028242" y="2573651"/>
                  </a:cubicBezTo>
                  <a:cubicBezTo>
                    <a:pt x="2028242" y="2568701"/>
                    <a:pt x="2032239" y="2564697"/>
                    <a:pt x="2037173" y="2564697"/>
                  </a:cubicBezTo>
                  <a:close/>
                  <a:moveTo>
                    <a:pt x="1868473" y="2564697"/>
                  </a:moveTo>
                  <a:cubicBezTo>
                    <a:pt x="1873411" y="2564697"/>
                    <a:pt x="1877420" y="2568701"/>
                    <a:pt x="1877420" y="2573651"/>
                  </a:cubicBezTo>
                  <a:cubicBezTo>
                    <a:pt x="1877420" y="2578611"/>
                    <a:pt x="1873411" y="2582620"/>
                    <a:pt x="1868473" y="2582620"/>
                  </a:cubicBezTo>
                  <a:cubicBezTo>
                    <a:pt x="1863514" y="2582620"/>
                    <a:pt x="1859496" y="2578611"/>
                    <a:pt x="1859496" y="2573651"/>
                  </a:cubicBezTo>
                  <a:cubicBezTo>
                    <a:pt x="1859496" y="2568701"/>
                    <a:pt x="1863514" y="2564697"/>
                    <a:pt x="1868473" y="2564697"/>
                  </a:cubicBezTo>
                  <a:close/>
                  <a:moveTo>
                    <a:pt x="1699721" y="2564697"/>
                  </a:moveTo>
                  <a:cubicBezTo>
                    <a:pt x="1704673" y="2564697"/>
                    <a:pt x="1708690" y="2568701"/>
                    <a:pt x="1708690" y="2573653"/>
                  </a:cubicBezTo>
                  <a:cubicBezTo>
                    <a:pt x="1708690" y="2578613"/>
                    <a:pt x="1704673" y="2582620"/>
                    <a:pt x="1699721" y="2582620"/>
                  </a:cubicBezTo>
                  <a:cubicBezTo>
                    <a:pt x="1694766" y="2582620"/>
                    <a:pt x="1690752" y="2578613"/>
                    <a:pt x="1690752" y="2573653"/>
                  </a:cubicBezTo>
                  <a:cubicBezTo>
                    <a:pt x="1690752" y="2568701"/>
                    <a:pt x="1694766" y="2564697"/>
                    <a:pt x="1699721" y="2564697"/>
                  </a:cubicBezTo>
                  <a:close/>
                  <a:moveTo>
                    <a:pt x="6933679" y="2564692"/>
                  </a:moveTo>
                  <a:cubicBezTo>
                    <a:pt x="6938628" y="2564692"/>
                    <a:pt x="6942639" y="2568698"/>
                    <a:pt x="6942639" y="2573647"/>
                  </a:cubicBezTo>
                  <a:cubicBezTo>
                    <a:pt x="6942639" y="2578607"/>
                    <a:pt x="6938628" y="2582615"/>
                    <a:pt x="6933679" y="2582615"/>
                  </a:cubicBezTo>
                  <a:cubicBezTo>
                    <a:pt x="6928730" y="2582615"/>
                    <a:pt x="6924718" y="2578607"/>
                    <a:pt x="6924718" y="2573647"/>
                  </a:cubicBezTo>
                  <a:cubicBezTo>
                    <a:pt x="6924718" y="2568698"/>
                    <a:pt x="6928730" y="2564692"/>
                    <a:pt x="6933679" y="2564692"/>
                  </a:cubicBezTo>
                  <a:close/>
                  <a:moveTo>
                    <a:pt x="6763357" y="2564692"/>
                  </a:moveTo>
                  <a:cubicBezTo>
                    <a:pt x="6768306" y="2564692"/>
                    <a:pt x="6772318" y="2568698"/>
                    <a:pt x="6772318" y="2573647"/>
                  </a:cubicBezTo>
                  <a:cubicBezTo>
                    <a:pt x="6772318" y="2578607"/>
                    <a:pt x="6768306" y="2582616"/>
                    <a:pt x="6763357" y="2582616"/>
                  </a:cubicBezTo>
                  <a:cubicBezTo>
                    <a:pt x="6758408" y="2582616"/>
                    <a:pt x="6754397" y="2578607"/>
                    <a:pt x="6754397" y="2573647"/>
                  </a:cubicBezTo>
                  <a:cubicBezTo>
                    <a:pt x="6754397" y="2568698"/>
                    <a:pt x="6758408" y="2564692"/>
                    <a:pt x="6763357" y="2564692"/>
                  </a:cubicBezTo>
                  <a:close/>
                  <a:moveTo>
                    <a:pt x="6593035" y="2564692"/>
                  </a:moveTo>
                  <a:cubicBezTo>
                    <a:pt x="6597984" y="2564692"/>
                    <a:pt x="6601996" y="2568698"/>
                    <a:pt x="6601996" y="2573647"/>
                  </a:cubicBezTo>
                  <a:cubicBezTo>
                    <a:pt x="6601996" y="2578607"/>
                    <a:pt x="6597984" y="2582616"/>
                    <a:pt x="6593035" y="2582616"/>
                  </a:cubicBezTo>
                  <a:cubicBezTo>
                    <a:pt x="6588086" y="2582616"/>
                    <a:pt x="6584075" y="2578607"/>
                    <a:pt x="6584075" y="2573647"/>
                  </a:cubicBezTo>
                  <a:cubicBezTo>
                    <a:pt x="6584075" y="2568698"/>
                    <a:pt x="6588086" y="2564692"/>
                    <a:pt x="6593035" y="2564692"/>
                  </a:cubicBezTo>
                  <a:close/>
                  <a:moveTo>
                    <a:pt x="6424294" y="2564692"/>
                  </a:moveTo>
                  <a:cubicBezTo>
                    <a:pt x="6429243" y="2564692"/>
                    <a:pt x="6433255" y="2568698"/>
                    <a:pt x="6433255" y="2573647"/>
                  </a:cubicBezTo>
                  <a:cubicBezTo>
                    <a:pt x="6433255" y="2578607"/>
                    <a:pt x="6429243" y="2582616"/>
                    <a:pt x="6424294" y="2582616"/>
                  </a:cubicBezTo>
                  <a:cubicBezTo>
                    <a:pt x="6419345" y="2582616"/>
                    <a:pt x="6415334" y="2578607"/>
                    <a:pt x="6415334" y="2573647"/>
                  </a:cubicBezTo>
                  <a:cubicBezTo>
                    <a:pt x="6415334" y="2568698"/>
                    <a:pt x="6419345" y="2564692"/>
                    <a:pt x="6424294" y="2564692"/>
                  </a:cubicBezTo>
                  <a:close/>
                  <a:moveTo>
                    <a:pt x="6255553" y="2564692"/>
                  </a:moveTo>
                  <a:cubicBezTo>
                    <a:pt x="6260502" y="2564692"/>
                    <a:pt x="6264514" y="2568698"/>
                    <a:pt x="6264514" y="2573647"/>
                  </a:cubicBezTo>
                  <a:cubicBezTo>
                    <a:pt x="6264514" y="2578607"/>
                    <a:pt x="6260502" y="2582616"/>
                    <a:pt x="6255553" y="2582616"/>
                  </a:cubicBezTo>
                  <a:cubicBezTo>
                    <a:pt x="6250604" y="2582616"/>
                    <a:pt x="6246593" y="2578607"/>
                    <a:pt x="6246593" y="2573647"/>
                  </a:cubicBezTo>
                  <a:cubicBezTo>
                    <a:pt x="6246593" y="2568698"/>
                    <a:pt x="6250604" y="2564692"/>
                    <a:pt x="6255553" y="2564692"/>
                  </a:cubicBezTo>
                  <a:close/>
                  <a:moveTo>
                    <a:pt x="6086811" y="2564692"/>
                  </a:moveTo>
                  <a:cubicBezTo>
                    <a:pt x="6091760" y="2564692"/>
                    <a:pt x="6095772" y="2568698"/>
                    <a:pt x="6095772" y="2573649"/>
                  </a:cubicBezTo>
                  <a:cubicBezTo>
                    <a:pt x="6095772" y="2578607"/>
                    <a:pt x="6091760" y="2582616"/>
                    <a:pt x="6086811" y="2582616"/>
                  </a:cubicBezTo>
                  <a:cubicBezTo>
                    <a:pt x="6081862" y="2582616"/>
                    <a:pt x="6077851" y="2578607"/>
                    <a:pt x="6077851" y="2573649"/>
                  </a:cubicBezTo>
                  <a:cubicBezTo>
                    <a:pt x="6077851" y="2568698"/>
                    <a:pt x="6081862" y="2564692"/>
                    <a:pt x="6086811" y="2564692"/>
                  </a:cubicBezTo>
                  <a:close/>
                  <a:moveTo>
                    <a:pt x="5918069" y="2564692"/>
                  </a:moveTo>
                  <a:cubicBezTo>
                    <a:pt x="5923018" y="2564692"/>
                    <a:pt x="5927030" y="2568698"/>
                    <a:pt x="5927030" y="2573649"/>
                  </a:cubicBezTo>
                  <a:cubicBezTo>
                    <a:pt x="5927030" y="2578607"/>
                    <a:pt x="5923018" y="2582616"/>
                    <a:pt x="5918069" y="2582616"/>
                  </a:cubicBezTo>
                  <a:cubicBezTo>
                    <a:pt x="5913120" y="2582616"/>
                    <a:pt x="5909109" y="2578607"/>
                    <a:pt x="5909109" y="2573649"/>
                  </a:cubicBezTo>
                  <a:cubicBezTo>
                    <a:pt x="5909109" y="2568698"/>
                    <a:pt x="5913120" y="2564692"/>
                    <a:pt x="5918069" y="2564692"/>
                  </a:cubicBezTo>
                  <a:close/>
                  <a:moveTo>
                    <a:pt x="5749328" y="2564692"/>
                  </a:moveTo>
                  <a:cubicBezTo>
                    <a:pt x="5754277" y="2564692"/>
                    <a:pt x="5758289" y="2568698"/>
                    <a:pt x="5758289" y="2573649"/>
                  </a:cubicBezTo>
                  <a:cubicBezTo>
                    <a:pt x="5758289" y="2578607"/>
                    <a:pt x="5754277" y="2582616"/>
                    <a:pt x="5749328" y="2582616"/>
                  </a:cubicBezTo>
                  <a:cubicBezTo>
                    <a:pt x="5744379" y="2582616"/>
                    <a:pt x="5740368" y="2578607"/>
                    <a:pt x="5740368" y="2573649"/>
                  </a:cubicBezTo>
                  <a:cubicBezTo>
                    <a:pt x="5740368" y="2568698"/>
                    <a:pt x="5744379" y="2564692"/>
                    <a:pt x="5749328" y="2564692"/>
                  </a:cubicBezTo>
                  <a:close/>
                  <a:moveTo>
                    <a:pt x="5580586" y="2564692"/>
                  </a:moveTo>
                  <a:cubicBezTo>
                    <a:pt x="5585535" y="2564692"/>
                    <a:pt x="5589547" y="2568698"/>
                    <a:pt x="5589547" y="2573649"/>
                  </a:cubicBezTo>
                  <a:cubicBezTo>
                    <a:pt x="5589547" y="2578609"/>
                    <a:pt x="5585535" y="2582616"/>
                    <a:pt x="5580586" y="2582616"/>
                  </a:cubicBezTo>
                  <a:cubicBezTo>
                    <a:pt x="5575637" y="2582616"/>
                    <a:pt x="5571626" y="2578609"/>
                    <a:pt x="5571626" y="2573649"/>
                  </a:cubicBezTo>
                  <a:cubicBezTo>
                    <a:pt x="5571626" y="2568698"/>
                    <a:pt x="5575637" y="2564692"/>
                    <a:pt x="5580586" y="2564692"/>
                  </a:cubicBezTo>
                  <a:close/>
                  <a:moveTo>
                    <a:pt x="5411845" y="2564692"/>
                  </a:moveTo>
                  <a:cubicBezTo>
                    <a:pt x="5416794" y="2564692"/>
                    <a:pt x="5420806" y="2568698"/>
                    <a:pt x="5420806" y="2573649"/>
                  </a:cubicBezTo>
                  <a:cubicBezTo>
                    <a:pt x="5420806" y="2578609"/>
                    <a:pt x="5416794" y="2582616"/>
                    <a:pt x="5411845" y="2582616"/>
                  </a:cubicBezTo>
                  <a:cubicBezTo>
                    <a:pt x="5406896" y="2582616"/>
                    <a:pt x="5402885" y="2578609"/>
                    <a:pt x="5402885" y="2573649"/>
                  </a:cubicBezTo>
                  <a:cubicBezTo>
                    <a:pt x="5402885" y="2568698"/>
                    <a:pt x="5406896" y="2564692"/>
                    <a:pt x="5411845" y="2564692"/>
                  </a:cubicBezTo>
                  <a:close/>
                  <a:moveTo>
                    <a:pt x="5243103" y="2564692"/>
                  </a:moveTo>
                  <a:cubicBezTo>
                    <a:pt x="5248052" y="2564692"/>
                    <a:pt x="5252064" y="2568698"/>
                    <a:pt x="5252064" y="2573649"/>
                  </a:cubicBezTo>
                  <a:cubicBezTo>
                    <a:pt x="5252064" y="2578609"/>
                    <a:pt x="5248052" y="2582617"/>
                    <a:pt x="5243103" y="2582617"/>
                  </a:cubicBezTo>
                  <a:cubicBezTo>
                    <a:pt x="5238154" y="2582617"/>
                    <a:pt x="5234143" y="2578609"/>
                    <a:pt x="5234143" y="2573649"/>
                  </a:cubicBezTo>
                  <a:cubicBezTo>
                    <a:pt x="5234143" y="2568698"/>
                    <a:pt x="5238154" y="2564692"/>
                    <a:pt x="5243103" y="2564692"/>
                  </a:cubicBezTo>
                  <a:close/>
                  <a:moveTo>
                    <a:pt x="5074362" y="2564692"/>
                  </a:moveTo>
                  <a:cubicBezTo>
                    <a:pt x="5079311" y="2564692"/>
                    <a:pt x="5083323" y="2568698"/>
                    <a:pt x="5083323" y="2573649"/>
                  </a:cubicBezTo>
                  <a:cubicBezTo>
                    <a:pt x="5083323" y="2578609"/>
                    <a:pt x="5079311" y="2582617"/>
                    <a:pt x="5074362" y="2582617"/>
                  </a:cubicBezTo>
                  <a:cubicBezTo>
                    <a:pt x="5069413" y="2582617"/>
                    <a:pt x="5065402" y="2578609"/>
                    <a:pt x="5065402" y="2573649"/>
                  </a:cubicBezTo>
                  <a:cubicBezTo>
                    <a:pt x="5065402" y="2568698"/>
                    <a:pt x="5069413" y="2564692"/>
                    <a:pt x="5074362" y="2564692"/>
                  </a:cubicBezTo>
                  <a:close/>
                  <a:moveTo>
                    <a:pt x="4905620" y="2564692"/>
                  </a:moveTo>
                  <a:cubicBezTo>
                    <a:pt x="4910569" y="2564692"/>
                    <a:pt x="4914581" y="2568698"/>
                    <a:pt x="4914581" y="2573649"/>
                  </a:cubicBezTo>
                  <a:cubicBezTo>
                    <a:pt x="4914581" y="2578609"/>
                    <a:pt x="4910569" y="2582617"/>
                    <a:pt x="4905620" y="2582617"/>
                  </a:cubicBezTo>
                  <a:cubicBezTo>
                    <a:pt x="4900671" y="2582617"/>
                    <a:pt x="4896660" y="2578609"/>
                    <a:pt x="4896660" y="2573649"/>
                  </a:cubicBezTo>
                  <a:cubicBezTo>
                    <a:pt x="4896660" y="2568698"/>
                    <a:pt x="4900671" y="2564692"/>
                    <a:pt x="4905620" y="2564692"/>
                  </a:cubicBezTo>
                  <a:close/>
                  <a:moveTo>
                    <a:pt x="4736878" y="2564692"/>
                  </a:moveTo>
                  <a:cubicBezTo>
                    <a:pt x="4741827" y="2564692"/>
                    <a:pt x="4745839" y="2568698"/>
                    <a:pt x="4745839" y="2573649"/>
                  </a:cubicBezTo>
                  <a:cubicBezTo>
                    <a:pt x="4745839" y="2578609"/>
                    <a:pt x="4741827" y="2582617"/>
                    <a:pt x="4736878" y="2582617"/>
                  </a:cubicBezTo>
                  <a:cubicBezTo>
                    <a:pt x="4731929" y="2582617"/>
                    <a:pt x="4727918" y="2578609"/>
                    <a:pt x="4727918" y="2573649"/>
                  </a:cubicBezTo>
                  <a:cubicBezTo>
                    <a:pt x="4727918" y="2568698"/>
                    <a:pt x="4731929" y="2564692"/>
                    <a:pt x="4736878" y="2564692"/>
                  </a:cubicBezTo>
                  <a:close/>
                  <a:moveTo>
                    <a:pt x="4568137" y="2564692"/>
                  </a:moveTo>
                  <a:cubicBezTo>
                    <a:pt x="4573086" y="2564692"/>
                    <a:pt x="4577098" y="2568698"/>
                    <a:pt x="4577098" y="2573649"/>
                  </a:cubicBezTo>
                  <a:cubicBezTo>
                    <a:pt x="4577098" y="2578609"/>
                    <a:pt x="4573086" y="2582618"/>
                    <a:pt x="4568137" y="2582618"/>
                  </a:cubicBezTo>
                  <a:cubicBezTo>
                    <a:pt x="4563188" y="2582618"/>
                    <a:pt x="4559177" y="2578609"/>
                    <a:pt x="4559177" y="2573649"/>
                  </a:cubicBezTo>
                  <a:cubicBezTo>
                    <a:pt x="4559177" y="2568698"/>
                    <a:pt x="4563188" y="2564692"/>
                    <a:pt x="4568137" y="2564692"/>
                  </a:cubicBezTo>
                  <a:close/>
                  <a:moveTo>
                    <a:pt x="4399396" y="2564692"/>
                  </a:moveTo>
                  <a:cubicBezTo>
                    <a:pt x="4404345" y="2564692"/>
                    <a:pt x="4408357" y="2568701"/>
                    <a:pt x="4408357" y="2573649"/>
                  </a:cubicBezTo>
                  <a:cubicBezTo>
                    <a:pt x="4408357" y="2578609"/>
                    <a:pt x="4404345" y="2582618"/>
                    <a:pt x="4399396" y="2582618"/>
                  </a:cubicBezTo>
                  <a:cubicBezTo>
                    <a:pt x="4394447" y="2582618"/>
                    <a:pt x="4390436" y="2578609"/>
                    <a:pt x="4390436" y="2573649"/>
                  </a:cubicBezTo>
                  <a:cubicBezTo>
                    <a:pt x="4390436" y="2568701"/>
                    <a:pt x="4394447" y="2564692"/>
                    <a:pt x="4399396" y="2564692"/>
                  </a:cubicBezTo>
                  <a:close/>
                  <a:moveTo>
                    <a:pt x="4230654" y="2564692"/>
                  </a:moveTo>
                  <a:cubicBezTo>
                    <a:pt x="4235603" y="2564692"/>
                    <a:pt x="4239615" y="2568701"/>
                    <a:pt x="4239615" y="2573649"/>
                  </a:cubicBezTo>
                  <a:cubicBezTo>
                    <a:pt x="4239615" y="2578609"/>
                    <a:pt x="4235603" y="2582618"/>
                    <a:pt x="4230654" y="2582618"/>
                  </a:cubicBezTo>
                  <a:cubicBezTo>
                    <a:pt x="4225705" y="2582618"/>
                    <a:pt x="4221694" y="2578609"/>
                    <a:pt x="4221694" y="2573649"/>
                  </a:cubicBezTo>
                  <a:cubicBezTo>
                    <a:pt x="4221694" y="2568701"/>
                    <a:pt x="4225705" y="2564692"/>
                    <a:pt x="4230654" y="2564692"/>
                  </a:cubicBezTo>
                  <a:close/>
                  <a:moveTo>
                    <a:pt x="4061912" y="2564692"/>
                  </a:moveTo>
                  <a:cubicBezTo>
                    <a:pt x="4066861" y="2564692"/>
                    <a:pt x="4070873" y="2568701"/>
                    <a:pt x="4070873" y="2573649"/>
                  </a:cubicBezTo>
                  <a:cubicBezTo>
                    <a:pt x="4070873" y="2578609"/>
                    <a:pt x="4066861" y="2582618"/>
                    <a:pt x="4061912" y="2582618"/>
                  </a:cubicBezTo>
                  <a:cubicBezTo>
                    <a:pt x="4056963" y="2582618"/>
                    <a:pt x="4052952" y="2578609"/>
                    <a:pt x="4052952" y="2573649"/>
                  </a:cubicBezTo>
                  <a:cubicBezTo>
                    <a:pt x="4052952" y="2568701"/>
                    <a:pt x="4056963" y="2564692"/>
                    <a:pt x="4061912" y="2564692"/>
                  </a:cubicBezTo>
                  <a:close/>
                  <a:moveTo>
                    <a:pt x="3893170" y="2564692"/>
                  </a:moveTo>
                  <a:cubicBezTo>
                    <a:pt x="3898119" y="2564692"/>
                    <a:pt x="3902131" y="2568701"/>
                    <a:pt x="3902131" y="2573651"/>
                  </a:cubicBezTo>
                  <a:cubicBezTo>
                    <a:pt x="3902131" y="2578609"/>
                    <a:pt x="3898119" y="2582618"/>
                    <a:pt x="3893170" y="2582618"/>
                  </a:cubicBezTo>
                  <a:cubicBezTo>
                    <a:pt x="3888221" y="2582618"/>
                    <a:pt x="3884210" y="2578609"/>
                    <a:pt x="3884210" y="2573651"/>
                  </a:cubicBezTo>
                  <a:cubicBezTo>
                    <a:pt x="3884210" y="2568701"/>
                    <a:pt x="3888221" y="2564692"/>
                    <a:pt x="3893170" y="2564692"/>
                  </a:cubicBezTo>
                  <a:close/>
                  <a:moveTo>
                    <a:pt x="3724429" y="2564692"/>
                  </a:moveTo>
                  <a:cubicBezTo>
                    <a:pt x="3729378" y="2564692"/>
                    <a:pt x="3733390" y="2568701"/>
                    <a:pt x="3733390" y="2573651"/>
                  </a:cubicBezTo>
                  <a:cubicBezTo>
                    <a:pt x="3733390" y="2578609"/>
                    <a:pt x="3729378" y="2582618"/>
                    <a:pt x="3724429" y="2582618"/>
                  </a:cubicBezTo>
                  <a:cubicBezTo>
                    <a:pt x="3719481" y="2582618"/>
                    <a:pt x="3715469" y="2578609"/>
                    <a:pt x="3715469" y="2573651"/>
                  </a:cubicBezTo>
                  <a:cubicBezTo>
                    <a:pt x="3715469" y="2568701"/>
                    <a:pt x="3719481" y="2564692"/>
                    <a:pt x="3724429" y="2564692"/>
                  </a:cubicBezTo>
                  <a:close/>
                  <a:moveTo>
                    <a:pt x="3555688" y="2564692"/>
                  </a:moveTo>
                  <a:cubicBezTo>
                    <a:pt x="3560637" y="2564692"/>
                    <a:pt x="3564649" y="2568701"/>
                    <a:pt x="3564649" y="2573651"/>
                  </a:cubicBezTo>
                  <a:cubicBezTo>
                    <a:pt x="3564649" y="2578609"/>
                    <a:pt x="3560637" y="2582618"/>
                    <a:pt x="3555688" y="2582618"/>
                  </a:cubicBezTo>
                  <a:cubicBezTo>
                    <a:pt x="3550740" y="2582618"/>
                    <a:pt x="3546728" y="2578609"/>
                    <a:pt x="3546728" y="2573651"/>
                  </a:cubicBezTo>
                  <a:cubicBezTo>
                    <a:pt x="3546728" y="2568701"/>
                    <a:pt x="3550740" y="2564692"/>
                    <a:pt x="3555688" y="2564692"/>
                  </a:cubicBezTo>
                  <a:close/>
                  <a:moveTo>
                    <a:pt x="3387056" y="2564692"/>
                  </a:moveTo>
                  <a:cubicBezTo>
                    <a:pt x="3392013" y="2564692"/>
                    <a:pt x="3396025" y="2568701"/>
                    <a:pt x="3396025" y="2573651"/>
                  </a:cubicBezTo>
                  <a:cubicBezTo>
                    <a:pt x="3396025" y="2578611"/>
                    <a:pt x="3392013" y="2582618"/>
                    <a:pt x="3387056" y="2582618"/>
                  </a:cubicBezTo>
                  <a:cubicBezTo>
                    <a:pt x="3382058" y="2582618"/>
                    <a:pt x="3378045" y="2578611"/>
                    <a:pt x="3378045" y="2573651"/>
                  </a:cubicBezTo>
                  <a:cubicBezTo>
                    <a:pt x="3378045" y="2568701"/>
                    <a:pt x="3382058" y="2564692"/>
                    <a:pt x="3387056" y="2564692"/>
                  </a:cubicBezTo>
                  <a:close/>
                  <a:moveTo>
                    <a:pt x="1193489" y="2393749"/>
                  </a:moveTo>
                  <a:cubicBezTo>
                    <a:pt x="1198437" y="2393749"/>
                    <a:pt x="1202449" y="2397758"/>
                    <a:pt x="1202449" y="2402691"/>
                  </a:cubicBezTo>
                  <a:cubicBezTo>
                    <a:pt x="1202449" y="2407637"/>
                    <a:pt x="1198437" y="2411655"/>
                    <a:pt x="1193489" y="2411655"/>
                  </a:cubicBezTo>
                  <a:cubicBezTo>
                    <a:pt x="1188542" y="2411655"/>
                    <a:pt x="1184531" y="2407637"/>
                    <a:pt x="1184531" y="2402691"/>
                  </a:cubicBezTo>
                  <a:cubicBezTo>
                    <a:pt x="1184531" y="2397758"/>
                    <a:pt x="1188542" y="2393749"/>
                    <a:pt x="1193489" y="2393749"/>
                  </a:cubicBezTo>
                  <a:close/>
                  <a:moveTo>
                    <a:pt x="1024733" y="2393749"/>
                  </a:moveTo>
                  <a:cubicBezTo>
                    <a:pt x="1029685" y="2393749"/>
                    <a:pt x="1033700" y="2397758"/>
                    <a:pt x="1033700" y="2402691"/>
                  </a:cubicBezTo>
                  <a:cubicBezTo>
                    <a:pt x="1033700" y="2407637"/>
                    <a:pt x="1029685" y="2411655"/>
                    <a:pt x="1024733" y="2411655"/>
                  </a:cubicBezTo>
                  <a:cubicBezTo>
                    <a:pt x="1019785" y="2411655"/>
                    <a:pt x="1015774" y="2407637"/>
                    <a:pt x="1015774" y="2402691"/>
                  </a:cubicBezTo>
                  <a:cubicBezTo>
                    <a:pt x="1015774" y="2397758"/>
                    <a:pt x="1019785" y="2393749"/>
                    <a:pt x="1024733" y="2393749"/>
                  </a:cubicBezTo>
                  <a:close/>
                  <a:moveTo>
                    <a:pt x="856009" y="2393749"/>
                  </a:moveTo>
                  <a:cubicBezTo>
                    <a:pt x="860957" y="2393749"/>
                    <a:pt x="864969" y="2397758"/>
                    <a:pt x="864969" y="2402691"/>
                  </a:cubicBezTo>
                  <a:cubicBezTo>
                    <a:pt x="864969" y="2407637"/>
                    <a:pt x="860957" y="2411657"/>
                    <a:pt x="856009" y="2411657"/>
                  </a:cubicBezTo>
                  <a:cubicBezTo>
                    <a:pt x="851058" y="2411657"/>
                    <a:pt x="847048" y="2407637"/>
                    <a:pt x="847048" y="2402691"/>
                  </a:cubicBezTo>
                  <a:cubicBezTo>
                    <a:pt x="847048" y="2397758"/>
                    <a:pt x="851058" y="2393749"/>
                    <a:pt x="856009" y="2393749"/>
                  </a:cubicBezTo>
                  <a:close/>
                  <a:moveTo>
                    <a:pt x="687270" y="2393749"/>
                  </a:moveTo>
                  <a:cubicBezTo>
                    <a:pt x="692219" y="2393749"/>
                    <a:pt x="696230" y="2397758"/>
                    <a:pt x="696230" y="2402691"/>
                  </a:cubicBezTo>
                  <a:cubicBezTo>
                    <a:pt x="696230" y="2407637"/>
                    <a:pt x="692219" y="2411657"/>
                    <a:pt x="687270" y="2411657"/>
                  </a:cubicBezTo>
                  <a:cubicBezTo>
                    <a:pt x="682322" y="2411657"/>
                    <a:pt x="678312" y="2407637"/>
                    <a:pt x="678312" y="2402691"/>
                  </a:cubicBezTo>
                  <a:cubicBezTo>
                    <a:pt x="678312" y="2397758"/>
                    <a:pt x="682322" y="2393749"/>
                    <a:pt x="687270" y="2393749"/>
                  </a:cubicBezTo>
                  <a:close/>
                  <a:moveTo>
                    <a:pt x="518496" y="2393749"/>
                  </a:moveTo>
                  <a:cubicBezTo>
                    <a:pt x="523445" y="2393749"/>
                    <a:pt x="527456" y="2397760"/>
                    <a:pt x="527456" y="2402693"/>
                  </a:cubicBezTo>
                  <a:cubicBezTo>
                    <a:pt x="527456" y="2407638"/>
                    <a:pt x="523445" y="2411657"/>
                    <a:pt x="518496" y="2411657"/>
                  </a:cubicBezTo>
                  <a:cubicBezTo>
                    <a:pt x="513547" y="2411657"/>
                    <a:pt x="509536" y="2407638"/>
                    <a:pt x="509536" y="2402693"/>
                  </a:cubicBezTo>
                  <a:cubicBezTo>
                    <a:pt x="509536" y="2397760"/>
                    <a:pt x="513547" y="2393749"/>
                    <a:pt x="518496" y="2393749"/>
                  </a:cubicBezTo>
                  <a:close/>
                  <a:moveTo>
                    <a:pt x="349758" y="2393749"/>
                  </a:moveTo>
                  <a:cubicBezTo>
                    <a:pt x="354707" y="2393749"/>
                    <a:pt x="358719" y="2397760"/>
                    <a:pt x="358719" y="2402693"/>
                  </a:cubicBezTo>
                  <a:cubicBezTo>
                    <a:pt x="358719" y="2407638"/>
                    <a:pt x="354707" y="2411657"/>
                    <a:pt x="349758" y="2411657"/>
                  </a:cubicBezTo>
                  <a:cubicBezTo>
                    <a:pt x="344811" y="2411657"/>
                    <a:pt x="340799" y="2407638"/>
                    <a:pt x="340799" y="2402693"/>
                  </a:cubicBezTo>
                  <a:cubicBezTo>
                    <a:pt x="340799" y="2397760"/>
                    <a:pt x="344811" y="2393749"/>
                    <a:pt x="349758" y="2393749"/>
                  </a:cubicBezTo>
                  <a:close/>
                  <a:moveTo>
                    <a:pt x="179441" y="2393749"/>
                  </a:moveTo>
                  <a:cubicBezTo>
                    <a:pt x="184390" y="2393749"/>
                    <a:pt x="188402" y="2397760"/>
                    <a:pt x="188402" y="2402693"/>
                  </a:cubicBezTo>
                  <a:cubicBezTo>
                    <a:pt x="188402" y="2407638"/>
                    <a:pt x="184390" y="2411657"/>
                    <a:pt x="179441" y="2411657"/>
                  </a:cubicBezTo>
                  <a:cubicBezTo>
                    <a:pt x="174493" y="2411657"/>
                    <a:pt x="170481" y="2407638"/>
                    <a:pt x="170481" y="2402693"/>
                  </a:cubicBezTo>
                  <a:cubicBezTo>
                    <a:pt x="170481" y="2397760"/>
                    <a:pt x="174493" y="2393749"/>
                    <a:pt x="179441" y="2393749"/>
                  </a:cubicBezTo>
                  <a:close/>
                  <a:moveTo>
                    <a:pt x="9126" y="2393749"/>
                  </a:moveTo>
                  <a:cubicBezTo>
                    <a:pt x="14074" y="2393749"/>
                    <a:pt x="18085" y="2397760"/>
                    <a:pt x="18085" y="2402693"/>
                  </a:cubicBezTo>
                  <a:cubicBezTo>
                    <a:pt x="18085" y="2407638"/>
                    <a:pt x="14074" y="2411657"/>
                    <a:pt x="9126" y="2411657"/>
                  </a:cubicBezTo>
                  <a:cubicBezTo>
                    <a:pt x="4177" y="2411657"/>
                    <a:pt x="165" y="2407638"/>
                    <a:pt x="165" y="2402693"/>
                  </a:cubicBezTo>
                  <a:cubicBezTo>
                    <a:pt x="165" y="2397760"/>
                    <a:pt x="4177" y="2393749"/>
                    <a:pt x="9126" y="2393749"/>
                  </a:cubicBezTo>
                  <a:close/>
                  <a:moveTo>
                    <a:pt x="2712106" y="2393747"/>
                  </a:moveTo>
                  <a:cubicBezTo>
                    <a:pt x="2717082" y="2393747"/>
                    <a:pt x="2721089" y="2397756"/>
                    <a:pt x="2721089" y="2402689"/>
                  </a:cubicBezTo>
                  <a:cubicBezTo>
                    <a:pt x="2721089" y="2407635"/>
                    <a:pt x="2717082" y="2411652"/>
                    <a:pt x="2712106" y="2411652"/>
                  </a:cubicBezTo>
                  <a:cubicBezTo>
                    <a:pt x="2707169" y="2411652"/>
                    <a:pt x="2703150" y="2407635"/>
                    <a:pt x="2703150" y="2402689"/>
                  </a:cubicBezTo>
                  <a:cubicBezTo>
                    <a:pt x="2703150" y="2397756"/>
                    <a:pt x="2707169" y="2393747"/>
                    <a:pt x="2712106" y="2393747"/>
                  </a:cubicBezTo>
                  <a:close/>
                  <a:moveTo>
                    <a:pt x="2543427" y="2393747"/>
                  </a:moveTo>
                  <a:cubicBezTo>
                    <a:pt x="2548382" y="2393747"/>
                    <a:pt x="2552390" y="2397756"/>
                    <a:pt x="2552390" y="2402689"/>
                  </a:cubicBezTo>
                  <a:cubicBezTo>
                    <a:pt x="2552390" y="2407635"/>
                    <a:pt x="2548382" y="2411652"/>
                    <a:pt x="2543427" y="2411652"/>
                  </a:cubicBezTo>
                  <a:cubicBezTo>
                    <a:pt x="2538472" y="2411652"/>
                    <a:pt x="2534452" y="2407635"/>
                    <a:pt x="2534452" y="2402689"/>
                  </a:cubicBezTo>
                  <a:cubicBezTo>
                    <a:pt x="2534452" y="2397756"/>
                    <a:pt x="2538472" y="2393747"/>
                    <a:pt x="2543427" y="2393747"/>
                  </a:cubicBezTo>
                  <a:close/>
                  <a:moveTo>
                    <a:pt x="2374625" y="2393747"/>
                  </a:moveTo>
                  <a:cubicBezTo>
                    <a:pt x="2379591" y="2393747"/>
                    <a:pt x="2383637" y="2397758"/>
                    <a:pt x="2383637" y="2402691"/>
                  </a:cubicBezTo>
                  <a:cubicBezTo>
                    <a:pt x="2383637" y="2407637"/>
                    <a:pt x="2379591" y="2411652"/>
                    <a:pt x="2374625" y="2411652"/>
                  </a:cubicBezTo>
                  <a:cubicBezTo>
                    <a:pt x="2369673" y="2411652"/>
                    <a:pt x="2365661" y="2407637"/>
                    <a:pt x="2365661" y="2402691"/>
                  </a:cubicBezTo>
                  <a:cubicBezTo>
                    <a:pt x="2365661" y="2397758"/>
                    <a:pt x="2369673" y="2393747"/>
                    <a:pt x="2374625" y="2393747"/>
                  </a:cubicBezTo>
                  <a:close/>
                  <a:moveTo>
                    <a:pt x="2205927" y="2393747"/>
                  </a:moveTo>
                  <a:cubicBezTo>
                    <a:pt x="2210875" y="2393747"/>
                    <a:pt x="2214883" y="2397758"/>
                    <a:pt x="2214883" y="2402691"/>
                  </a:cubicBezTo>
                  <a:cubicBezTo>
                    <a:pt x="2214883" y="2407637"/>
                    <a:pt x="2210875" y="2411652"/>
                    <a:pt x="2205927" y="2411652"/>
                  </a:cubicBezTo>
                  <a:cubicBezTo>
                    <a:pt x="2200945" y="2411652"/>
                    <a:pt x="2196929" y="2407637"/>
                    <a:pt x="2196929" y="2402691"/>
                  </a:cubicBezTo>
                  <a:cubicBezTo>
                    <a:pt x="2196929" y="2397758"/>
                    <a:pt x="2200945" y="2393747"/>
                    <a:pt x="2205927" y="2393747"/>
                  </a:cubicBezTo>
                  <a:close/>
                  <a:moveTo>
                    <a:pt x="2037178" y="2393747"/>
                  </a:moveTo>
                  <a:cubicBezTo>
                    <a:pt x="2042141" y="2393747"/>
                    <a:pt x="2046122" y="2397758"/>
                    <a:pt x="2046122" y="2402691"/>
                  </a:cubicBezTo>
                  <a:cubicBezTo>
                    <a:pt x="2046122" y="2407637"/>
                    <a:pt x="2042141" y="2411655"/>
                    <a:pt x="2037178" y="2411655"/>
                  </a:cubicBezTo>
                  <a:cubicBezTo>
                    <a:pt x="2032244" y="2411655"/>
                    <a:pt x="2028246" y="2407637"/>
                    <a:pt x="2028246" y="2402691"/>
                  </a:cubicBezTo>
                  <a:cubicBezTo>
                    <a:pt x="2028246" y="2397758"/>
                    <a:pt x="2032244" y="2393747"/>
                    <a:pt x="2037178" y="2393747"/>
                  </a:cubicBezTo>
                  <a:close/>
                  <a:moveTo>
                    <a:pt x="1868478" y="2393747"/>
                  </a:moveTo>
                  <a:cubicBezTo>
                    <a:pt x="1873416" y="2393747"/>
                    <a:pt x="1877426" y="2397758"/>
                    <a:pt x="1877426" y="2402691"/>
                  </a:cubicBezTo>
                  <a:cubicBezTo>
                    <a:pt x="1877426" y="2407637"/>
                    <a:pt x="1873416" y="2411655"/>
                    <a:pt x="1868478" y="2411655"/>
                  </a:cubicBezTo>
                  <a:cubicBezTo>
                    <a:pt x="1863518" y="2411655"/>
                    <a:pt x="1859501" y="2407637"/>
                    <a:pt x="1859501" y="2402691"/>
                  </a:cubicBezTo>
                  <a:cubicBezTo>
                    <a:pt x="1859501" y="2397758"/>
                    <a:pt x="1863518" y="2393747"/>
                    <a:pt x="1868478" y="2393747"/>
                  </a:cubicBezTo>
                  <a:close/>
                  <a:moveTo>
                    <a:pt x="1699727" y="2393747"/>
                  </a:moveTo>
                  <a:cubicBezTo>
                    <a:pt x="1704678" y="2393747"/>
                    <a:pt x="1708695" y="2397758"/>
                    <a:pt x="1708695" y="2402691"/>
                  </a:cubicBezTo>
                  <a:cubicBezTo>
                    <a:pt x="1708695" y="2407637"/>
                    <a:pt x="1704678" y="2411655"/>
                    <a:pt x="1699727" y="2411655"/>
                  </a:cubicBezTo>
                  <a:cubicBezTo>
                    <a:pt x="1694771" y="2411655"/>
                    <a:pt x="1690757" y="2407637"/>
                    <a:pt x="1690757" y="2402691"/>
                  </a:cubicBezTo>
                  <a:cubicBezTo>
                    <a:pt x="1690757" y="2397758"/>
                    <a:pt x="1694771" y="2393747"/>
                    <a:pt x="1699727" y="2393747"/>
                  </a:cubicBezTo>
                  <a:close/>
                  <a:moveTo>
                    <a:pt x="1530983" y="2393747"/>
                  </a:moveTo>
                  <a:cubicBezTo>
                    <a:pt x="1535934" y="2393747"/>
                    <a:pt x="1539946" y="2397758"/>
                    <a:pt x="1539946" y="2402691"/>
                  </a:cubicBezTo>
                  <a:cubicBezTo>
                    <a:pt x="1539946" y="2407637"/>
                    <a:pt x="1535934" y="2411655"/>
                    <a:pt x="1530983" y="2411655"/>
                  </a:cubicBezTo>
                  <a:cubicBezTo>
                    <a:pt x="1526033" y="2411655"/>
                    <a:pt x="1522021" y="2407637"/>
                    <a:pt x="1522021" y="2402691"/>
                  </a:cubicBezTo>
                  <a:cubicBezTo>
                    <a:pt x="1522021" y="2397758"/>
                    <a:pt x="1526033" y="2393747"/>
                    <a:pt x="1530983" y="2393747"/>
                  </a:cubicBezTo>
                  <a:close/>
                  <a:moveTo>
                    <a:pt x="1362231" y="2393747"/>
                  </a:moveTo>
                  <a:cubicBezTo>
                    <a:pt x="1367185" y="2393747"/>
                    <a:pt x="1371193" y="2397758"/>
                    <a:pt x="1371193" y="2402691"/>
                  </a:cubicBezTo>
                  <a:cubicBezTo>
                    <a:pt x="1371193" y="2407637"/>
                    <a:pt x="1367185" y="2411655"/>
                    <a:pt x="1362231" y="2411655"/>
                  </a:cubicBezTo>
                  <a:cubicBezTo>
                    <a:pt x="1357282" y="2411655"/>
                    <a:pt x="1353270" y="2407637"/>
                    <a:pt x="1353270" y="2402691"/>
                  </a:cubicBezTo>
                  <a:cubicBezTo>
                    <a:pt x="1353270" y="2397758"/>
                    <a:pt x="1357282" y="2393747"/>
                    <a:pt x="1362231" y="2393747"/>
                  </a:cubicBezTo>
                  <a:close/>
                  <a:moveTo>
                    <a:pt x="4568137" y="2393745"/>
                  </a:moveTo>
                  <a:cubicBezTo>
                    <a:pt x="4573086" y="2393745"/>
                    <a:pt x="4577098" y="2397754"/>
                    <a:pt x="4577098" y="2402687"/>
                  </a:cubicBezTo>
                  <a:cubicBezTo>
                    <a:pt x="4577098" y="2407633"/>
                    <a:pt x="4573086" y="2411650"/>
                    <a:pt x="4568137" y="2411650"/>
                  </a:cubicBezTo>
                  <a:cubicBezTo>
                    <a:pt x="4563188" y="2411650"/>
                    <a:pt x="4559177" y="2407633"/>
                    <a:pt x="4559177" y="2402687"/>
                  </a:cubicBezTo>
                  <a:cubicBezTo>
                    <a:pt x="4559177" y="2397754"/>
                    <a:pt x="4563188" y="2393745"/>
                    <a:pt x="4568137" y="2393745"/>
                  </a:cubicBezTo>
                  <a:close/>
                  <a:moveTo>
                    <a:pt x="4399396" y="2393745"/>
                  </a:moveTo>
                  <a:cubicBezTo>
                    <a:pt x="4404345" y="2393745"/>
                    <a:pt x="4408357" y="2397754"/>
                    <a:pt x="4408357" y="2402687"/>
                  </a:cubicBezTo>
                  <a:cubicBezTo>
                    <a:pt x="4408357" y="2407633"/>
                    <a:pt x="4404345" y="2411650"/>
                    <a:pt x="4399396" y="2411650"/>
                  </a:cubicBezTo>
                  <a:cubicBezTo>
                    <a:pt x="4394447" y="2411650"/>
                    <a:pt x="4390436" y="2407633"/>
                    <a:pt x="4390436" y="2402687"/>
                  </a:cubicBezTo>
                  <a:cubicBezTo>
                    <a:pt x="4390436" y="2397754"/>
                    <a:pt x="4394447" y="2393745"/>
                    <a:pt x="4399396" y="2393745"/>
                  </a:cubicBezTo>
                  <a:close/>
                  <a:moveTo>
                    <a:pt x="4230654" y="2393745"/>
                  </a:moveTo>
                  <a:cubicBezTo>
                    <a:pt x="4235603" y="2393745"/>
                    <a:pt x="4239615" y="2397754"/>
                    <a:pt x="4239615" y="2402687"/>
                  </a:cubicBezTo>
                  <a:cubicBezTo>
                    <a:pt x="4239615" y="2407633"/>
                    <a:pt x="4235603" y="2411651"/>
                    <a:pt x="4230654" y="2411651"/>
                  </a:cubicBezTo>
                  <a:cubicBezTo>
                    <a:pt x="4225705" y="2411651"/>
                    <a:pt x="4221694" y="2407633"/>
                    <a:pt x="4221694" y="2402687"/>
                  </a:cubicBezTo>
                  <a:cubicBezTo>
                    <a:pt x="4221694" y="2397754"/>
                    <a:pt x="4225705" y="2393745"/>
                    <a:pt x="4230654" y="2393745"/>
                  </a:cubicBezTo>
                  <a:close/>
                  <a:moveTo>
                    <a:pt x="4061912" y="2393745"/>
                  </a:moveTo>
                  <a:cubicBezTo>
                    <a:pt x="4066861" y="2393745"/>
                    <a:pt x="4070873" y="2397756"/>
                    <a:pt x="4070873" y="2402689"/>
                  </a:cubicBezTo>
                  <a:cubicBezTo>
                    <a:pt x="4070873" y="2407634"/>
                    <a:pt x="4066861" y="2411651"/>
                    <a:pt x="4061912" y="2411651"/>
                  </a:cubicBezTo>
                  <a:cubicBezTo>
                    <a:pt x="4056963" y="2411651"/>
                    <a:pt x="4052952" y="2407634"/>
                    <a:pt x="4052952" y="2402689"/>
                  </a:cubicBezTo>
                  <a:cubicBezTo>
                    <a:pt x="4052952" y="2397756"/>
                    <a:pt x="4056963" y="2393745"/>
                    <a:pt x="4061912" y="2393745"/>
                  </a:cubicBezTo>
                  <a:close/>
                  <a:moveTo>
                    <a:pt x="3893170" y="2393745"/>
                  </a:moveTo>
                  <a:cubicBezTo>
                    <a:pt x="3898119" y="2393745"/>
                    <a:pt x="3902131" y="2397756"/>
                    <a:pt x="3902131" y="2402689"/>
                  </a:cubicBezTo>
                  <a:cubicBezTo>
                    <a:pt x="3902131" y="2407634"/>
                    <a:pt x="3898119" y="2411651"/>
                    <a:pt x="3893170" y="2411651"/>
                  </a:cubicBezTo>
                  <a:cubicBezTo>
                    <a:pt x="3888221" y="2411651"/>
                    <a:pt x="3884210" y="2407634"/>
                    <a:pt x="3884210" y="2402689"/>
                  </a:cubicBezTo>
                  <a:cubicBezTo>
                    <a:pt x="3884210" y="2397756"/>
                    <a:pt x="3888221" y="2393745"/>
                    <a:pt x="3893170" y="2393745"/>
                  </a:cubicBezTo>
                  <a:close/>
                  <a:moveTo>
                    <a:pt x="3724429" y="2393745"/>
                  </a:moveTo>
                  <a:cubicBezTo>
                    <a:pt x="3729378" y="2393745"/>
                    <a:pt x="3733390" y="2397756"/>
                    <a:pt x="3733390" y="2402689"/>
                  </a:cubicBezTo>
                  <a:cubicBezTo>
                    <a:pt x="3733390" y="2407634"/>
                    <a:pt x="3729378" y="2411651"/>
                    <a:pt x="3724429" y="2411651"/>
                  </a:cubicBezTo>
                  <a:cubicBezTo>
                    <a:pt x="3719481" y="2411651"/>
                    <a:pt x="3715469" y="2407634"/>
                    <a:pt x="3715469" y="2402689"/>
                  </a:cubicBezTo>
                  <a:cubicBezTo>
                    <a:pt x="3715469" y="2397756"/>
                    <a:pt x="3719481" y="2393745"/>
                    <a:pt x="3724429" y="2393745"/>
                  </a:cubicBezTo>
                  <a:close/>
                  <a:moveTo>
                    <a:pt x="3555688" y="2393745"/>
                  </a:moveTo>
                  <a:cubicBezTo>
                    <a:pt x="3560637" y="2393745"/>
                    <a:pt x="3564649" y="2397756"/>
                    <a:pt x="3564649" y="2402689"/>
                  </a:cubicBezTo>
                  <a:cubicBezTo>
                    <a:pt x="3564649" y="2407634"/>
                    <a:pt x="3560637" y="2411651"/>
                    <a:pt x="3555688" y="2411651"/>
                  </a:cubicBezTo>
                  <a:cubicBezTo>
                    <a:pt x="3550740" y="2411651"/>
                    <a:pt x="3546728" y="2407634"/>
                    <a:pt x="3546728" y="2402689"/>
                  </a:cubicBezTo>
                  <a:cubicBezTo>
                    <a:pt x="3546728" y="2397756"/>
                    <a:pt x="3550740" y="2393745"/>
                    <a:pt x="3555688" y="2393745"/>
                  </a:cubicBezTo>
                  <a:close/>
                  <a:moveTo>
                    <a:pt x="3387058" y="2393745"/>
                  </a:moveTo>
                  <a:cubicBezTo>
                    <a:pt x="3392016" y="2393745"/>
                    <a:pt x="3396028" y="2397756"/>
                    <a:pt x="3396028" y="2402689"/>
                  </a:cubicBezTo>
                  <a:cubicBezTo>
                    <a:pt x="3396028" y="2407634"/>
                    <a:pt x="3392016" y="2411651"/>
                    <a:pt x="3387058" y="2411651"/>
                  </a:cubicBezTo>
                  <a:cubicBezTo>
                    <a:pt x="3382059" y="2411651"/>
                    <a:pt x="3378047" y="2407634"/>
                    <a:pt x="3378047" y="2402689"/>
                  </a:cubicBezTo>
                  <a:cubicBezTo>
                    <a:pt x="3378047" y="2397756"/>
                    <a:pt x="3382059" y="2393745"/>
                    <a:pt x="3387058" y="2393745"/>
                  </a:cubicBezTo>
                  <a:close/>
                  <a:moveTo>
                    <a:pt x="3218301" y="2393745"/>
                  </a:moveTo>
                  <a:cubicBezTo>
                    <a:pt x="3223266" y="2393745"/>
                    <a:pt x="3227279" y="2397756"/>
                    <a:pt x="3227279" y="2402689"/>
                  </a:cubicBezTo>
                  <a:cubicBezTo>
                    <a:pt x="3227279" y="2407634"/>
                    <a:pt x="3223266" y="2411652"/>
                    <a:pt x="3218301" y="2411652"/>
                  </a:cubicBezTo>
                  <a:cubicBezTo>
                    <a:pt x="3213332" y="2411652"/>
                    <a:pt x="3209330" y="2407634"/>
                    <a:pt x="3209330" y="2402689"/>
                  </a:cubicBezTo>
                  <a:cubicBezTo>
                    <a:pt x="3209330" y="2397756"/>
                    <a:pt x="3213332" y="2393745"/>
                    <a:pt x="3218301" y="2393745"/>
                  </a:cubicBezTo>
                  <a:close/>
                  <a:moveTo>
                    <a:pt x="3049600" y="2393745"/>
                  </a:moveTo>
                  <a:cubicBezTo>
                    <a:pt x="3054537" y="2393745"/>
                    <a:pt x="3058549" y="2397756"/>
                    <a:pt x="3058549" y="2402689"/>
                  </a:cubicBezTo>
                  <a:cubicBezTo>
                    <a:pt x="3058549" y="2407634"/>
                    <a:pt x="3054537" y="2411652"/>
                    <a:pt x="3049600" y="2411652"/>
                  </a:cubicBezTo>
                  <a:cubicBezTo>
                    <a:pt x="3044648" y="2411652"/>
                    <a:pt x="3040630" y="2407634"/>
                    <a:pt x="3040630" y="2402689"/>
                  </a:cubicBezTo>
                  <a:cubicBezTo>
                    <a:pt x="3040630" y="2397756"/>
                    <a:pt x="3044648" y="2393745"/>
                    <a:pt x="3049600" y="2393745"/>
                  </a:cubicBezTo>
                  <a:close/>
                  <a:moveTo>
                    <a:pt x="2880876" y="2393745"/>
                  </a:moveTo>
                  <a:cubicBezTo>
                    <a:pt x="2885823" y="2393745"/>
                    <a:pt x="2889834" y="2397756"/>
                    <a:pt x="2889834" y="2402689"/>
                  </a:cubicBezTo>
                  <a:cubicBezTo>
                    <a:pt x="2889834" y="2407635"/>
                    <a:pt x="2885823" y="2411652"/>
                    <a:pt x="2880876" y="2411652"/>
                  </a:cubicBezTo>
                  <a:cubicBezTo>
                    <a:pt x="2875932" y="2411652"/>
                    <a:pt x="2871920" y="2407635"/>
                    <a:pt x="2871920" y="2402689"/>
                  </a:cubicBezTo>
                  <a:cubicBezTo>
                    <a:pt x="2871920" y="2397756"/>
                    <a:pt x="2875932" y="2393745"/>
                    <a:pt x="2880876" y="2393745"/>
                  </a:cubicBezTo>
                  <a:close/>
                  <a:moveTo>
                    <a:pt x="6086811" y="2393744"/>
                  </a:moveTo>
                  <a:cubicBezTo>
                    <a:pt x="6091760" y="2393744"/>
                    <a:pt x="6095772" y="2397752"/>
                    <a:pt x="6095772" y="2402685"/>
                  </a:cubicBezTo>
                  <a:cubicBezTo>
                    <a:pt x="6095772" y="2407632"/>
                    <a:pt x="6091760" y="2411648"/>
                    <a:pt x="6086811" y="2411648"/>
                  </a:cubicBezTo>
                  <a:cubicBezTo>
                    <a:pt x="6081862" y="2411648"/>
                    <a:pt x="6077851" y="2407632"/>
                    <a:pt x="6077851" y="2402685"/>
                  </a:cubicBezTo>
                  <a:cubicBezTo>
                    <a:pt x="6077851" y="2397752"/>
                    <a:pt x="6081862" y="2393744"/>
                    <a:pt x="6086811" y="2393744"/>
                  </a:cubicBezTo>
                  <a:close/>
                  <a:moveTo>
                    <a:pt x="5918069" y="2393744"/>
                  </a:moveTo>
                  <a:cubicBezTo>
                    <a:pt x="5923018" y="2393744"/>
                    <a:pt x="5927030" y="2397752"/>
                    <a:pt x="5927030" y="2402685"/>
                  </a:cubicBezTo>
                  <a:cubicBezTo>
                    <a:pt x="5927030" y="2407633"/>
                    <a:pt x="5923018" y="2411648"/>
                    <a:pt x="5918069" y="2411648"/>
                  </a:cubicBezTo>
                  <a:cubicBezTo>
                    <a:pt x="5913120" y="2411648"/>
                    <a:pt x="5909109" y="2407633"/>
                    <a:pt x="5909109" y="2402685"/>
                  </a:cubicBezTo>
                  <a:cubicBezTo>
                    <a:pt x="5909109" y="2397752"/>
                    <a:pt x="5913120" y="2393744"/>
                    <a:pt x="5918069" y="2393744"/>
                  </a:cubicBezTo>
                  <a:close/>
                  <a:moveTo>
                    <a:pt x="5749328" y="2393744"/>
                  </a:moveTo>
                  <a:cubicBezTo>
                    <a:pt x="5754277" y="2393744"/>
                    <a:pt x="5758289" y="2397754"/>
                    <a:pt x="5758289" y="2402687"/>
                  </a:cubicBezTo>
                  <a:cubicBezTo>
                    <a:pt x="5758289" y="2407633"/>
                    <a:pt x="5754277" y="2411648"/>
                    <a:pt x="5749328" y="2411648"/>
                  </a:cubicBezTo>
                  <a:cubicBezTo>
                    <a:pt x="5744379" y="2411648"/>
                    <a:pt x="5740368" y="2407633"/>
                    <a:pt x="5740368" y="2402687"/>
                  </a:cubicBezTo>
                  <a:cubicBezTo>
                    <a:pt x="5740368" y="2397754"/>
                    <a:pt x="5744379" y="2393744"/>
                    <a:pt x="5749328" y="2393744"/>
                  </a:cubicBezTo>
                  <a:close/>
                  <a:moveTo>
                    <a:pt x="5580586" y="2393744"/>
                  </a:moveTo>
                  <a:cubicBezTo>
                    <a:pt x="5585535" y="2393744"/>
                    <a:pt x="5589547" y="2397754"/>
                    <a:pt x="5589547" y="2402687"/>
                  </a:cubicBezTo>
                  <a:cubicBezTo>
                    <a:pt x="5589547" y="2407633"/>
                    <a:pt x="5585535" y="2411648"/>
                    <a:pt x="5580586" y="2411648"/>
                  </a:cubicBezTo>
                  <a:cubicBezTo>
                    <a:pt x="5575637" y="2411648"/>
                    <a:pt x="5571626" y="2407633"/>
                    <a:pt x="5571626" y="2402687"/>
                  </a:cubicBezTo>
                  <a:cubicBezTo>
                    <a:pt x="5571626" y="2397754"/>
                    <a:pt x="5575637" y="2393744"/>
                    <a:pt x="5580586" y="2393744"/>
                  </a:cubicBezTo>
                  <a:close/>
                  <a:moveTo>
                    <a:pt x="5411845" y="2393744"/>
                  </a:moveTo>
                  <a:cubicBezTo>
                    <a:pt x="5416794" y="2393744"/>
                    <a:pt x="5420806" y="2397754"/>
                    <a:pt x="5420806" y="2402687"/>
                  </a:cubicBezTo>
                  <a:cubicBezTo>
                    <a:pt x="5420806" y="2407633"/>
                    <a:pt x="5416794" y="2411650"/>
                    <a:pt x="5411845" y="2411650"/>
                  </a:cubicBezTo>
                  <a:cubicBezTo>
                    <a:pt x="5406896" y="2411650"/>
                    <a:pt x="5402885" y="2407633"/>
                    <a:pt x="5402885" y="2402687"/>
                  </a:cubicBezTo>
                  <a:cubicBezTo>
                    <a:pt x="5402885" y="2397754"/>
                    <a:pt x="5406896" y="2393744"/>
                    <a:pt x="5411845" y="2393744"/>
                  </a:cubicBezTo>
                  <a:close/>
                  <a:moveTo>
                    <a:pt x="5243103" y="2393744"/>
                  </a:moveTo>
                  <a:cubicBezTo>
                    <a:pt x="5248052" y="2393744"/>
                    <a:pt x="5252064" y="2397754"/>
                    <a:pt x="5252064" y="2402687"/>
                  </a:cubicBezTo>
                  <a:cubicBezTo>
                    <a:pt x="5252064" y="2407633"/>
                    <a:pt x="5248052" y="2411650"/>
                    <a:pt x="5243103" y="2411650"/>
                  </a:cubicBezTo>
                  <a:cubicBezTo>
                    <a:pt x="5238154" y="2411650"/>
                    <a:pt x="5234143" y="2407633"/>
                    <a:pt x="5234143" y="2402687"/>
                  </a:cubicBezTo>
                  <a:cubicBezTo>
                    <a:pt x="5234143" y="2397754"/>
                    <a:pt x="5238154" y="2393744"/>
                    <a:pt x="5243103" y="2393744"/>
                  </a:cubicBezTo>
                  <a:close/>
                  <a:moveTo>
                    <a:pt x="5074362" y="2393744"/>
                  </a:moveTo>
                  <a:cubicBezTo>
                    <a:pt x="5079311" y="2393744"/>
                    <a:pt x="5083323" y="2397754"/>
                    <a:pt x="5083323" y="2402687"/>
                  </a:cubicBezTo>
                  <a:cubicBezTo>
                    <a:pt x="5083323" y="2407633"/>
                    <a:pt x="5079311" y="2411650"/>
                    <a:pt x="5074362" y="2411650"/>
                  </a:cubicBezTo>
                  <a:cubicBezTo>
                    <a:pt x="5069413" y="2411650"/>
                    <a:pt x="5065402" y="2407633"/>
                    <a:pt x="5065402" y="2402687"/>
                  </a:cubicBezTo>
                  <a:cubicBezTo>
                    <a:pt x="5065402" y="2397754"/>
                    <a:pt x="5069413" y="2393744"/>
                    <a:pt x="5074362" y="2393744"/>
                  </a:cubicBezTo>
                  <a:close/>
                  <a:moveTo>
                    <a:pt x="4905620" y="2393744"/>
                  </a:moveTo>
                  <a:cubicBezTo>
                    <a:pt x="4910569" y="2393744"/>
                    <a:pt x="4914581" y="2397754"/>
                    <a:pt x="4914581" y="2402687"/>
                  </a:cubicBezTo>
                  <a:cubicBezTo>
                    <a:pt x="4914581" y="2407633"/>
                    <a:pt x="4910569" y="2411650"/>
                    <a:pt x="4905620" y="2411650"/>
                  </a:cubicBezTo>
                  <a:cubicBezTo>
                    <a:pt x="4900671" y="2411650"/>
                    <a:pt x="4896660" y="2407633"/>
                    <a:pt x="4896660" y="2402687"/>
                  </a:cubicBezTo>
                  <a:cubicBezTo>
                    <a:pt x="4896660" y="2397754"/>
                    <a:pt x="4900671" y="2393744"/>
                    <a:pt x="4905620" y="2393744"/>
                  </a:cubicBezTo>
                  <a:close/>
                  <a:moveTo>
                    <a:pt x="4736878" y="2393744"/>
                  </a:moveTo>
                  <a:cubicBezTo>
                    <a:pt x="4741827" y="2393744"/>
                    <a:pt x="4745839" y="2397754"/>
                    <a:pt x="4745839" y="2402687"/>
                  </a:cubicBezTo>
                  <a:cubicBezTo>
                    <a:pt x="4745839" y="2407633"/>
                    <a:pt x="4741827" y="2411650"/>
                    <a:pt x="4736878" y="2411650"/>
                  </a:cubicBezTo>
                  <a:cubicBezTo>
                    <a:pt x="4731929" y="2411650"/>
                    <a:pt x="4727918" y="2407633"/>
                    <a:pt x="4727918" y="2402687"/>
                  </a:cubicBezTo>
                  <a:cubicBezTo>
                    <a:pt x="4727918" y="2397754"/>
                    <a:pt x="4731929" y="2393744"/>
                    <a:pt x="4736878" y="2393744"/>
                  </a:cubicBezTo>
                  <a:close/>
                  <a:moveTo>
                    <a:pt x="6933679" y="2393742"/>
                  </a:moveTo>
                  <a:cubicBezTo>
                    <a:pt x="6938628" y="2393742"/>
                    <a:pt x="6942639" y="2397752"/>
                    <a:pt x="6942639" y="2402685"/>
                  </a:cubicBezTo>
                  <a:cubicBezTo>
                    <a:pt x="6942639" y="2407631"/>
                    <a:pt x="6938628" y="2411648"/>
                    <a:pt x="6933679" y="2411648"/>
                  </a:cubicBezTo>
                  <a:cubicBezTo>
                    <a:pt x="6928730" y="2411648"/>
                    <a:pt x="6924718" y="2407631"/>
                    <a:pt x="6924718" y="2402685"/>
                  </a:cubicBezTo>
                  <a:cubicBezTo>
                    <a:pt x="6924718" y="2397752"/>
                    <a:pt x="6928730" y="2393742"/>
                    <a:pt x="6933679" y="2393742"/>
                  </a:cubicBezTo>
                  <a:close/>
                  <a:moveTo>
                    <a:pt x="6763357" y="2393742"/>
                  </a:moveTo>
                  <a:cubicBezTo>
                    <a:pt x="6768306" y="2393742"/>
                    <a:pt x="6772318" y="2397752"/>
                    <a:pt x="6772318" y="2402685"/>
                  </a:cubicBezTo>
                  <a:cubicBezTo>
                    <a:pt x="6772318" y="2407631"/>
                    <a:pt x="6768306" y="2411648"/>
                    <a:pt x="6763357" y="2411648"/>
                  </a:cubicBezTo>
                  <a:cubicBezTo>
                    <a:pt x="6758408" y="2411648"/>
                    <a:pt x="6754397" y="2407631"/>
                    <a:pt x="6754397" y="2402685"/>
                  </a:cubicBezTo>
                  <a:cubicBezTo>
                    <a:pt x="6754397" y="2397752"/>
                    <a:pt x="6758408" y="2393742"/>
                    <a:pt x="6763357" y="2393742"/>
                  </a:cubicBezTo>
                  <a:close/>
                  <a:moveTo>
                    <a:pt x="6593035" y="2393742"/>
                  </a:moveTo>
                  <a:cubicBezTo>
                    <a:pt x="6597984" y="2393742"/>
                    <a:pt x="6601996" y="2397752"/>
                    <a:pt x="6601996" y="2402685"/>
                  </a:cubicBezTo>
                  <a:cubicBezTo>
                    <a:pt x="6601996" y="2407631"/>
                    <a:pt x="6597984" y="2411648"/>
                    <a:pt x="6593035" y="2411648"/>
                  </a:cubicBezTo>
                  <a:cubicBezTo>
                    <a:pt x="6588086" y="2411648"/>
                    <a:pt x="6584075" y="2407631"/>
                    <a:pt x="6584075" y="2402685"/>
                  </a:cubicBezTo>
                  <a:cubicBezTo>
                    <a:pt x="6584075" y="2397752"/>
                    <a:pt x="6588086" y="2393742"/>
                    <a:pt x="6593035" y="2393742"/>
                  </a:cubicBezTo>
                  <a:close/>
                  <a:moveTo>
                    <a:pt x="6424294" y="2393742"/>
                  </a:moveTo>
                  <a:cubicBezTo>
                    <a:pt x="6429243" y="2393742"/>
                    <a:pt x="6433255" y="2397752"/>
                    <a:pt x="6433255" y="2402685"/>
                  </a:cubicBezTo>
                  <a:cubicBezTo>
                    <a:pt x="6433255" y="2407632"/>
                    <a:pt x="6429243" y="2411648"/>
                    <a:pt x="6424294" y="2411648"/>
                  </a:cubicBezTo>
                  <a:cubicBezTo>
                    <a:pt x="6419345" y="2411648"/>
                    <a:pt x="6415334" y="2407632"/>
                    <a:pt x="6415334" y="2402685"/>
                  </a:cubicBezTo>
                  <a:cubicBezTo>
                    <a:pt x="6415334" y="2397752"/>
                    <a:pt x="6419345" y="2393742"/>
                    <a:pt x="6424294" y="2393742"/>
                  </a:cubicBezTo>
                  <a:close/>
                  <a:moveTo>
                    <a:pt x="6255553" y="2393742"/>
                  </a:moveTo>
                  <a:cubicBezTo>
                    <a:pt x="6260502" y="2393742"/>
                    <a:pt x="6264514" y="2397752"/>
                    <a:pt x="6264514" y="2402685"/>
                  </a:cubicBezTo>
                  <a:cubicBezTo>
                    <a:pt x="6264514" y="2407632"/>
                    <a:pt x="6260502" y="2411648"/>
                    <a:pt x="6255553" y="2411648"/>
                  </a:cubicBezTo>
                  <a:cubicBezTo>
                    <a:pt x="6250604" y="2411648"/>
                    <a:pt x="6246593" y="2407632"/>
                    <a:pt x="6246593" y="2402685"/>
                  </a:cubicBezTo>
                  <a:cubicBezTo>
                    <a:pt x="6246593" y="2397752"/>
                    <a:pt x="6250604" y="2393742"/>
                    <a:pt x="6255553" y="2393742"/>
                  </a:cubicBezTo>
                  <a:close/>
                  <a:moveTo>
                    <a:pt x="349762" y="2222777"/>
                  </a:moveTo>
                  <a:cubicBezTo>
                    <a:pt x="354711" y="2222777"/>
                    <a:pt x="358723" y="2226789"/>
                    <a:pt x="358723" y="2231737"/>
                  </a:cubicBezTo>
                  <a:cubicBezTo>
                    <a:pt x="358723" y="2236685"/>
                    <a:pt x="354711" y="2240696"/>
                    <a:pt x="349762" y="2240696"/>
                  </a:cubicBezTo>
                  <a:cubicBezTo>
                    <a:pt x="344815" y="2240696"/>
                    <a:pt x="340803" y="2236685"/>
                    <a:pt x="340803" y="2231737"/>
                  </a:cubicBezTo>
                  <a:cubicBezTo>
                    <a:pt x="340803" y="2226789"/>
                    <a:pt x="344815" y="2222777"/>
                    <a:pt x="349762" y="2222777"/>
                  </a:cubicBezTo>
                  <a:close/>
                  <a:moveTo>
                    <a:pt x="518500" y="2222777"/>
                  </a:moveTo>
                  <a:cubicBezTo>
                    <a:pt x="523448" y="2222777"/>
                    <a:pt x="527460" y="2226788"/>
                    <a:pt x="527460" y="2231736"/>
                  </a:cubicBezTo>
                  <a:cubicBezTo>
                    <a:pt x="527460" y="2236684"/>
                    <a:pt x="523448" y="2240695"/>
                    <a:pt x="518500" y="2240695"/>
                  </a:cubicBezTo>
                  <a:cubicBezTo>
                    <a:pt x="513551" y="2240695"/>
                    <a:pt x="509539" y="2236684"/>
                    <a:pt x="509539" y="2231736"/>
                  </a:cubicBezTo>
                  <a:cubicBezTo>
                    <a:pt x="509539" y="2226788"/>
                    <a:pt x="513551" y="2222777"/>
                    <a:pt x="518500" y="2222777"/>
                  </a:cubicBezTo>
                  <a:close/>
                  <a:moveTo>
                    <a:pt x="179445" y="2222777"/>
                  </a:moveTo>
                  <a:cubicBezTo>
                    <a:pt x="184394" y="2222777"/>
                    <a:pt x="188406" y="2226788"/>
                    <a:pt x="188406" y="2231736"/>
                  </a:cubicBezTo>
                  <a:cubicBezTo>
                    <a:pt x="188406" y="2236684"/>
                    <a:pt x="184394" y="2240696"/>
                    <a:pt x="179445" y="2240696"/>
                  </a:cubicBezTo>
                  <a:cubicBezTo>
                    <a:pt x="174497" y="2240696"/>
                    <a:pt x="170485" y="2236684"/>
                    <a:pt x="170485" y="2231736"/>
                  </a:cubicBezTo>
                  <a:cubicBezTo>
                    <a:pt x="170485" y="2226788"/>
                    <a:pt x="174497" y="2222777"/>
                    <a:pt x="179445" y="2222777"/>
                  </a:cubicBezTo>
                  <a:close/>
                  <a:moveTo>
                    <a:pt x="9130" y="2222777"/>
                  </a:moveTo>
                  <a:cubicBezTo>
                    <a:pt x="14078" y="2222777"/>
                    <a:pt x="18089" y="2226788"/>
                    <a:pt x="18089" y="2231736"/>
                  </a:cubicBezTo>
                  <a:cubicBezTo>
                    <a:pt x="18089" y="2236684"/>
                    <a:pt x="14078" y="2240696"/>
                    <a:pt x="9130" y="2240696"/>
                  </a:cubicBezTo>
                  <a:cubicBezTo>
                    <a:pt x="4181" y="2240696"/>
                    <a:pt x="169" y="2236684"/>
                    <a:pt x="169" y="2231736"/>
                  </a:cubicBezTo>
                  <a:cubicBezTo>
                    <a:pt x="169" y="2226788"/>
                    <a:pt x="4181" y="2222777"/>
                    <a:pt x="9130" y="2222777"/>
                  </a:cubicBezTo>
                  <a:close/>
                  <a:moveTo>
                    <a:pt x="1024737" y="2222776"/>
                  </a:moveTo>
                  <a:cubicBezTo>
                    <a:pt x="1029690" y="2222776"/>
                    <a:pt x="1033705" y="2226788"/>
                    <a:pt x="1033705" y="2231735"/>
                  </a:cubicBezTo>
                  <a:cubicBezTo>
                    <a:pt x="1033705" y="2236683"/>
                    <a:pt x="1029690" y="2240695"/>
                    <a:pt x="1024737" y="2240695"/>
                  </a:cubicBezTo>
                  <a:cubicBezTo>
                    <a:pt x="1019789" y="2240695"/>
                    <a:pt x="1015778" y="2236683"/>
                    <a:pt x="1015778" y="2231735"/>
                  </a:cubicBezTo>
                  <a:cubicBezTo>
                    <a:pt x="1015778" y="2226788"/>
                    <a:pt x="1019789" y="2222776"/>
                    <a:pt x="1024737" y="2222776"/>
                  </a:cubicBezTo>
                  <a:close/>
                  <a:moveTo>
                    <a:pt x="856013" y="2222776"/>
                  </a:moveTo>
                  <a:cubicBezTo>
                    <a:pt x="860961" y="2222776"/>
                    <a:pt x="864973" y="2226788"/>
                    <a:pt x="864973" y="2231735"/>
                  </a:cubicBezTo>
                  <a:cubicBezTo>
                    <a:pt x="864973" y="2236684"/>
                    <a:pt x="860961" y="2240695"/>
                    <a:pt x="856013" y="2240695"/>
                  </a:cubicBezTo>
                  <a:cubicBezTo>
                    <a:pt x="851062" y="2240695"/>
                    <a:pt x="847052" y="2236684"/>
                    <a:pt x="847052" y="2231735"/>
                  </a:cubicBezTo>
                  <a:cubicBezTo>
                    <a:pt x="847052" y="2226788"/>
                    <a:pt x="851062" y="2222776"/>
                    <a:pt x="856013" y="2222776"/>
                  </a:cubicBezTo>
                  <a:close/>
                  <a:moveTo>
                    <a:pt x="687275" y="2222776"/>
                  </a:moveTo>
                  <a:cubicBezTo>
                    <a:pt x="692224" y="2222776"/>
                    <a:pt x="696235" y="2226788"/>
                    <a:pt x="696235" y="2231736"/>
                  </a:cubicBezTo>
                  <a:cubicBezTo>
                    <a:pt x="696235" y="2236684"/>
                    <a:pt x="692224" y="2240695"/>
                    <a:pt x="687275" y="2240695"/>
                  </a:cubicBezTo>
                  <a:cubicBezTo>
                    <a:pt x="682326" y="2240695"/>
                    <a:pt x="678316" y="2236684"/>
                    <a:pt x="678316" y="2231736"/>
                  </a:cubicBezTo>
                  <a:cubicBezTo>
                    <a:pt x="678316" y="2226788"/>
                    <a:pt x="682326" y="2222776"/>
                    <a:pt x="687275" y="2222776"/>
                  </a:cubicBezTo>
                  <a:close/>
                  <a:moveTo>
                    <a:pt x="1193493" y="2222776"/>
                  </a:moveTo>
                  <a:cubicBezTo>
                    <a:pt x="1198441" y="2222776"/>
                    <a:pt x="1202454" y="2226788"/>
                    <a:pt x="1202454" y="2231735"/>
                  </a:cubicBezTo>
                  <a:cubicBezTo>
                    <a:pt x="1202454" y="2236683"/>
                    <a:pt x="1198441" y="2240694"/>
                    <a:pt x="1193493" y="2240694"/>
                  </a:cubicBezTo>
                  <a:cubicBezTo>
                    <a:pt x="1188546" y="2240694"/>
                    <a:pt x="1184536" y="2236683"/>
                    <a:pt x="1184536" y="2231735"/>
                  </a:cubicBezTo>
                  <a:cubicBezTo>
                    <a:pt x="1184536" y="2226788"/>
                    <a:pt x="1188546" y="2222776"/>
                    <a:pt x="1193493" y="2222776"/>
                  </a:cubicBezTo>
                  <a:close/>
                  <a:moveTo>
                    <a:pt x="1699732" y="2222776"/>
                  </a:moveTo>
                  <a:cubicBezTo>
                    <a:pt x="1704683" y="2222776"/>
                    <a:pt x="1708699" y="2226787"/>
                    <a:pt x="1708699" y="2231735"/>
                  </a:cubicBezTo>
                  <a:cubicBezTo>
                    <a:pt x="1708699" y="2236683"/>
                    <a:pt x="1704683" y="2240694"/>
                    <a:pt x="1699732" y="2240694"/>
                  </a:cubicBezTo>
                  <a:cubicBezTo>
                    <a:pt x="1694775" y="2240694"/>
                    <a:pt x="1690761" y="2236683"/>
                    <a:pt x="1690761" y="2231735"/>
                  </a:cubicBezTo>
                  <a:cubicBezTo>
                    <a:pt x="1690761" y="2226787"/>
                    <a:pt x="1694775" y="2222776"/>
                    <a:pt x="1699732" y="2222776"/>
                  </a:cubicBezTo>
                  <a:close/>
                  <a:moveTo>
                    <a:pt x="1530988" y="2222776"/>
                  </a:moveTo>
                  <a:cubicBezTo>
                    <a:pt x="1535939" y="2222776"/>
                    <a:pt x="1539950" y="2226787"/>
                    <a:pt x="1539950" y="2231735"/>
                  </a:cubicBezTo>
                  <a:cubicBezTo>
                    <a:pt x="1539950" y="2236683"/>
                    <a:pt x="1535939" y="2240694"/>
                    <a:pt x="1530988" y="2240694"/>
                  </a:cubicBezTo>
                  <a:cubicBezTo>
                    <a:pt x="1526038" y="2240694"/>
                    <a:pt x="1522026" y="2236683"/>
                    <a:pt x="1522026" y="2231735"/>
                  </a:cubicBezTo>
                  <a:cubicBezTo>
                    <a:pt x="1522026" y="2226787"/>
                    <a:pt x="1526038" y="2222776"/>
                    <a:pt x="1530988" y="2222776"/>
                  </a:cubicBezTo>
                  <a:close/>
                  <a:moveTo>
                    <a:pt x="1362235" y="2222776"/>
                  </a:moveTo>
                  <a:cubicBezTo>
                    <a:pt x="1367190" y="2222776"/>
                    <a:pt x="1371197" y="2226787"/>
                    <a:pt x="1371197" y="2231735"/>
                  </a:cubicBezTo>
                  <a:cubicBezTo>
                    <a:pt x="1371197" y="2236683"/>
                    <a:pt x="1367190" y="2240694"/>
                    <a:pt x="1362235" y="2240694"/>
                  </a:cubicBezTo>
                  <a:cubicBezTo>
                    <a:pt x="1357286" y="2240694"/>
                    <a:pt x="1353274" y="2236683"/>
                    <a:pt x="1353274" y="2231735"/>
                  </a:cubicBezTo>
                  <a:cubicBezTo>
                    <a:pt x="1353274" y="2226787"/>
                    <a:pt x="1357286" y="2222776"/>
                    <a:pt x="1362235" y="2222776"/>
                  </a:cubicBezTo>
                  <a:close/>
                  <a:moveTo>
                    <a:pt x="2205930" y="2222775"/>
                  </a:moveTo>
                  <a:cubicBezTo>
                    <a:pt x="2210879" y="2222775"/>
                    <a:pt x="2214887" y="2226786"/>
                    <a:pt x="2214887" y="2231734"/>
                  </a:cubicBezTo>
                  <a:cubicBezTo>
                    <a:pt x="2214887" y="2236682"/>
                    <a:pt x="2210879" y="2240693"/>
                    <a:pt x="2205930" y="2240693"/>
                  </a:cubicBezTo>
                  <a:cubicBezTo>
                    <a:pt x="2200950" y="2240693"/>
                    <a:pt x="2196933" y="2236682"/>
                    <a:pt x="2196933" y="2231734"/>
                  </a:cubicBezTo>
                  <a:cubicBezTo>
                    <a:pt x="2196933" y="2226786"/>
                    <a:pt x="2200950" y="2222775"/>
                    <a:pt x="2205930" y="2222775"/>
                  </a:cubicBezTo>
                  <a:close/>
                  <a:moveTo>
                    <a:pt x="2037183" y="2222775"/>
                  </a:moveTo>
                  <a:cubicBezTo>
                    <a:pt x="2042146" y="2222775"/>
                    <a:pt x="2046126" y="2226786"/>
                    <a:pt x="2046126" y="2231734"/>
                  </a:cubicBezTo>
                  <a:cubicBezTo>
                    <a:pt x="2046126" y="2236682"/>
                    <a:pt x="2042146" y="2240693"/>
                    <a:pt x="2037183" y="2240693"/>
                  </a:cubicBezTo>
                  <a:cubicBezTo>
                    <a:pt x="2032249" y="2240693"/>
                    <a:pt x="2028251" y="2236682"/>
                    <a:pt x="2028251" y="2231734"/>
                  </a:cubicBezTo>
                  <a:cubicBezTo>
                    <a:pt x="2028251" y="2226786"/>
                    <a:pt x="2032249" y="2222775"/>
                    <a:pt x="2037183" y="2222775"/>
                  </a:cubicBezTo>
                  <a:close/>
                  <a:moveTo>
                    <a:pt x="1868484" y="2222775"/>
                  </a:moveTo>
                  <a:cubicBezTo>
                    <a:pt x="1873420" y="2222775"/>
                    <a:pt x="1877430" y="2226787"/>
                    <a:pt x="1877430" y="2231735"/>
                  </a:cubicBezTo>
                  <a:cubicBezTo>
                    <a:pt x="1877430" y="2236683"/>
                    <a:pt x="1873420" y="2240693"/>
                    <a:pt x="1868484" y="2240693"/>
                  </a:cubicBezTo>
                  <a:cubicBezTo>
                    <a:pt x="1863523" y="2240693"/>
                    <a:pt x="1859506" y="2236683"/>
                    <a:pt x="1859506" y="2231735"/>
                  </a:cubicBezTo>
                  <a:cubicBezTo>
                    <a:pt x="1859506" y="2226787"/>
                    <a:pt x="1863523" y="2222775"/>
                    <a:pt x="1868484" y="2222775"/>
                  </a:cubicBezTo>
                  <a:close/>
                  <a:moveTo>
                    <a:pt x="2374628" y="2222775"/>
                  </a:moveTo>
                  <a:cubicBezTo>
                    <a:pt x="2379594" y="2222775"/>
                    <a:pt x="2383642" y="2226786"/>
                    <a:pt x="2383642" y="2231734"/>
                  </a:cubicBezTo>
                  <a:cubicBezTo>
                    <a:pt x="2383642" y="2236682"/>
                    <a:pt x="2379594" y="2240693"/>
                    <a:pt x="2374628" y="2240693"/>
                  </a:cubicBezTo>
                  <a:cubicBezTo>
                    <a:pt x="2369676" y="2240693"/>
                    <a:pt x="2365664" y="2236682"/>
                    <a:pt x="2365664" y="2231734"/>
                  </a:cubicBezTo>
                  <a:cubicBezTo>
                    <a:pt x="2365664" y="2226786"/>
                    <a:pt x="2369676" y="2222775"/>
                    <a:pt x="2374628" y="2222775"/>
                  </a:cubicBezTo>
                  <a:close/>
                  <a:moveTo>
                    <a:pt x="2880881" y="2222774"/>
                  </a:moveTo>
                  <a:cubicBezTo>
                    <a:pt x="2885827" y="2222774"/>
                    <a:pt x="2889838" y="2226785"/>
                    <a:pt x="2889838" y="2231733"/>
                  </a:cubicBezTo>
                  <a:cubicBezTo>
                    <a:pt x="2889838" y="2236681"/>
                    <a:pt x="2885827" y="2240693"/>
                    <a:pt x="2880881" y="2240693"/>
                  </a:cubicBezTo>
                  <a:cubicBezTo>
                    <a:pt x="2875936" y="2240693"/>
                    <a:pt x="2871924" y="2236681"/>
                    <a:pt x="2871924" y="2231733"/>
                  </a:cubicBezTo>
                  <a:cubicBezTo>
                    <a:pt x="2871924" y="2226785"/>
                    <a:pt x="2875936" y="2222774"/>
                    <a:pt x="2880881" y="2222774"/>
                  </a:cubicBezTo>
                  <a:close/>
                  <a:moveTo>
                    <a:pt x="2712109" y="2222774"/>
                  </a:moveTo>
                  <a:cubicBezTo>
                    <a:pt x="2717085" y="2222774"/>
                    <a:pt x="2721092" y="2226785"/>
                    <a:pt x="2721092" y="2231734"/>
                  </a:cubicBezTo>
                  <a:cubicBezTo>
                    <a:pt x="2721092" y="2236681"/>
                    <a:pt x="2717085" y="2240693"/>
                    <a:pt x="2712109" y="2240693"/>
                  </a:cubicBezTo>
                  <a:cubicBezTo>
                    <a:pt x="2707174" y="2240693"/>
                    <a:pt x="2703153" y="2236681"/>
                    <a:pt x="2703153" y="2231734"/>
                  </a:cubicBezTo>
                  <a:cubicBezTo>
                    <a:pt x="2703153" y="2226785"/>
                    <a:pt x="2707174" y="2222774"/>
                    <a:pt x="2712109" y="2222774"/>
                  </a:cubicBezTo>
                  <a:close/>
                  <a:moveTo>
                    <a:pt x="2543432" y="2222774"/>
                  </a:moveTo>
                  <a:cubicBezTo>
                    <a:pt x="2548387" y="2222774"/>
                    <a:pt x="2552395" y="2226786"/>
                    <a:pt x="2552395" y="2231734"/>
                  </a:cubicBezTo>
                  <a:cubicBezTo>
                    <a:pt x="2552395" y="2236682"/>
                    <a:pt x="2548387" y="2240693"/>
                    <a:pt x="2543432" y="2240693"/>
                  </a:cubicBezTo>
                  <a:cubicBezTo>
                    <a:pt x="2538477" y="2240693"/>
                    <a:pt x="2534456" y="2236682"/>
                    <a:pt x="2534456" y="2231734"/>
                  </a:cubicBezTo>
                  <a:cubicBezTo>
                    <a:pt x="2534456" y="2226786"/>
                    <a:pt x="2538477" y="2222774"/>
                    <a:pt x="2543432" y="2222774"/>
                  </a:cubicBezTo>
                  <a:close/>
                  <a:moveTo>
                    <a:pt x="3049603" y="2222774"/>
                  </a:moveTo>
                  <a:cubicBezTo>
                    <a:pt x="3054542" y="2222774"/>
                    <a:pt x="3058553" y="2226785"/>
                    <a:pt x="3058553" y="2231733"/>
                  </a:cubicBezTo>
                  <a:cubicBezTo>
                    <a:pt x="3058553" y="2236681"/>
                    <a:pt x="3054542" y="2240692"/>
                    <a:pt x="3049603" y="2240692"/>
                  </a:cubicBezTo>
                  <a:cubicBezTo>
                    <a:pt x="3044651" y="2240692"/>
                    <a:pt x="3040633" y="2236681"/>
                    <a:pt x="3040633" y="2231733"/>
                  </a:cubicBezTo>
                  <a:cubicBezTo>
                    <a:pt x="3040633" y="2226785"/>
                    <a:pt x="3044651" y="2222774"/>
                    <a:pt x="3049603" y="2222774"/>
                  </a:cubicBezTo>
                  <a:close/>
                  <a:moveTo>
                    <a:pt x="3555688" y="2222773"/>
                  </a:moveTo>
                  <a:cubicBezTo>
                    <a:pt x="3560637" y="2222773"/>
                    <a:pt x="3564649" y="2226785"/>
                    <a:pt x="3564649" y="2231733"/>
                  </a:cubicBezTo>
                  <a:cubicBezTo>
                    <a:pt x="3564649" y="2236681"/>
                    <a:pt x="3560637" y="2240692"/>
                    <a:pt x="3555688" y="2240692"/>
                  </a:cubicBezTo>
                  <a:cubicBezTo>
                    <a:pt x="3550740" y="2240692"/>
                    <a:pt x="3546728" y="2236681"/>
                    <a:pt x="3546728" y="2231733"/>
                  </a:cubicBezTo>
                  <a:cubicBezTo>
                    <a:pt x="3546728" y="2226785"/>
                    <a:pt x="3550740" y="2222773"/>
                    <a:pt x="3555688" y="2222773"/>
                  </a:cubicBezTo>
                  <a:close/>
                  <a:moveTo>
                    <a:pt x="3387059" y="2222773"/>
                  </a:moveTo>
                  <a:cubicBezTo>
                    <a:pt x="3392019" y="2222773"/>
                    <a:pt x="3396031" y="2226785"/>
                    <a:pt x="3396031" y="2231733"/>
                  </a:cubicBezTo>
                  <a:cubicBezTo>
                    <a:pt x="3396031" y="2236681"/>
                    <a:pt x="3392019" y="2240692"/>
                    <a:pt x="3387059" y="2240692"/>
                  </a:cubicBezTo>
                  <a:cubicBezTo>
                    <a:pt x="3382061" y="2240692"/>
                    <a:pt x="3378048" y="2236681"/>
                    <a:pt x="3378048" y="2231733"/>
                  </a:cubicBezTo>
                  <a:cubicBezTo>
                    <a:pt x="3378048" y="2226785"/>
                    <a:pt x="3382061" y="2222773"/>
                    <a:pt x="3387059" y="2222773"/>
                  </a:cubicBezTo>
                  <a:close/>
                  <a:moveTo>
                    <a:pt x="3218302" y="2222773"/>
                  </a:moveTo>
                  <a:cubicBezTo>
                    <a:pt x="3223269" y="2222773"/>
                    <a:pt x="3227282" y="2226785"/>
                    <a:pt x="3227282" y="2231733"/>
                  </a:cubicBezTo>
                  <a:cubicBezTo>
                    <a:pt x="3227282" y="2236681"/>
                    <a:pt x="3223269" y="2240692"/>
                    <a:pt x="3218302" y="2240692"/>
                  </a:cubicBezTo>
                  <a:cubicBezTo>
                    <a:pt x="3213335" y="2240692"/>
                    <a:pt x="3209332" y="2236681"/>
                    <a:pt x="3209332" y="2231733"/>
                  </a:cubicBezTo>
                  <a:cubicBezTo>
                    <a:pt x="3209332" y="2226785"/>
                    <a:pt x="3213335" y="2222773"/>
                    <a:pt x="3218302" y="2222773"/>
                  </a:cubicBezTo>
                  <a:close/>
                  <a:moveTo>
                    <a:pt x="3724429" y="2222773"/>
                  </a:moveTo>
                  <a:cubicBezTo>
                    <a:pt x="3729378" y="2222773"/>
                    <a:pt x="3733390" y="2226785"/>
                    <a:pt x="3733390" y="2231733"/>
                  </a:cubicBezTo>
                  <a:cubicBezTo>
                    <a:pt x="3733390" y="2236681"/>
                    <a:pt x="3729378" y="2240692"/>
                    <a:pt x="3724429" y="2240692"/>
                  </a:cubicBezTo>
                  <a:cubicBezTo>
                    <a:pt x="3719481" y="2240692"/>
                    <a:pt x="3715469" y="2236681"/>
                    <a:pt x="3715469" y="2231733"/>
                  </a:cubicBezTo>
                  <a:cubicBezTo>
                    <a:pt x="3715469" y="2226785"/>
                    <a:pt x="3719481" y="2222773"/>
                    <a:pt x="3724429" y="2222773"/>
                  </a:cubicBezTo>
                  <a:close/>
                  <a:moveTo>
                    <a:pt x="4230654" y="2222773"/>
                  </a:moveTo>
                  <a:cubicBezTo>
                    <a:pt x="4235603" y="2222773"/>
                    <a:pt x="4239615" y="2226784"/>
                    <a:pt x="4239615" y="2231732"/>
                  </a:cubicBezTo>
                  <a:cubicBezTo>
                    <a:pt x="4239615" y="2236680"/>
                    <a:pt x="4235603" y="2240691"/>
                    <a:pt x="4230654" y="2240691"/>
                  </a:cubicBezTo>
                  <a:cubicBezTo>
                    <a:pt x="4225705" y="2240691"/>
                    <a:pt x="4221694" y="2236680"/>
                    <a:pt x="4221694" y="2231732"/>
                  </a:cubicBezTo>
                  <a:cubicBezTo>
                    <a:pt x="4221694" y="2226784"/>
                    <a:pt x="4225705" y="2222773"/>
                    <a:pt x="4230654" y="2222773"/>
                  </a:cubicBezTo>
                  <a:close/>
                  <a:moveTo>
                    <a:pt x="4061912" y="2222773"/>
                  </a:moveTo>
                  <a:cubicBezTo>
                    <a:pt x="4066861" y="2222773"/>
                    <a:pt x="4070873" y="2226784"/>
                    <a:pt x="4070873" y="2231732"/>
                  </a:cubicBezTo>
                  <a:cubicBezTo>
                    <a:pt x="4070873" y="2236680"/>
                    <a:pt x="4066861" y="2240692"/>
                    <a:pt x="4061912" y="2240692"/>
                  </a:cubicBezTo>
                  <a:cubicBezTo>
                    <a:pt x="4056963" y="2240692"/>
                    <a:pt x="4052952" y="2236680"/>
                    <a:pt x="4052952" y="2231732"/>
                  </a:cubicBezTo>
                  <a:cubicBezTo>
                    <a:pt x="4052952" y="2226784"/>
                    <a:pt x="4056963" y="2222773"/>
                    <a:pt x="4061912" y="2222773"/>
                  </a:cubicBezTo>
                  <a:close/>
                  <a:moveTo>
                    <a:pt x="3893170" y="2222773"/>
                  </a:moveTo>
                  <a:cubicBezTo>
                    <a:pt x="3898119" y="2222773"/>
                    <a:pt x="3902131" y="2226784"/>
                    <a:pt x="3902131" y="2231732"/>
                  </a:cubicBezTo>
                  <a:cubicBezTo>
                    <a:pt x="3902131" y="2236680"/>
                    <a:pt x="3898119" y="2240692"/>
                    <a:pt x="3893170" y="2240692"/>
                  </a:cubicBezTo>
                  <a:cubicBezTo>
                    <a:pt x="3888221" y="2240692"/>
                    <a:pt x="3884210" y="2236680"/>
                    <a:pt x="3884210" y="2231732"/>
                  </a:cubicBezTo>
                  <a:cubicBezTo>
                    <a:pt x="3884210" y="2226784"/>
                    <a:pt x="3888221" y="2222773"/>
                    <a:pt x="3893170" y="2222773"/>
                  </a:cubicBezTo>
                  <a:close/>
                  <a:moveTo>
                    <a:pt x="4736878" y="2222772"/>
                  </a:moveTo>
                  <a:cubicBezTo>
                    <a:pt x="4741827" y="2222772"/>
                    <a:pt x="4745839" y="2226784"/>
                    <a:pt x="4745839" y="2231731"/>
                  </a:cubicBezTo>
                  <a:cubicBezTo>
                    <a:pt x="4745839" y="2236679"/>
                    <a:pt x="4741827" y="2240691"/>
                    <a:pt x="4736878" y="2240691"/>
                  </a:cubicBezTo>
                  <a:cubicBezTo>
                    <a:pt x="4731929" y="2240691"/>
                    <a:pt x="4727918" y="2236679"/>
                    <a:pt x="4727918" y="2231731"/>
                  </a:cubicBezTo>
                  <a:cubicBezTo>
                    <a:pt x="4727918" y="2226784"/>
                    <a:pt x="4731929" y="2222772"/>
                    <a:pt x="4736878" y="2222772"/>
                  </a:cubicBezTo>
                  <a:close/>
                  <a:moveTo>
                    <a:pt x="4568137" y="2222772"/>
                  </a:moveTo>
                  <a:cubicBezTo>
                    <a:pt x="4573086" y="2222772"/>
                    <a:pt x="4577098" y="2226784"/>
                    <a:pt x="4577098" y="2231731"/>
                  </a:cubicBezTo>
                  <a:cubicBezTo>
                    <a:pt x="4577098" y="2236680"/>
                    <a:pt x="4573086" y="2240691"/>
                    <a:pt x="4568137" y="2240691"/>
                  </a:cubicBezTo>
                  <a:cubicBezTo>
                    <a:pt x="4563188" y="2240691"/>
                    <a:pt x="4559177" y="2236680"/>
                    <a:pt x="4559177" y="2231731"/>
                  </a:cubicBezTo>
                  <a:cubicBezTo>
                    <a:pt x="4559177" y="2226784"/>
                    <a:pt x="4563188" y="2222772"/>
                    <a:pt x="4568137" y="2222772"/>
                  </a:cubicBezTo>
                  <a:close/>
                  <a:moveTo>
                    <a:pt x="4399396" y="2222772"/>
                  </a:moveTo>
                  <a:cubicBezTo>
                    <a:pt x="4404345" y="2222772"/>
                    <a:pt x="4408357" y="2226784"/>
                    <a:pt x="4408357" y="2231732"/>
                  </a:cubicBezTo>
                  <a:cubicBezTo>
                    <a:pt x="4408357" y="2236680"/>
                    <a:pt x="4404345" y="2240691"/>
                    <a:pt x="4399396" y="2240691"/>
                  </a:cubicBezTo>
                  <a:cubicBezTo>
                    <a:pt x="4394447" y="2240691"/>
                    <a:pt x="4390436" y="2236680"/>
                    <a:pt x="4390436" y="2231732"/>
                  </a:cubicBezTo>
                  <a:cubicBezTo>
                    <a:pt x="4390436" y="2226784"/>
                    <a:pt x="4394447" y="2222772"/>
                    <a:pt x="4399396" y="2222772"/>
                  </a:cubicBezTo>
                  <a:close/>
                  <a:moveTo>
                    <a:pt x="4905620" y="2222772"/>
                  </a:moveTo>
                  <a:cubicBezTo>
                    <a:pt x="4910569" y="2222772"/>
                    <a:pt x="4914581" y="2226784"/>
                    <a:pt x="4914581" y="2231731"/>
                  </a:cubicBezTo>
                  <a:cubicBezTo>
                    <a:pt x="4914581" y="2236679"/>
                    <a:pt x="4910569" y="2240690"/>
                    <a:pt x="4905620" y="2240690"/>
                  </a:cubicBezTo>
                  <a:cubicBezTo>
                    <a:pt x="4900671" y="2240690"/>
                    <a:pt x="4896660" y="2236679"/>
                    <a:pt x="4896660" y="2231731"/>
                  </a:cubicBezTo>
                  <a:cubicBezTo>
                    <a:pt x="4896660" y="2226784"/>
                    <a:pt x="4900671" y="2222772"/>
                    <a:pt x="4905620" y="2222772"/>
                  </a:cubicBezTo>
                  <a:close/>
                  <a:moveTo>
                    <a:pt x="5411845" y="2222772"/>
                  </a:moveTo>
                  <a:cubicBezTo>
                    <a:pt x="5416794" y="2222772"/>
                    <a:pt x="5420806" y="2226783"/>
                    <a:pt x="5420806" y="2231731"/>
                  </a:cubicBezTo>
                  <a:cubicBezTo>
                    <a:pt x="5420806" y="2236679"/>
                    <a:pt x="5416794" y="2240690"/>
                    <a:pt x="5411845" y="2240690"/>
                  </a:cubicBezTo>
                  <a:cubicBezTo>
                    <a:pt x="5406896" y="2240690"/>
                    <a:pt x="5402885" y="2236679"/>
                    <a:pt x="5402885" y="2231731"/>
                  </a:cubicBezTo>
                  <a:cubicBezTo>
                    <a:pt x="5402885" y="2226783"/>
                    <a:pt x="5406896" y="2222772"/>
                    <a:pt x="5411845" y="2222772"/>
                  </a:cubicBezTo>
                  <a:close/>
                  <a:moveTo>
                    <a:pt x="5243103" y="2222772"/>
                  </a:moveTo>
                  <a:cubicBezTo>
                    <a:pt x="5248052" y="2222772"/>
                    <a:pt x="5252064" y="2226783"/>
                    <a:pt x="5252064" y="2231731"/>
                  </a:cubicBezTo>
                  <a:cubicBezTo>
                    <a:pt x="5252064" y="2236679"/>
                    <a:pt x="5248052" y="2240690"/>
                    <a:pt x="5243103" y="2240690"/>
                  </a:cubicBezTo>
                  <a:cubicBezTo>
                    <a:pt x="5238154" y="2240690"/>
                    <a:pt x="5234143" y="2236679"/>
                    <a:pt x="5234143" y="2231731"/>
                  </a:cubicBezTo>
                  <a:cubicBezTo>
                    <a:pt x="5234143" y="2226783"/>
                    <a:pt x="5238154" y="2222772"/>
                    <a:pt x="5243103" y="2222772"/>
                  </a:cubicBezTo>
                  <a:close/>
                  <a:moveTo>
                    <a:pt x="5074362" y="2222772"/>
                  </a:moveTo>
                  <a:cubicBezTo>
                    <a:pt x="5079311" y="2222772"/>
                    <a:pt x="5083323" y="2226783"/>
                    <a:pt x="5083323" y="2231731"/>
                  </a:cubicBezTo>
                  <a:cubicBezTo>
                    <a:pt x="5083323" y="2236679"/>
                    <a:pt x="5079311" y="2240690"/>
                    <a:pt x="5074362" y="2240690"/>
                  </a:cubicBezTo>
                  <a:cubicBezTo>
                    <a:pt x="5069413" y="2240690"/>
                    <a:pt x="5065402" y="2236679"/>
                    <a:pt x="5065402" y="2231731"/>
                  </a:cubicBezTo>
                  <a:cubicBezTo>
                    <a:pt x="5065402" y="2226783"/>
                    <a:pt x="5069413" y="2222772"/>
                    <a:pt x="5074362" y="2222772"/>
                  </a:cubicBezTo>
                  <a:close/>
                  <a:moveTo>
                    <a:pt x="5918069" y="2222771"/>
                  </a:moveTo>
                  <a:cubicBezTo>
                    <a:pt x="5923018" y="2222771"/>
                    <a:pt x="5927030" y="2226782"/>
                    <a:pt x="5927030" y="2231730"/>
                  </a:cubicBezTo>
                  <a:cubicBezTo>
                    <a:pt x="5927030" y="2236678"/>
                    <a:pt x="5923018" y="2240689"/>
                    <a:pt x="5918069" y="2240689"/>
                  </a:cubicBezTo>
                  <a:cubicBezTo>
                    <a:pt x="5913120" y="2240689"/>
                    <a:pt x="5909109" y="2236678"/>
                    <a:pt x="5909109" y="2231730"/>
                  </a:cubicBezTo>
                  <a:cubicBezTo>
                    <a:pt x="5909109" y="2226782"/>
                    <a:pt x="5913120" y="2222771"/>
                    <a:pt x="5918069" y="2222771"/>
                  </a:cubicBezTo>
                  <a:close/>
                  <a:moveTo>
                    <a:pt x="5749328" y="2222771"/>
                  </a:moveTo>
                  <a:cubicBezTo>
                    <a:pt x="5754277" y="2222771"/>
                    <a:pt x="5758289" y="2226782"/>
                    <a:pt x="5758289" y="2231730"/>
                  </a:cubicBezTo>
                  <a:cubicBezTo>
                    <a:pt x="5758289" y="2236678"/>
                    <a:pt x="5754277" y="2240690"/>
                    <a:pt x="5749328" y="2240690"/>
                  </a:cubicBezTo>
                  <a:cubicBezTo>
                    <a:pt x="5744379" y="2240690"/>
                    <a:pt x="5740368" y="2236678"/>
                    <a:pt x="5740368" y="2231730"/>
                  </a:cubicBezTo>
                  <a:cubicBezTo>
                    <a:pt x="5740368" y="2226782"/>
                    <a:pt x="5744379" y="2222771"/>
                    <a:pt x="5749328" y="2222771"/>
                  </a:cubicBezTo>
                  <a:close/>
                  <a:moveTo>
                    <a:pt x="5580586" y="2222771"/>
                  </a:moveTo>
                  <a:cubicBezTo>
                    <a:pt x="5585535" y="2222771"/>
                    <a:pt x="5589547" y="2226783"/>
                    <a:pt x="5589547" y="2231731"/>
                  </a:cubicBezTo>
                  <a:cubicBezTo>
                    <a:pt x="5589547" y="2236679"/>
                    <a:pt x="5585535" y="2240690"/>
                    <a:pt x="5580586" y="2240690"/>
                  </a:cubicBezTo>
                  <a:cubicBezTo>
                    <a:pt x="5575637" y="2240690"/>
                    <a:pt x="5571626" y="2236679"/>
                    <a:pt x="5571626" y="2231731"/>
                  </a:cubicBezTo>
                  <a:cubicBezTo>
                    <a:pt x="5571626" y="2226783"/>
                    <a:pt x="5575637" y="2222771"/>
                    <a:pt x="5580586" y="2222771"/>
                  </a:cubicBezTo>
                  <a:close/>
                  <a:moveTo>
                    <a:pt x="6086811" y="2222771"/>
                  </a:moveTo>
                  <a:cubicBezTo>
                    <a:pt x="6091760" y="2222771"/>
                    <a:pt x="6095772" y="2226782"/>
                    <a:pt x="6095772" y="2231730"/>
                  </a:cubicBezTo>
                  <a:cubicBezTo>
                    <a:pt x="6095772" y="2236678"/>
                    <a:pt x="6091760" y="2240689"/>
                    <a:pt x="6086811" y="2240689"/>
                  </a:cubicBezTo>
                  <a:cubicBezTo>
                    <a:pt x="6081862" y="2240689"/>
                    <a:pt x="6077851" y="2236678"/>
                    <a:pt x="6077851" y="2231730"/>
                  </a:cubicBezTo>
                  <a:cubicBezTo>
                    <a:pt x="6077851" y="2226782"/>
                    <a:pt x="6081862" y="2222771"/>
                    <a:pt x="6086811" y="2222771"/>
                  </a:cubicBezTo>
                  <a:close/>
                  <a:moveTo>
                    <a:pt x="6593035" y="2222770"/>
                  </a:moveTo>
                  <a:cubicBezTo>
                    <a:pt x="6597984" y="2222770"/>
                    <a:pt x="6601996" y="2226781"/>
                    <a:pt x="6601996" y="2231729"/>
                  </a:cubicBezTo>
                  <a:cubicBezTo>
                    <a:pt x="6601996" y="2236677"/>
                    <a:pt x="6597984" y="2240689"/>
                    <a:pt x="6593035" y="2240689"/>
                  </a:cubicBezTo>
                  <a:cubicBezTo>
                    <a:pt x="6588086" y="2240689"/>
                    <a:pt x="6584075" y="2236677"/>
                    <a:pt x="6584075" y="2231729"/>
                  </a:cubicBezTo>
                  <a:cubicBezTo>
                    <a:pt x="6584075" y="2226781"/>
                    <a:pt x="6588086" y="2222770"/>
                    <a:pt x="6593035" y="2222770"/>
                  </a:cubicBezTo>
                  <a:close/>
                  <a:moveTo>
                    <a:pt x="6424294" y="2222770"/>
                  </a:moveTo>
                  <a:cubicBezTo>
                    <a:pt x="6429243" y="2222770"/>
                    <a:pt x="6433255" y="2226781"/>
                    <a:pt x="6433255" y="2231730"/>
                  </a:cubicBezTo>
                  <a:cubicBezTo>
                    <a:pt x="6433255" y="2236677"/>
                    <a:pt x="6429243" y="2240689"/>
                    <a:pt x="6424294" y="2240689"/>
                  </a:cubicBezTo>
                  <a:cubicBezTo>
                    <a:pt x="6419345" y="2240689"/>
                    <a:pt x="6415334" y="2236677"/>
                    <a:pt x="6415334" y="2231730"/>
                  </a:cubicBezTo>
                  <a:cubicBezTo>
                    <a:pt x="6415334" y="2226781"/>
                    <a:pt x="6419345" y="2222770"/>
                    <a:pt x="6424294" y="2222770"/>
                  </a:cubicBezTo>
                  <a:close/>
                  <a:moveTo>
                    <a:pt x="6255553" y="2222770"/>
                  </a:moveTo>
                  <a:cubicBezTo>
                    <a:pt x="6260502" y="2222770"/>
                    <a:pt x="6264514" y="2226782"/>
                    <a:pt x="6264514" y="2231730"/>
                  </a:cubicBezTo>
                  <a:cubicBezTo>
                    <a:pt x="6264514" y="2236678"/>
                    <a:pt x="6260502" y="2240689"/>
                    <a:pt x="6255553" y="2240689"/>
                  </a:cubicBezTo>
                  <a:cubicBezTo>
                    <a:pt x="6250604" y="2240689"/>
                    <a:pt x="6246593" y="2236678"/>
                    <a:pt x="6246593" y="2231730"/>
                  </a:cubicBezTo>
                  <a:cubicBezTo>
                    <a:pt x="6246593" y="2226782"/>
                    <a:pt x="6250604" y="2222770"/>
                    <a:pt x="6255553" y="2222770"/>
                  </a:cubicBezTo>
                  <a:close/>
                  <a:moveTo>
                    <a:pt x="6763357" y="2222770"/>
                  </a:moveTo>
                  <a:cubicBezTo>
                    <a:pt x="6768306" y="2222770"/>
                    <a:pt x="6772318" y="2226781"/>
                    <a:pt x="6772318" y="2231729"/>
                  </a:cubicBezTo>
                  <a:cubicBezTo>
                    <a:pt x="6772318" y="2236677"/>
                    <a:pt x="6768306" y="2240688"/>
                    <a:pt x="6763357" y="2240688"/>
                  </a:cubicBezTo>
                  <a:cubicBezTo>
                    <a:pt x="6758408" y="2240688"/>
                    <a:pt x="6754397" y="2236677"/>
                    <a:pt x="6754397" y="2231729"/>
                  </a:cubicBezTo>
                  <a:cubicBezTo>
                    <a:pt x="6754397" y="2226781"/>
                    <a:pt x="6758408" y="2222770"/>
                    <a:pt x="6763357" y="2222770"/>
                  </a:cubicBezTo>
                  <a:close/>
                  <a:moveTo>
                    <a:pt x="6933679" y="2222769"/>
                  </a:moveTo>
                  <a:cubicBezTo>
                    <a:pt x="6938628" y="2222769"/>
                    <a:pt x="6942639" y="2226781"/>
                    <a:pt x="6942639" y="2231729"/>
                  </a:cubicBezTo>
                  <a:cubicBezTo>
                    <a:pt x="6942639" y="2236677"/>
                    <a:pt x="6938628" y="2240688"/>
                    <a:pt x="6933679" y="2240688"/>
                  </a:cubicBezTo>
                  <a:cubicBezTo>
                    <a:pt x="6928730" y="2240688"/>
                    <a:pt x="6924718" y="2236677"/>
                    <a:pt x="6924718" y="2231729"/>
                  </a:cubicBezTo>
                  <a:cubicBezTo>
                    <a:pt x="6924718" y="2226781"/>
                    <a:pt x="6928730" y="2222769"/>
                    <a:pt x="6933679" y="2222769"/>
                  </a:cubicBezTo>
                  <a:close/>
                  <a:moveTo>
                    <a:pt x="349766" y="2051829"/>
                  </a:moveTo>
                  <a:cubicBezTo>
                    <a:pt x="354715" y="2051829"/>
                    <a:pt x="358727" y="2055840"/>
                    <a:pt x="358727" y="2060789"/>
                  </a:cubicBezTo>
                  <a:cubicBezTo>
                    <a:pt x="358727" y="2065736"/>
                    <a:pt x="354715" y="2069747"/>
                    <a:pt x="349766" y="2069747"/>
                  </a:cubicBezTo>
                  <a:cubicBezTo>
                    <a:pt x="344819" y="2069747"/>
                    <a:pt x="340807" y="2065736"/>
                    <a:pt x="340807" y="2060789"/>
                  </a:cubicBezTo>
                  <a:cubicBezTo>
                    <a:pt x="340807" y="2055840"/>
                    <a:pt x="344819" y="2051829"/>
                    <a:pt x="349766" y="2051829"/>
                  </a:cubicBezTo>
                  <a:close/>
                  <a:moveTo>
                    <a:pt x="179449" y="2051829"/>
                  </a:moveTo>
                  <a:cubicBezTo>
                    <a:pt x="184398" y="2051829"/>
                    <a:pt x="188410" y="2055840"/>
                    <a:pt x="188410" y="2060788"/>
                  </a:cubicBezTo>
                  <a:cubicBezTo>
                    <a:pt x="188410" y="2065736"/>
                    <a:pt x="184398" y="2069747"/>
                    <a:pt x="179449" y="2069747"/>
                  </a:cubicBezTo>
                  <a:cubicBezTo>
                    <a:pt x="174501" y="2069747"/>
                    <a:pt x="170489" y="2065736"/>
                    <a:pt x="170489" y="2060788"/>
                  </a:cubicBezTo>
                  <a:cubicBezTo>
                    <a:pt x="170489" y="2055840"/>
                    <a:pt x="174501" y="2051829"/>
                    <a:pt x="179449" y="2051829"/>
                  </a:cubicBezTo>
                  <a:close/>
                  <a:moveTo>
                    <a:pt x="9134" y="2051829"/>
                  </a:moveTo>
                  <a:cubicBezTo>
                    <a:pt x="14082" y="2051829"/>
                    <a:pt x="18093" y="2055840"/>
                    <a:pt x="18093" y="2060788"/>
                  </a:cubicBezTo>
                  <a:cubicBezTo>
                    <a:pt x="18093" y="2065736"/>
                    <a:pt x="14082" y="2069747"/>
                    <a:pt x="9134" y="2069747"/>
                  </a:cubicBezTo>
                  <a:cubicBezTo>
                    <a:pt x="4185" y="2069747"/>
                    <a:pt x="174" y="2065736"/>
                    <a:pt x="174" y="2060788"/>
                  </a:cubicBezTo>
                  <a:cubicBezTo>
                    <a:pt x="174" y="2055840"/>
                    <a:pt x="4185" y="2051829"/>
                    <a:pt x="9134" y="2051829"/>
                  </a:cubicBezTo>
                  <a:close/>
                  <a:moveTo>
                    <a:pt x="856018" y="2051828"/>
                  </a:moveTo>
                  <a:cubicBezTo>
                    <a:pt x="860966" y="2051828"/>
                    <a:pt x="864978" y="2055839"/>
                    <a:pt x="864978" y="2060787"/>
                  </a:cubicBezTo>
                  <a:cubicBezTo>
                    <a:pt x="864978" y="2065735"/>
                    <a:pt x="860966" y="2069747"/>
                    <a:pt x="856018" y="2069747"/>
                  </a:cubicBezTo>
                  <a:cubicBezTo>
                    <a:pt x="851066" y="2069747"/>
                    <a:pt x="847056" y="2065735"/>
                    <a:pt x="847056" y="2060787"/>
                  </a:cubicBezTo>
                  <a:cubicBezTo>
                    <a:pt x="847056" y="2055839"/>
                    <a:pt x="851066" y="2051828"/>
                    <a:pt x="856018" y="2051828"/>
                  </a:cubicBezTo>
                  <a:close/>
                  <a:moveTo>
                    <a:pt x="687280" y="2051828"/>
                  </a:moveTo>
                  <a:cubicBezTo>
                    <a:pt x="692228" y="2051828"/>
                    <a:pt x="696240" y="2055839"/>
                    <a:pt x="696240" y="2060788"/>
                  </a:cubicBezTo>
                  <a:cubicBezTo>
                    <a:pt x="696240" y="2065736"/>
                    <a:pt x="692228" y="2069747"/>
                    <a:pt x="687280" y="2069747"/>
                  </a:cubicBezTo>
                  <a:cubicBezTo>
                    <a:pt x="682331" y="2069747"/>
                    <a:pt x="678321" y="2065736"/>
                    <a:pt x="678321" y="2060788"/>
                  </a:cubicBezTo>
                  <a:cubicBezTo>
                    <a:pt x="678321" y="2055839"/>
                    <a:pt x="682331" y="2051828"/>
                    <a:pt x="687280" y="2051828"/>
                  </a:cubicBezTo>
                  <a:close/>
                  <a:moveTo>
                    <a:pt x="518504" y="2051828"/>
                  </a:moveTo>
                  <a:cubicBezTo>
                    <a:pt x="523452" y="2051828"/>
                    <a:pt x="527464" y="2055840"/>
                    <a:pt x="527464" y="2060788"/>
                  </a:cubicBezTo>
                  <a:cubicBezTo>
                    <a:pt x="527464" y="2065736"/>
                    <a:pt x="523452" y="2069747"/>
                    <a:pt x="518504" y="2069747"/>
                  </a:cubicBezTo>
                  <a:cubicBezTo>
                    <a:pt x="513555" y="2069747"/>
                    <a:pt x="509543" y="2065736"/>
                    <a:pt x="509543" y="2060788"/>
                  </a:cubicBezTo>
                  <a:cubicBezTo>
                    <a:pt x="509543" y="2055840"/>
                    <a:pt x="513555" y="2051828"/>
                    <a:pt x="518504" y="2051828"/>
                  </a:cubicBezTo>
                  <a:close/>
                  <a:moveTo>
                    <a:pt x="1024741" y="2051828"/>
                  </a:moveTo>
                  <a:cubicBezTo>
                    <a:pt x="1029693" y="2051828"/>
                    <a:pt x="1033709" y="2055839"/>
                    <a:pt x="1033709" y="2060787"/>
                  </a:cubicBezTo>
                  <a:cubicBezTo>
                    <a:pt x="1033709" y="2065735"/>
                    <a:pt x="1029693" y="2069746"/>
                    <a:pt x="1024741" y="2069746"/>
                  </a:cubicBezTo>
                  <a:cubicBezTo>
                    <a:pt x="1019793" y="2069746"/>
                    <a:pt x="1015781" y="2065735"/>
                    <a:pt x="1015781" y="2060787"/>
                  </a:cubicBezTo>
                  <a:cubicBezTo>
                    <a:pt x="1015781" y="2055839"/>
                    <a:pt x="1019793" y="2051828"/>
                    <a:pt x="1024741" y="2051828"/>
                  </a:cubicBezTo>
                  <a:close/>
                  <a:moveTo>
                    <a:pt x="1530993" y="2051828"/>
                  </a:moveTo>
                  <a:cubicBezTo>
                    <a:pt x="1535944" y="2051828"/>
                    <a:pt x="1539955" y="2055839"/>
                    <a:pt x="1539955" y="2060787"/>
                  </a:cubicBezTo>
                  <a:cubicBezTo>
                    <a:pt x="1539955" y="2065735"/>
                    <a:pt x="1535944" y="2069746"/>
                    <a:pt x="1530993" y="2069746"/>
                  </a:cubicBezTo>
                  <a:cubicBezTo>
                    <a:pt x="1526043" y="2069746"/>
                    <a:pt x="1522031" y="2065735"/>
                    <a:pt x="1522031" y="2060787"/>
                  </a:cubicBezTo>
                  <a:cubicBezTo>
                    <a:pt x="1522031" y="2055839"/>
                    <a:pt x="1526043" y="2051828"/>
                    <a:pt x="1530993" y="2051828"/>
                  </a:cubicBezTo>
                  <a:close/>
                  <a:moveTo>
                    <a:pt x="1362240" y="2051828"/>
                  </a:moveTo>
                  <a:cubicBezTo>
                    <a:pt x="1367194" y="2051828"/>
                    <a:pt x="1371202" y="2055839"/>
                    <a:pt x="1371202" y="2060787"/>
                  </a:cubicBezTo>
                  <a:cubicBezTo>
                    <a:pt x="1371202" y="2065735"/>
                    <a:pt x="1367194" y="2069746"/>
                    <a:pt x="1362240" y="2069746"/>
                  </a:cubicBezTo>
                  <a:cubicBezTo>
                    <a:pt x="1357291" y="2069746"/>
                    <a:pt x="1353279" y="2065735"/>
                    <a:pt x="1353279" y="2060787"/>
                  </a:cubicBezTo>
                  <a:cubicBezTo>
                    <a:pt x="1353279" y="2055839"/>
                    <a:pt x="1357291" y="2051828"/>
                    <a:pt x="1362240" y="2051828"/>
                  </a:cubicBezTo>
                  <a:close/>
                  <a:moveTo>
                    <a:pt x="1193498" y="2051828"/>
                  </a:moveTo>
                  <a:cubicBezTo>
                    <a:pt x="1198445" y="2051828"/>
                    <a:pt x="1202458" y="2055839"/>
                    <a:pt x="1202458" y="2060787"/>
                  </a:cubicBezTo>
                  <a:cubicBezTo>
                    <a:pt x="1202458" y="2065735"/>
                    <a:pt x="1198445" y="2069746"/>
                    <a:pt x="1193498" y="2069746"/>
                  </a:cubicBezTo>
                  <a:cubicBezTo>
                    <a:pt x="1188551" y="2069746"/>
                    <a:pt x="1184541" y="2065735"/>
                    <a:pt x="1184541" y="2060787"/>
                  </a:cubicBezTo>
                  <a:cubicBezTo>
                    <a:pt x="1184541" y="2055839"/>
                    <a:pt x="1188551" y="2051828"/>
                    <a:pt x="1193498" y="2051828"/>
                  </a:cubicBezTo>
                  <a:close/>
                  <a:moveTo>
                    <a:pt x="1699736" y="2051827"/>
                  </a:moveTo>
                  <a:cubicBezTo>
                    <a:pt x="1704688" y="2051827"/>
                    <a:pt x="1708705" y="2055839"/>
                    <a:pt x="1708705" y="2060787"/>
                  </a:cubicBezTo>
                  <a:cubicBezTo>
                    <a:pt x="1708705" y="2065735"/>
                    <a:pt x="1704688" y="2069746"/>
                    <a:pt x="1699736" y="2069746"/>
                  </a:cubicBezTo>
                  <a:cubicBezTo>
                    <a:pt x="1694780" y="2069746"/>
                    <a:pt x="1690766" y="2065735"/>
                    <a:pt x="1690766" y="2060787"/>
                  </a:cubicBezTo>
                  <a:cubicBezTo>
                    <a:pt x="1690766" y="2055839"/>
                    <a:pt x="1694780" y="2051827"/>
                    <a:pt x="1699736" y="2051827"/>
                  </a:cubicBezTo>
                  <a:close/>
                  <a:moveTo>
                    <a:pt x="2205934" y="2051827"/>
                  </a:moveTo>
                  <a:cubicBezTo>
                    <a:pt x="2210883" y="2051827"/>
                    <a:pt x="2214891" y="2055838"/>
                    <a:pt x="2214891" y="2060786"/>
                  </a:cubicBezTo>
                  <a:cubicBezTo>
                    <a:pt x="2214891" y="2065734"/>
                    <a:pt x="2210883" y="2069745"/>
                    <a:pt x="2205934" y="2069745"/>
                  </a:cubicBezTo>
                  <a:cubicBezTo>
                    <a:pt x="2200954" y="2069745"/>
                    <a:pt x="2196936" y="2065734"/>
                    <a:pt x="2196936" y="2060786"/>
                  </a:cubicBezTo>
                  <a:cubicBezTo>
                    <a:pt x="2196936" y="2055838"/>
                    <a:pt x="2200954" y="2051827"/>
                    <a:pt x="2205934" y="2051827"/>
                  </a:cubicBezTo>
                  <a:close/>
                  <a:moveTo>
                    <a:pt x="2037188" y="2051827"/>
                  </a:moveTo>
                  <a:cubicBezTo>
                    <a:pt x="2042150" y="2051827"/>
                    <a:pt x="2046130" y="2055838"/>
                    <a:pt x="2046130" y="2060786"/>
                  </a:cubicBezTo>
                  <a:cubicBezTo>
                    <a:pt x="2046130" y="2065734"/>
                    <a:pt x="2042150" y="2069746"/>
                    <a:pt x="2037188" y="2069746"/>
                  </a:cubicBezTo>
                  <a:cubicBezTo>
                    <a:pt x="2032253" y="2069746"/>
                    <a:pt x="2028255" y="2065734"/>
                    <a:pt x="2028255" y="2060786"/>
                  </a:cubicBezTo>
                  <a:cubicBezTo>
                    <a:pt x="2028255" y="2055838"/>
                    <a:pt x="2032253" y="2051827"/>
                    <a:pt x="2037188" y="2051827"/>
                  </a:cubicBezTo>
                  <a:close/>
                  <a:moveTo>
                    <a:pt x="1868489" y="2051827"/>
                  </a:moveTo>
                  <a:cubicBezTo>
                    <a:pt x="1873425" y="2051827"/>
                    <a:pt x="1877435" y="2055839"/>
                    <a:pt x="1877435" y="2060786"/>
                  </a:cubicBezTo>
                  <a:cubicBezTo>
                    <a:pt x="1877435" y="2065735"/>
                    <a:pt x="1873425" y="2069746"/>
                    <a:pt x="1868489" y="2069746"/>
                  </a:cubicBezTo>
                  <a:cubicBezTo>
                    <a:pt x="1863529" y="2069746"/>
                    <a:pt x="1859510" y="2065735"/>
                    <a:pt x="1859510" y="2060786"/>
                  </a:cubicBezTo>
                  <a:cubicBezTo>
                    <a:pt x="1859510" y="2055839"/>
                    <a:pt x="1863529" y="2051827"/>
                    <a:pt x="1868489" y="2051827"/>
                  </a:cubicBezTo>
                  <a:close/>
                  <a:moveTo>
                    <a:pt x="2374631" y="2051827"/>
                  </a:moveTo>
                  <a:cubicBezTo>
                    <a:pt x="2379597" y="2051827"/>
                    <a:pt x="2383646" y="2055838"/>
                    <a:pt x="2383646" y="2060786"/>
                  </a:cubicBezTo>
                  <a:cubicBezTo>
                    <a:pt x="2383646" y="2065734"/>
                    <a:pt x="2379597" y="2069745"/>
                    <a:pt x="2374631" y="2069745"/>
                  </a:cubicBezTo>
                  <a:cubicBezTo>
                    <a:pt x="2369679" y="2069745"/>
                    <a:pt x="2365667" y="2065734"/>
                    <a:pt x="2365667" y="2060786"/>
                  </a:cubicBezTo>
                  <a:cubicBezTo>
                    <a:pt x="2365667" y="2055838"/>
                    <a:pt x="2369679" y="2051827"/>
                    <a:pt x="2374631" y="2051827"/>
                  </a:cubicBezTo>
                  <a:close/>
                  <a:moveTo>
                    <a:pt x="2880885" y="2051826"/>
                  </a:moveTo>
                  <a:cubicBezTo>
                    <a:pt x="2885830" y="2051826"/>
                    <a:pt x="2889842" y="2055837"/>
                    <a:pt x="2889842" y="2060785"/>
                  </a:cubicBezTo>
                  <a:cubicBezTo>
                    <a:pt x="2889842" y="2065733"/>
                    <a:pt x="2885830" y="2069744"/>
                    <a:pt x="2880885" y="2069744"/>
                  </a:cubicBezTo>
                  <a:cubicBezTo>
                    <a:pt x="2875940" y="2069744"/>
                    <a:pt x="2871928" y="2065733"/>
                    <a:pt x="2871928" y="2060785"/>
                  </a:cubicBezTo>
                  <a:cubicBezTo>
                    <a:pt x="2871928" y="2055837"/>
                    <a:pt x="2875940" y="2051826"/>
                    <a:pt x="2880885" y="2051826"/>
                  </a:cubicBezTo>
                  <a:close/>
                  <a:moveTo>
                    <a:pt x="2712112" y="2051826"/>
                  </a:moveTo>
                  <a:cubicBezTo>
                    <a:pt x="2717088" y="2051826"/>
                    <a:pt x="2721095" y="2055837"/>
                    <a:pt x="2721095" y="2060785"/>
                  </a:cubicBezTo>
                  <a:cubicBezTo>
                    <a:pt x="2721095" y="2065733"/>
                    <a:pt x="2717088" y="2069745"/>
                    <a:pt x="2712112" y="2069745"/>
                  </a:cubicBezTo>
                  <a:cubicBezTo>
                    <a:pt x="2707177" y="2069745"/>
                    <a:pt x="2703156" y="2065733"/>
                    <a:pt x="2703156" y="2060785"/>
                  </a:cubicBezTo>
                  <a:cubicBezTo>
                    <a:pt x="2703156" y="2055837"/>
                    <a:pt x="2707177" y="2051826"/>
                    <a:pt x="2712112" y="2051826"/>
                  </a:cubicBezTo>
                  <a:close/>
                  <a:moveTo>
                    <a:pt x="2543436" y="2051826"/>
                  </a:moveTo>
                  <a:cubicBezTo>
                    <a:pt x="2548391" y="2051826"/>
                    <a:pt x="2552401" y="2055838"/>
                    <a:pt x="2552401" y="2060786"/>
                  </a:cubicBezTo>
                  <a:cubicBezTo>
                    <a:pt x="2552401" y="2065734"/>
                    <a:pt x="2548391" y="2069745"/>
                    <a:pt x="2543436" y="2069745"/>
                  </a:cubicBezTo>
                  <a:cubicBezTo>
                    <a:pt x="2538481" y="2069745"/>
                    <a:pt x="2534461" y="2065734"/>
                    <a:pt x="2534461" y="2060786"/>
                  </a:cubicBezTo>
                  <a:cubicBezTo>
                    <a:pt x="2534461" y="2055838"/>
                    <a:pt x="2538481" y="2051826"/>
                    <a:pt x="2543436" y="2051826"/>
                  </a:cubicBezTo>
                  <a:close/>
                  <a:moveTo>
                    <a:pt x="3049606" y="2051826"/>
                  </a:moveTo>
                  <a:cubicBezTo>
                    <a:pt x="3054546" y="2051826"/>
                    <a:pt x="3058558" y="2055837"/>
                    <a:pt x="3058558" y="2060785"/>
                  </a:cubicBezTo>
                  <a:cubicBezTo>
                    <a:pt x="3058558" y="2065733"/>
                    <a:pt x="3054546" y="2069744"/>
                    <a:pt x="3049606" y="2069744"/>
                  </a:cubicBezTo>
                  <a:cubicBezTo>
                    <a:pt x="3044654" y="2069744"/>
                    <a:pt x="3040636" y="2065733"/>
                    <a:pt x="3040636" y="2060785"/>
                  </a:cubicBezTo>
                  <a:cubicBezTo>
                    <a:pt x="3040636" y="2055837"/>
                    <a:pt x="3044654" y="2051826"/>
                    <a:pt x="3049606" y="2051826"/>
                  </a:cubicBezTo>
                  <a:close/>
                  <a:moveTo>
                    <a:pt x="3555688" y="2051825"/>
                  </a:moveTo>
                  <a:cubicBezTo>
                    <a:pt x="3560637" y="2051825"/>
                    <a:pt x="3564649" y="2055836"/>
                    <a:pt x="3564649" y="2060785"/>
                  </a:cubicBezTo>
                  <a:cubicBezTo>
                    <a:pt x="3564649" y="2065732"/>
                    <a:pt x="3560637" y="2069743"/>
                    <a:pt x="3555688" y="2069743"/>
                  </a:cubicBezTo>
                  <a:cubicBezTo>
                    <a:pt x="3550740" y="2069743"/>
                    <a:pt x="3546728" y="2065732"/>
                    <a:pt x="3546728" y="2060785"/>
                  </a:cubicBezTo>
                  <a:cubicBezTo>
                    <a:pt x="3546728" y="2055836"/>
                    <a:pt x="3550740" y="2051825"/>
                    <a:pt x="3555688" y="2051825"/>
                  </a:cubicBezTo>
                  <a:close/>
                  <a:moveTo>
                    <a:pt x="3387061" y="2051825"/>
                  </a:moveTo>
                  <a:cubicBezTo>
                    <a:pt x="3392022" y="2051825"/>
                    <a:pt x="3396034" y="2055836"/>
                    <a:pt x="3396034" y="2060785"/>
                  </a:cubicBezTo>
                  <a:cubicBezTo>
                    <a:pt x="3396034" y="2065732"/>
                    <a:pt x="3392022" y="2069744"/>
                    <a:pt x="3387061" y="2069744"/>
                  </a:cubicBezTo>
                  <a:cubicBezTo>
                    <a:pt x="3382062" y="2069744"/>
                    <a:pt x="3378050" y="2065732"/>
                    <a:pt x="3378050" y="2060785"/>
                  </a:cubicBezTo>
                  <a:cubicBezTo>
                    <a:pt x="3378050" y="2055836"/>
                    <a:pt x="3382062" y="2051825"/>
                    <a:pt x="3387061" y="2051825"/>
                  </a:cubicBezTo>
                  <a:close/>
                  <a:moveTo>
                    <a:pt x="3218304" y="2051825"/>
                  </a:moveTo>
                  <a:cubicBezTo>
                    <a:pt x="3223272" y="2051825"/>
                    <a:pt x="3227283" y="2055837"/>
                    <a:pt x="3227283" y="2060785"/>
                  </a:cubicBezTo>
                  <a:cubicBezTo>
                    <a:pt x="3227283" y="2065733"/>
                    <a:pt x="3223272" y="2069744"/>
                    <a:pt x="3218304" y="2069744"/>
                  </a:cubicBezTo>
                  <a:cubicBezTo>
                    <a:pt x="3213338" y="2069744"/>
                    <a:pt x="3209333" y="2065733"/>
                    <a:pt x="3209333" y="2060785"/>
                  </a:cubicBezTo>
                  <a:cubicBezTo>
                    <a:pt x="3209333" y="2055837"/>
                    <a:pt x="3213338" y="2051825"/>
                    <a:pt x="3218304" y="2051825"/>
                  </a:cubicBezTo>
                  <a:close/>
                  <a:moveTo>
                    <a:pt x="3724429" y="2051825"/>
                  </a:moveTo>
                  <a:cubicBezTo>
                    <a:pt x="3729378" y="2051825"/>
                    <a:pt x="3733390" y="2055836"/>
                    <a:pt x="3733390" y="2060785"/>
                  </a:cubicBezTo>
                  <a:cubicBezTo>
                    <a:pt x="3733390" y="2065732"/>
                    <a:pt x="3729378" y="2069743"/>
                    <a:pt x="3724429" y="2069743"/>
                  </a:cubicBezTo>
                  <a:cubicBezTo>
                    <a:pt x="3719481" y="2069743"/>
                    <a:pt x="3715469" y="2065732"/>
                    <a:pt x="3715469" y="2060785"/>
                  </a:cubicBezTo>
                  <a:cubicBezTo>
                    <a:pt x="3715469" y="2055836"/>
                    <a:pt x="3719481" y="2051825"/>
                    <a:pt x="3724429" y="2051825"/>
                  </a:cubicBezTo>
                  <a:close/>
                  <a:moveTo>
                    <a:pt x="4230654" y="2051824"/>
                  </a:moveTo>
                  <a:cubicBezTo>
                    <a:pt x="4235603" y="2051824"/>
                    <a:pt x="4239615" y="2055836"/>
                    <a:pt x="4239615" y="2060784"/>
                  </a:cubicBezTo>
                  <a:cubicBezTo>
                    <a:pt x="4239615" y="2065732"/>
                    <a:pt x="4235603" y="2069743"/>
                    <a:pt x="4230654" y="2069743"/>
                  </a:cubicBezTo>
                  <a:cubicBezTo>
                    <a:pt x="4225705" y="2069743"/>
                    <a:pt x="4221694" y="2065732"/>
                    <a:pt x="4221694" y="2060784"/>
                  </a:cubicBezTo>
                  <a:cubicBezTo>
                    <a:pt x="4221694" y="2055836"/>
                    <a:pt x="4225705" y="2051824"/>
                    <a:pt x="4230654" y="2051824"/>
                  </a:cubicBezTo>
                  <a:close/>
                  <a:moveTo>
                    <a:pt x="4061912" y="2051824"/>
                  </a:moveTo>
                  <a:cubicBezTo>
                    <a:pt x="4066861" y="2051824"/>
                    <a:pt x="4070873" y="2055836"/>
                    <a:pt x="4070873" y="2060784"/>
                  </a:cubicBezTo>
                  <a:cubicBezTo>
                    <a:pt x="4070873" y="2065732"/>
                    <a:pt x="4066861" y="2069743"/>
                    <a:pt x="4061912" y="2069743"/>
                  </a:cubicBezTo>
                  <a:cubicBezTo>
                    <a:pt x="4056963" y="2069743"/>
                    <a:pt x="4052952" y="2065732"/>
                    <a:pt x="4052952" y="2060784"/>
                  </a:cubicBezTo>
                  <a:cubicBezTo>
                    <a:pt x="4052952" y="2055836"/>
                    <a:pt x="4056963" y="2051824"/>
                    <a:pt x="4061912" y="2051824"/>
                  </a:cubicBezTo>
                  <a:close/>
                  <a:moveTo>
                    <a:pt x="3893170" y="2051824"/>
                  </a:moveTo>
                  <a:cubicBezTo>
                    <a:pt x="3898119" y="2051824"/>
                    <a:pt x="3902131" y="2055836"/>
                    <a:pt x="3902131" y="2060784"/>
                  </a:cubicBezTo>
                  <a:cubicBezTo>
                    <a:pt x="3902131" y="2065732"/>
                    <a:pt x="3898119" y="2069743"/>
                    <a:pt x="3893170" y="2069743"/>
                  </a:cubicBezTo>
                  <a:cubicBezTo>
                    <a:pt x="3888221" y="2069743"/>
                    <a:pt x="3884210" y="2065732"/>
                    <a:pt x="3884210" y="2060784"/>
                  </a:cubicBezTo>
                  <a:cubicBezTo>
                    <a:pt x="3884210" y="2055836"/>
                    <a:pt x="3888221" y="2051824"/>
                    <a:pt x="3893170" y="2051824"/>
                  </a:cubicBezTo>
                  <a:close/>
                  <a:moveTo>
                    <a:pt x="4736878" y="2051824"/>
                  </a:moveTo>
                  <a:cubicBezTo>
                    <a:pt x="4741827" y="2051824"/>
                    <a:pt x="4745839" y="2055835"/>
                    <a:pt x="4745839" y="2060783"/>
                  </a:cubicBezTo>
                  <a:cubicBezTo>
                    <a:pt x="4745839" y="2065731"/>
                    <a:pt x="4741827" y="2069742"/>
                    <a:pt x="4736878" y="2069742"/>
                  </a:cubicBezTo>
                  <a:cubicBezTo>
                    <a:pt x="4731929" y="2069742"/>
                    <a:pt x="4727918" y="2065731"/>
                    <a:pt x="4727918" y="2060783"/>
                  </a:cubicBezTo>
                  <a:cubicBezTo>
                    <a:pt x="4727918" y="2055835"/>
                    <a:pt x="4731929" y="2051824"/>
                    <a:pt x="4736878" y="2051824"/>
                  </a:cubicBezTo>
                  <a:close/>
                  <a:moveTo>
                    <a:pt x="4568137" y="2051824"/>
                  </a:moveTo>
                  <a:cubicBezTo>
                    <a:pt x="4573086" y="2051824"/>
                    <a:pt x="4577098" y="2055835"/>
                    <a:pt x="4577098" y="2060783"/>
                  </a:cubicBezTo>
                  <a:cubicBezTo>
                    <a:pt x="4577098" y="2065731"/>
                    <a:pt x="4573086" y="2069742"/>
                    <a:pt x="4568137" y="2069742"/>
                  </a:cubicBezTo>
                  <a:cubicBezTo>
                    <a:pt x="4563188" y="2069742"/>
                    <a:pt x="4559177" y="2065731"/>
                    <a:pt x="4559177" y="2060783"/>
                  </a:cubicBezTo>
                  <a:cubicBezTo>
                    <a:pt x="4559177" y="2055835"/>
                    <a:pt x="4563188" y="2051824"/>
                    <a:pt x="4568137" y="2051824"/>
                  </a:cubicBezTo>
                  <a:close/>
                  <a:moveTo>
                    <a:pt x="4399396" y="2051824"/>
                  </a:moveTo>
                  <a:cubicBezTo>
                    <a:pt x="4404345" y="2051824"/>
                    <a:pt x="4408357" y="2055836"/>
                    <a:pt x="4408357" y="2060784"/>
                  </a:cubicBezTo>
                  <a:cubicBezTo>
                    <a:pt x="4408357" y="2065732"/>
                    <a:pt x="4404345" y="2069742"/>
                    <a:pt x="4399396" y="2069742"/>
                  </a:cubicBezTo>
                  <a:cubicBezTo>
                    <a:pt x="4394447" y="2069742"/>
                    <a:pt x="4390436" y="2065732"/>
                    <a:pt x="4390436" y="2060784"/>
                  </a:cubicBezTo>
                  <a:cubicBezTo>
                    <a:pt x="4390436" y="2055836"/>
                    <a:pt x="4394447" y="2051824"/>
                    <a:pt x="4399396" y="2051824"/>
                  </a:cubicBezTo>
                  <a:close/>
                  <a:moveTo>
                    <a:pt x="4905620" y="2051824"/>
                  </a:moveTo>
                  <a:cubicBezTo>
                    <a:pt x="4910569" y="2051824"/>
                    <a:pt x="4914581" y="2055835"/>
                    <a:pt x="4914581" y="2060783"/>
                  </a:cubicBezTo>
                  <a:cubicBezTo>
                    <a:pt x="4914581" y="2065731"/>
                    <a:pt x="4910569" y="2069742"/>
                    <a:pt x="4905620" y="2069742"/>
                  </a:cubicBezTo>
                  <a:cubicBezTo>
                    <a:pt x="4900671" y="2069742"/>
                    <a:pt x="4896660" y="2065731"/>
                    <a:pt x="4896660" y="2060783"/>
                  </a:cubicBezTo>
                  <a:cubicBezTo>
                    <a:pt x="4896660" y="2055835"/>
                    <a:pt x="4900671" y="2051824"/>
                    <a:pt x="4905620" y="2051824"/>
                  </a:cubicBezTo>
                  <a:close/>
                  <a:moveTo>
                    <a:pt x="5411845" y="2051823"/>
                  </a:moveTo>
                  <a:cubicBezTo>
                    <a:pt x="5416794" y="2051823"/>
                    <a:pt x="5420806" y="2055834"/>
                    <a:pt x="5420806" y="2060782"/>
                  </a:cubicBezTo>
                  <a:cubicBezTo>
                    <a:pt x="5420806" y="2065730"/>
                    <a:pt x="5416794" y="2069742"/>
                    <a:pt x="5411845" y="2069742"/>
                  </a:cubicBezTo>
                  <a:cubicBezTo>
                    <a:pt x="5406896" y="2069742"/>
                    <a:pt x="5402885" y="2065730"/>
                    <a:pt x="5402885" y="2060782"/>
                  </a:cubicBezTo>
                  <a:cubicBezTo>
                    <a:pt x="5402885" y="2055834"/>
                    <a:pt x="5406896" y="2051823"/>
                    <a:pt x="5411845" y="2051823"/>
                  </a:cubicBezTo>
                  <a:close/>
                  <a:moveTo>
                    <a:pt x="5243103" y="2051823"/>
                  </a:moveTo>
                  <a:cubicBezTo>
                    <a:pt x="5248052" y="2051823"/>
                    <a:pt x="5252064" y="2055835"/>
                    <a:pt x="5252064" y="2060782"/>
                  </a:cubicBezTo>
                  <a:cubicBezTo>
                    <a:pt x="5252064" y="2065731"/>
                    <a:pt x="5248052" y="2069742"/>
                    <a:pt x="5243103" y="2069742"/>
                  </a:cubicBezTo>
                  <a:cubicBezTo>
                    <a:pt x="5238154" y="2069742"/>
                    <a:pt x="5234143" y="2065731"/>
                    <a:pt x="5234143" y="2060782"/>
                  </a:cubicBezTo>
                  <a:cubicBezTo>
                    <a:pt x="5234143" y="2055835"/>
                    <a:pt x="5238154" y="2051823"/>
                    <a:pt x="5243103" y="2051823"/>
                  </a:cubicBezTo>
                  <a:close/>
                  <a:moveTo>
                    <a:pt x="5074362" y="2051823"/>
                  </a:moveTo>
                  <a:cubicBezTo>
                    <a:pt x="5079311" y="2051823"/>
                    <a:pt x="5083323" y="2055835"/>
                    <a:pt x="5083323" y="2060783"/>
                  </a:cubicBezTo>
                  <a:cubicBezTo>
                    <a:pt x="5083323" y="2065731"/>
                    <a:pt x="5079311" y="2069742"/>
                    <a:pt x="5074362" y="2069742"/>
                  </a:cubicBezTo>
                  <a:cubicBezTo>
                    <a:pt x="5069413" y="2069742"/>
                    <a:pt x="5065402" y="2065731"/>
                    <a:pt x="5065402" y="2060783"/>
                  </a:cubicBezTo>
                  <a:cubicBezTo>
                    <a:pt x="5065402" y="2055835"/>
                    <a:pt x="5069413" y="2051823"/>
                    <a:pt x="5074362" y="2051823"/>
                  </a:cubicBezTo>
                  <a:close/>
                  <a:moveTo>
                    <a:pt x="5580586" y="2051823"/>
                  </a:moveTo>
                  <a:cubicBezTo>
                    <a:pt x="5585535" y="2051823"/>
                    <a:pt x="5589547" y="2055834"/>
                    <a:pt x="5589547" y="2060782"/>
                  </a:cubicBezTo>
                  <a:cubicBezTo>
                    <a:pt x="5589547" y="2065730"/>
                    <a:pt x="5585535" y="2069741"/>
                    <a:pt x="5580586" y="2069741"/>
                  </a:cubicBezTo>
                  <a:cubicBezTo>
                    <a:pt x="5575637" y="2069741"/>
                    <a:pt x="5571626" y="2065730"/>
                    <a:pt x="5571626" y="2060782"/>
                  </a:cubicBezTo>
                  <a:cubicBezTo>
                    <a:pt x="5571626" y="2055834"/>
                    <a:pt x="5575637" y="2051823"/>
                    <a:pt x="5580586" y="2051823"/>
                  </a:cubicBezTo>
                  <a:close/>
                  <a:moveTo>
                    <a:pt x="6086811" y="2051823"/>
                  </a:moveTo>
                  <a:cubicBezTo>
                    <a:pt x="6091760" y="2051823"/>
                    <a:pt x="6095772" y="2055833"/>
                    <a:pt x="6095772" y="2060781"/>
                  </a:cubicBezTo>
                  <a:cubicBezTo>
                    <a:pt x="6095772" y="2065729"/>
                    <a:pt x="6091760" y="2069741"/>
                    <a:pt x="6086811" y="2069741"/>
                  </a:cubicBezTo>
                  <a:cubicBezTo>
                    <a:pt x="6081862" y="2069741"/>
                    <a:pt x="6077851" y="2065729"/>
                    <a:pt x="6077851" y="2060781"/>
                  </a:cubicBezTo>
                  <a:cubicBezTo>
                    <a:pt x="6077851" y="2055833"/>
                    <a:pt x="6081862" y="2051823"/>
                    <a:pt x="6086811" y="2051823"/>
                  </a:cubicBezTo>
                  <a:close/>
                  <a:moveTo>
                    <a:pt x="5918069" y="2051823"/>
                  </a:moveTo>
                  <a:cubicBezTo>
                    <a:pt x="5923018" y="2051823"/>
                    <a:pt x="5927030" y="2055834"/>
                    <a:pt x="5927030" y="2060782"/>
                  </a:cubicBezTo>
                  <a:cubicBezTo>
                    <a:pt x="5927030" y="2065730"/>
                    <a:pt x="5923018" y="2069741"/>
                    <a:pt x="5918069" y="2069741"/>
                  </a:cubicBezTo>
                  <a:cubicBezTo>
                    <a:pt x="5913120" y="2069741"/>
                    <a:pt x="5909109" y="2065730"/>
                    <a:pt x="5909109" y="2060782"/>
                  </a:cubicBezTo>
                  <a:cubicBezTo>
                    <a:pt x="5909109" y="2055834"/>
                    <a:pt x="5913120" y="2051823"/>
                    <a:pt x="5918069" y="2051823"/>
                  </a:cubicBezTo>
                  <a:close/>
                  <a:moveTo>
                    <a:pt x="5749328" y="2051823"/>
                  </a:moveTo>
                  <a:cubicBezTo>
                    <a:pt x="5754277" y="2051823"/>
                    <a:pt x="5758289" y="2055834"/>
                    <a:pt x="5758289" y="2060782"/>
                  </a:cubicBezTo>
                  <a:cubicBezTo>
                    <a:pt x="5758289" y="2065730"/>
                    <a:pt x="5754277" y="2069741"/>
                    <a:pt x="5749328" y="2069741"/>
                  </a:cubicBezTo>
                  <a:cubicBezTo>
                    <a:pt x="5744379" y="2069741"/>
                    <a:pt x="5740368" y="2065730"/>
                    <a:pt x="5740368" y="2060782"/>
                  </a:cubicBezTo>
                  <a:cubicBezTo>
                    <a:pt x="5740368" y="2055834"/>
                    <a:pt x="5744379" y="2051823"/>
                    <a:pt x="5749328" y="2051823"/>
                  </a:cubicBezTo>
                  <a:close/>
                  <a:moveTo>
                    <a:pt x="6255553" y="2051822"/>
                  </a:moveTo>
                  <a:cubicBezTo>
                    <a:pt x="6260502" y="2051822"/>
                    <a:pt x="6264514" y="2055833"/>
                    <a:pt x="6264514" y="2060781"/>
                  </a:cubicBezTo>
                  <a:cubicBezTo>
                    <a:pt x="6264514" y="2065729"/>
                    <a:pt x="6260502" y="2069740"/>
                    <a:pt x="6255553" y="2069740"/>
                  </a:cubicBezTo>
                  <a:cubicBezTo>
                    <a:pt x="6250604" y="2069740"/>
                    <a:pt x="6246593" y="2065729"/>
                    <a:pt x="6246593" y="2060781"/>
                  </a:cubicBezTo>
                  <a:cubicBezTo>
                    <a:pt x="6246593" y="2055833"/>
                    <a:pt x="6250604" y="2051822"/>
                    <a:pt x="6255553" y="2051822"/>
                  </a:cubicBezTo>
                  <a:close/>
                  <a:moveTo>
                    <a:pt x="6763357" y="2051822"/>
                  </a:moveTo>
                  <a:cubicBezTo>
                    <a:pt x="6768306" y="2051822"/>
                    <a:pt x="6772318" y="2055832"/>
                    <a:pt x="6772318" y="2060781"/>
                  </a:cubicBezTo>
                  <a:cubicBezTo>
                    <a:pt x="6772318" y="2065728"/>
                    <a:pt x="6768306" y="2069740"/>
                    <a:pt x="6763357" y="2069740"/>
                  </a:cubicBezTo>
                  <a:cubicBezTo>
                    <a:pt x="6758408" y="2069740"/>
                    <a:pt x="6754397" y="2065728"/>
                    <a:pt x="6754397" y="2060781"/>
                  </a:cubicBezTo>
                  <a:cubicBezTo>
                    <a:pt x="6754397" y="2055832"/>
                    <a:pt x="6758408" y="2051822"/>
                    <a:pt x="6763357" y="2051822"/>
                  </a:cubicBezTo>
                  <a:close/>
                  <a:moveTo>
                    <a:pt x="6593035" y="2051822"/>
                  </a:moveTo>
                  <a:cubicBezTo>
                    <a:pt x="6597984" y="2051822"/>
                    <a:pt x="6601996" y="2055833"/>
                    <a:pt x="6601996" y="2060781"/>
                  </a:cubicBezTo>
                  <a:cubicBezTo>
                    <a:pt x="6601996" y="2065729"/>
                    <a:pt x="6597984" y="2069740"/>
                    <a:pt x="6593035" y="2069740"/>
                  </a:cubicBezTo>
                  <a:cubicBezTo>
                    <a:pt x="6588086" y="2069740"/>
                    <a:pt x="6584075" y="2065729"/>
                    <a:pt x="6584075" y="2060781"/>
                  </a:cubicBezTo>
                  <a:cubicBezTo>
                    <a:pt x="6584075" y="2055833"/>
                    <a:pt x="6588086" y="2051822"/>
                    <a:pt x="6593035" y="2051822"/>
                  </a:cubicBezTo>
                  <a:close/>
                  <a:moveTo>
                    <a:pt x="6424294" y="2051822"/>
                  </a:moveTo>
                  <a:cubicBezTo>
                    <a:pt x="6429243" y="2051822"/>
                    <a:pt x="6433255" y="2055833"/>
                    <a:pt x="6433255" y="2060781"/>
                  </a:cubicBezTo>
                  <a:cubicBezTo>
                    <a:pt x="6433255" y="2065729"/>
                    <a:pt x="6429243" y="2069740"/>
                    <a:pt x="6424294" y="2069740"/>
                  </a:cubicBezTo>
                  <a:cubicBezTo>
                    <a:pt x="6419345" y="2069740"/>
                    <a:pt x="6415334" y="2065729"/>
                    <a:pt x="6415334" y="2060781"/>
                  </a:cubicBezTo>
                  <a:cubicBezTo>
                    <a:pt x="6415334" y="2055833"/>
                    <a:pt x="6419345" y="2051822"/>
                    <a:pt x="6424294" y="2051822"/>
                  </a:cubicBezTo>
                  <a:close/>
                  <a:moveTo>
                    <a:pt x="6933679" y="2051821"/>
                  </a:moveTo>
                  <a:cubicBezTo>
                    <a:pt x="6938628" y="2051821"/>
                    <a:pt x="6942639" y="2055832"/>
                    <a:pt x="6942639" y="2060781"/>
                  </a:cubicBezTo>
                  <a:cubicBezTo>
                    <a:pt x="6942639" y="2065728"/>
                    <a:pt x="6938628" y="2069740"/>
                    <a:pt x="6933679" y="2069740"/>
                  </a:cubicBezTo>
                  <a:cubicBezTo>
                    <a:pt x="6928730" y="2069740"/>
                    <a:pt x="6924718" y="2065728"/>
                    <a:pt x="6924718" y="2060781"/>
                  </a:cubicBezTo>
                  <a:cubicBezTo>
                    <a:pt x="6924718" y="2055832"/>
                    <a:pt x="6928730" y="2051821"/>
                    <a:pt x="6933679" y="2051821"/>
                  </a:cubicBezTo>
                  <a:close/>
                  <a:moveTo>
                    <a:pt x="349770" y="1880882"/>
                  </a:moveTo>
                  <a:cubicBezTo>
                    <a:pt x="354719" y="1880882"/>
                    <a:pt x="358731" y="1884894"/>
                    <a:pt x="358731" y="1889842"/>
                  </a:cubicBezTo>
                  <a:cubicBezTo>
                    <a:pt x="358731" y="1894790"/>
                    <a:pt x="354719" y="1898801"/>
                    <a:pt x="349770" y="1898801"/>
                  </a:cubicBezTo>
                  <a:cubicBezTo>
                    <a:pt x="344823" y="1898801"/>
                    <a:pt x="340811" y="1894790"/>
                    <a:pt x="340811" y="1889842"/>
                  </a:cubicBezTo>
                  <a:cubicBezTo>
                    <a:pt x="340811" y="1884894"/>
                    <a:pt x="344823" y="1880882"/>
                    <a:pt x="349770" y="1880882"/>
                  </a:cubicBezTo>
                  <a:close/>
                  <a:moveTo>
                    <a:pt x="179453" y="1880882"/>
                  </a:moveTo>
                  <a:cubicBezTo>
                    <a:pt x="184402" y="1880882"/>
                    <a:pt x="188414" y="1884893"/>
                    <a:pt x="188414" y="1889841"/>
                  </a:cubicBezTo>
                  <a:cubicBezTo>
                    <a:pt x="188414" y="1894790"/>
                    <a:pt x="184402" y="1898801"/>
                    <a:pt x="179453" y="1898801"/>
                  </a:cubicBezTo>
                  <a:cubicBezTo>
                    <a:pt x="174505" y="1898801"/>
                    <a:pt x="170493" y="1894790"/>
                    <a:pt x="170493" y="1889841"/>
                  </a:cubicBezTo>
                  <a:cubicBezTo>
                    <a:pt x="170493" y="1884893"/>
                    <a:pt x="174505" y="1880882"/>
                    <a:pt x="179453" y="1880882"/>
                  </a:cubicBezTo>
                  <a:close/>
                  <a:moveTo>
                    <a:pt x="9138" y="1880882"/>
                  </a:moveTo>
                  <a:cubicBezTo>
                    <a:pt x="14086" y="1880882"/>
                    <a:pt x="18097" y="1884893"/>
                    <a:pt x="18097" y="1889841"/>
                  </a:cubicBezTo>
                  <a:cubicBezTo>
                    <a:pt x="18097" y="1894789"/>
                    <a:pt x="14086" y="1898801"/>
                    <a:pt x="9138" y="1898801"/>
                  </a:cubicBezTo>
                  <a:cubicBezTo>
                    <a:pt x="4189" y="1898801"/>
                    <a:pt x="178" y="1894789"/>
                    <a:pt x="178" y="1889841"/>
                  </a:cubicBezTo>
                  <a:cubicBezTo>
                    <a:pt x="178" y="1884893"/>
                    <a:pt x="4189" y="1880882"/>
                    <a:pt x="9138" y="1880882"/>
                  </a:cubicBezTo>
                  <a:close/>
                  <a:moveTo>
                    <a:pt x="518508" y="1880882"/>
                  </a:moveTo>
                  <a:cubicBezTo>
                    <a:pt x="523456" y="1880882"/>
                    <a:pt x="527468" y="1884893"/>
                    <a:pt x="527468" y="1889841"/>
                  </a:cubicBezTo>
                  <a:cubicBezTo>
                    <a:pt x="527468" y="1894789"/>
                    <a:pt x="523456" y="1898800"/>
                    <a:pt x="518508" y="1898800"/>
                  </a:cubicBezTo>
                  <a:cubicBezTo>
                    <a:pt x="513559" y="1898800"/>
                    <a:pt x="509547" y="1894789"/>
                    <a:pt x="509547" y="1889841"/>
                  </a:cubicBezTo>
                  <a:cubicBezTo>
                    <a:pt x="509547" y="1884893"/>
                    <a:pt x="513559" y="1880882"/>
                    <a:pt x="518508" y="1880882"/>
                  </a:cubicBezTo>
                  <a:close/>
                  <a:moveTo>
                    <a:pt x="1024746" y="1880882"/>
                  </a:moveTo>
                  <a:cubicBezTo>
                    <a:pt x="1029698" y="1880882"/>
                    <a:pt x="1033713" y="1884893"/>
                    <a:pt x="1033713" y="1889840"/>
                  </a:cubicBezTo>
                  <a:cubicBezTo>
                    <a:pt x="1033713" y="1894788"/>
                    <a:pt x="1029698" y="1898800"/>
                    <a:pt x="1024746" y="1898800"/>
                  </a:cubicBezTo>
                  <a:cubicBezTo>
                    <a:pt x="1019797" y="1898800"/>
                    <a:pt x="1015786" y="1894788"/>
                    <a:pt x="1015786" y="1889840"/>
                  </a:cubicBezTo>
                  <a:cubicBezTo>
                    <a:pt x="1015786" y="1884893"/>
                    <a:pt x="1019797" y="1880882"/>
                    <a:pt x="1024746" y="1880882"/>
                  </a:cubicBezTo>
                  <a:close/>
                  <a:moveTo>
                    <a:pt x="856022" y="1880882"/>
                  </a:moveTo>
                  <a:cubicBezTo>
                    <a:pt x="860970" y="1880882"/>
                    <a:pt x="864983" y="1884893"/>
                    <a:pt x="864983" y="1889841"/>
                  </a:cubicBezTo>
                  <a:cubicBezTo>
                    <a:pt x="864983" y="1894789"/>
                    <a:pt x="860970" y="1898800"/>
                    <a:pt x="856022" y="1898800"/>
                  </a:cubicBezTo>
                  <a:cubicBezTo>
                    <a:pt x="851071" y="1898800"/>
                    <a:pt x="847061" y="1894789"/>
                    <a:pt x="847061" y="1889841"/>
                  </a:cubicBezTo>
                  <a:cubicBezTo>
                    <a:pt x="847061" y="1884893"/>
                    <a:pt x="851071" y="1880882"/>
                    <a:pt x="856022" y="1880882"/>
                  </a:cubicBezTo>
                  <a:close/>
                  <a:moveTo>
                    <a:pt x="687284" y="1880882"/>
                  </a:moveTo>
                  <a:cubicBezTo>
                    <a:pt x="692233" y="1880882"/>
                    <a:pt x="696244" y="1884893"/>
                    <a:pt x="696244" y="1889841"/>
                  </a:cubicBezTo>
                  <a:cubicBezTo>
                    <a:pt x="696244" y="1894789"/>
                    <a:pt x="692233" y="1898800"/>
                    <a:pt x="687284" y="1898800"/>
                  </a:cubicBezTo>
                  <a:cubicBezTo>
                    <a:pt x="682336" y="1898800"/>
                    <a:pt x="678326" y="1894789"/>
                    <a:pt x="678326" y="1889841"/>
                  </a:cubicBezTo>
                  <a:cubicBezTo>
                    <a:pt x="678326" y="1884893"/>
                    <a:pt x="682336" y="1880882"/>
                    <a:pt x="687284" y="1880882"/>
                  </a:cubicBezTo>
                  <a:close/>
                  <a:moveTo>
                    <a:pt x="1193502" y="1880881"/>
                  </a:moveTo>
                  <a:cubicBezTo>
                    <a:pt x="1198450" y="1880881"/>
                    <a:pt x="1202463" y="1884893"/>
                    <a:pt x="1202463" y="1889840"/>
                  </a:cubicBezTo>
                  <a:cubicBezTo>
                    <a:pt x="1202463" y="1894788"/>
                    <a:pt x="1198450" y="1898799"/>
                    <a:pt x="1193502" y="1898799"/>
                  </a:cubicBezTo>
                  <a:cubicBezTo>
                    <a:pt x="1188555" y="1898799"/>
                    <a:pt x="1184545" y="1894788"/>
                    <a:pt x="1184545" y="1889840"/>
                  </a:cubicBezTo>
                  <a:cubicBezTo>
                    <a:pt x="1184545" y="1884893"/>
                    <a:pt x="1188555" y="1880881"/>
                    <a:pt x="1193502" y="1880881"/>
                  </a:cubicBezTo>
                  <a:close/>
                  <a:moveTo>
                    <a:pt x="1699741" y="1880881"/>
                  </a:moveTo>
                  <a:cubicBezTo>
                    <a:pt x="1704693" y="1880881"/>
                    <a:pt x="1708710" y="1884891"/>
                    <a:pt x="1708710" y="1889840"/>
                  </a:cubicBezTo>
                  <a:cubicBezTo>
                    <a:pt x="1708710" y="1894787"/>
                    <a:pt x="1704693" y="1898799"/>
                    <a:pt x="1699741" y="1898799"/>
                  </a:cubicBezTo>
                  <a:cubicBezTo>
                    <a:pt x="1694784" y="1898799"/>
                    <a:pt x="1690770" y="1894787"/>
                    <a:pt x="1690770" y="1889840"/>
                  </a:cubicBezTo>
                  <a:cubicBezTo>
                    <a:pt x="1690770" y="1884891"/>
                    <a:pt x="1694784" y="1880881"/>
                    <a:pt x="1699741" y="1880881"/>
                  </a:cubicBezTo>
                  <a:close/>
                  <a:moveTo>
                    <a:pt x="1530998" y="1880881"/>
                  </a:moveTo>
                  <a:cubicBezTo>
                    <a:pt x="1535948" y="1880881"/>
                    <a:pt x="1539960" y="1884892"/>
                    <a:pt x="1539960" y="1889840"/>
                  </a:cubicBezTo>
                  <a:cubicBezTo>
                    <a:pt x="1539960" y="1894788"/>
                    <a:pt x="1535948" y="1898799"/>
                    <a:pt x="1530998" y="1898799"/>
                  </a:cubicBezTo>
                  <a:cubicBezTo>
                    <a:pt x="1526048" y="1898799"/>
                    <a:pt x="1522036" y="1894788"/>
                    <a:pt x="1522036" y="1889840"/>
                  </a:cubicBezTo>
                  <a:cubicBezTo>
                    <a:pt x="1522036" y="1884892"/>
                    <a:pt x="1526048" y="1880881"/>
                    <a:pt x="1530998" y="1880881"/>
                  </a:cubicBezTo>
                  <a:close/>
                  <a:moveTo>
                    <a:pt x="1362244" y="1880881"/>
                  </a:moveTo>
                  <a:cubicBezTo>
                    <a:pt x="1367199" y="1880881"/>
                    <a:pt x="1371207" y="1884892"/>
                    <a:pt x="1371207" y="1889840"/>
                  </a:cubicBezTo>
                  <a:cubicBezTo>
                    <a:pt x="1371207" y="1894788"/>
                    <a:pt x="1367199" y="1898799"/>
                    <a:pt x="1362244" y="1898799"/>
                  </a:cubicBezTo>
                  <a:cubicBezTo>
                    <a:pt x="1357295" y="1898799"/>
                    <a:pt x="1353283" y="1894788"/>
                    <a:pt x="1353283" y="1889840"/>
                  </a:cubicBezTo>
                  <a:cubicBezTo>
                    <a:pt x="1353283" y="1884892"/>
                    <a:pt x="1357295" y="1880881"/>
                    <a:pt x="1362244" y="1880881"/>
                  </a:cubicBezTo>
                  <a:close/>
                  <a:moveTo>
                    <a:pt x="1868494" y="1880880"/>
                  </a:moveTo>
                  <a:cubicBezTo>
                    <a:pt x="1873430" y="1880880"/>
                    <a:pt x="1877440" y="1884891"/>
                    <a:pt x="1877440" y="1889840"/>
                  </a:cubicBezTo>
                  <a:cubicBezTo>
                    <a:pt x="1877440" y="1894787"/>
                    <a:pt x="1873430" y="1898798"/>
                    <a:pt x="1868494" y="1898798"/>
                  </a:cubicBezTo>
                  <a:cubicBezTo>
                    <a:pt x="1863533" y="1898798"/>
                    <a:pt x="1859515" y="1894787"/>
                    <a:pt x="1859515" y="1889840"/>
                  </a:cubicBezTo>
                  <a:cubicBezTo>
                    <a:pt x="1859515" y="1884891"/>
                    <a:pt x="1863533" y="1880880"/>
                    <a:pt x="1868494" y="1880880"/>
                  </a:cubicBezTo>
                  <a:close/>
                  <a:moveTo>
                    <a:pt x="2374634" y="1880880"/>
                  </a:moveTo>
                  <a:cubicBezTo>
                    <a:pt x="2379600" y="1880880"/>
                    <a:pt x="2383651" y="1884890"/>
                    <a:pt x="2383651" y="1889839"/>
                  </a:cubicBezTo>
                  <a:cubicBezTo>
                    <a:pt x="2383651" y="1894787"/>
                    <a:pt x="2379600" y="1898798"/>
                    <a:pt x="2374634" y="1898798"/>
                  </a:cubicBezTo>
                  <a:cubicBezTo>
                    <a:pt x="2369682" y="1898798"/>
                    <a:pt x="2365670" y="1894787"/>
                    <a:pt x="2365670" y="1889839"/>
                  </a:cubicBezTo>
                  <a:cubicBezTo>
                    <a:pt x="2365670" y="1884890"/>
                    <a:pt x="2369682" y="1880880"/>
                    <a:pt x="2374634" y="1880880"/>
                  </a:cubicBezTo>
                  <a:close/>
                  <a:moveTo>
                    <a:pt x="2205938" y="1880880"/>
                  </a:moveTo>
                  <a:cubicBezTo>
                    <a:pt x="2210887" y="1880880"/>
                    <a:pt x="2214895" y="1884891"/>
                    <a:pt x="2214895" y="1889839"/>
                  </a:cubicBezTo>
                  <a:cubicBezTo>
                    <a:pt x="2214895" y="1894787"/>
                    <a:pt x="2210887" y="1898798"/>
                    <a:pt x="2205938" y="1898798"/>
                  </a:cubicBezTo>
                  <a:cubicBezTo>
                    <a:pt x="2200959" y="1898798"/>
                    <a:pt x="2196939" y="1894787"/>
                    <a:pt x="2196939" y="1889839"/>
                  </a:cubicBezTo>
                  <a:cubicBezTo>
                    <a:pt x="2196939" y="1884891"/>
                    <a:pt x="2200959" y="1880880"/>
                    <a:pt x="2205938" y="1880880"/>
                  </a:cubicBezTo>
                  <a:close/>
                  <a:moveTo>
                    <a:pt x="2037193" y="1880880"/>
                  </a:moveTo>
                  <a:cubicBezTo>
                    <a:pt x="2042155" y="1880880"/>
                    <a:pt x="2046134" y="1884891"/>
                    <a:pt x="2046134" y="1889840"/>
                  </a:cubicBezTo>
                  <a:cubicBezTo>
                    <a:pt x="2046134" y="1894787"/>
                    <a:pt x="2042155" y="1898798"/>
                    <a:pt x="2037193" y="1898798"/>
                  </a:cubicBezTo>
                  <a:cubicBezTo>
                    <a:pt x="2032258" y="1898798"/>
                    <a:pt x="2028260" y="1894787"/>
                    <a:pt x="2028260" y="1889840"/>
                  </a:cubicBezTo>
                  <a:cubicBezTo>
                    <a:pt x="2028260" y="1884891"/>
                    <a:pt x="2032258" y="1880880"/>
                    <a:pt x="2037193" y="1880880"/>
                  </a:cubicBezTo>
                  <a:close/>
                  <a:moveTo>
                    <a:pt x="2543441" y="1880879"/>
                  </a:moveTo>
                  <a:cubicBezTo>
                    <a:pt x="2548396" y="1880879"/>
                    <a:pt x="2552405" y="1884890"/>
                    <a:pt x="2552405" y="1889839"/>
                  </a:cubicBezTo>
                  <a:cubicBezTo>
                    <a:pt x="2552405" y="1894787"/>
                    <a:pt x="2548396" y="1898798"/>
                    <a:pt x="2543441" y="1898798"/>
                  </a:cubicBezTo>
                  <a:cubicBezTo>
                    <a:pt x="2538486" y="1898798"/>
                    <a:pt x="2534465" y="1894787"/>
                    <a:pt x="2534465" y="1889839"/>
                  </a:cubicBezTo>
                  <a:cubicBezTo>
                    <a:pt x="2534465" y="1884890"/>
                    <a:pt x="2538486" y="1880879"/>
                    <a:pt x="2543441" y="1880879"/>
                  </a:cubicBezTo>
                  <a:close/>
                  <a:moveTo>
                    <a:pt x="3049609" y="1880879"/>
                  </a:moveTo>
                  <a:cubicBezTo>
                    <a:pt x="3054551" y="1880879"/>
                    <a:pt x="3058562" y="1884890"/>
                    <a:pt x="3058562" y="1889838"/>
                  </a:cubicBezTo>
                  <a:cubicBezTo>
                    <a:pt x="3058562" y="1894786"/>
                    <a:pt x="3054551" y="1898797"/>
                    <a:pt x="3049609" y="1898797"/>
                  </a:cubicBezTo>
                  <a:cubicBezTo>
                    <a:pt x="3044657" y="1898797"/>
                    <a:pt x="3040639" y="1894786"/>
                    <a:pt x="3040639" y="1889838"/>
                  </a:cubicBezTo>
                  <a:cubicBezTo>
                    <a:pt x="3040639" y="1884890"/>
                    <a:pt x="3044657" y="1880879"/>
                    <a:pt x="3049609" y="1880879"/>
                  </a:cubicBezTo>
                  <a:close/>
                  <a:moveTo>
                    <a:pt x="2880889" y="1880879"/>
                  </a:moveTo>
                  <a:cubicBezTo>
                    <a:pt x="2885834" y="1880879"/>
                    <a:pt x="2889846" y="1884890"/>
                    <a:pt x="2889846" y="1889838"/>
                  </a:cubicBezTo>
                  <a:cubicBezTo>
                    <a:pt x="2889846" y="1894786"/>
                    <a:pt x="2885834" y="1898797"/>
                    <a:pt x="2880889" y="1898797"/>
                  </a:cubicBezTo>
                  <a:cubicBezTo>
                    <a:pt x="2875944" y="1898797"/>
                    <a:pt x="2871932" y="1894786"/>
                    <a:pt x="2871932" y="1889838"/>
                  </a:cubicBezTo>
                  <a:cubicBezTo>
                    <a:pt x="2871932" y="1884890"/>
                    <a:pt x="2875944" y="1880879"/>
                    <a:pt x="2880889" y="1880879"/>
                  </a:cubicBezTo>
                  <a:close/>
                  <a:moveTo>
                    <a:pt x="2712115" y="1880879"/>
                  </a:moveTo>
                  <a:cubicBezTo>
                    <a:pt x="2717091" y="1880879"/>
                    <a:pt x="2721098" y="1884890"/>
                    <a:pt x="2721098" y="1889839"/>
                  </a:cubicBezTo>
                  <a:cubicBezTo>
                    <a:pt x="2721098" y="1894787"/>
                    <a:pt x="2717091" y="1898797"/>
                    <a:pt x="2712115" y="1898797"/>
                  </a:cubicBezTo>
                  <a:cubicBezTo>
                    <a:pt x="2707181" y="1898797"/>
                    <a:pt x="2703160" y="1894787"/>
                    <a:pt x="2703160" y="1889839"/>
                  </a:cubicBezTo>
                  <a:cubicBezTo>
                    <a:pt x="2703160" y="1884890"/>
                    <a:pt x="2707181" y="1880879"/>
                    <a:pt x="2712115" y="1880879"/>
                  </a:cubicBezTo>
                  <a:close/>
                  <a:moveTo>
                    <a:pt x="3218305" y="1880879"/>
                  </a:moveTo>
                  <a:cubicBezTo>
                    <a:pt x="3223275" y="1880879"/>
                    <a:pt x="3227285" y="1884890"/>
                    <a:pt x="3227285" y="1889838"/>
                  </a:cubicBezTo>
                  <a:cubicBezTo>
                    <a:pt x="3227285" y="1894786"/>
                    <a:pt x="3223275" y="1898797"/>
                    <a:pt x="3218305" y="1898797"/>
                  </a:cubicBezTo>
                  <a:cubicBezTo>
                    <a:pt x="3213341" y="1898797"/>
                    <a:pt x="3209335" y="1894786"/>
                    <a:pt x="3209335" y="1889838"/>
                  </a:cubicBezTo>
                  <a:cubicBezTo>
                    <a:pt x="3209335" y="1884890"/>
                    <a:pt x="3213341" y="1880879"/>
                    <a:pt x="3218305" y="1880879"/>
                  </a:cubicBezTo>
                  <a:close/>
                  <a:moveTo>
                    <a:pt x="3387062" y="1880878"/>
                  </a:moveTo>
                  <a:cubicBezTo>
                    <a:pt x="3392025" y="1880878"/>
                    <a:pt x="3396037" y="1884890"/>
                    <a:pt x="3396037" y="1889838"/>
                  </a:cubicBezTo>
                  <a:cubicBezTo>
                    <a:pt x="3396037" y="1894786"/>
                    <a:pt x="3392025" y="1898797"/>
                    <a:pt x="3387062" y="1898797"/>
                  </a:cubicBezTo>
                  <a:cubicBezTo>
                    <a:pt x="3382064" y="1898797"/>
                    <a:pt x="3378051" y="1894786"/>
                    <a:pt x="3378051" y="1889838"/>
                  </a:cubicBezTo>
                  <a:cubicBezTo>
                    <a:pt x="3378051" y="1884890"/>
                    <a:pt x="3382064" y="1880878"/>
                    <a:pt x="3387062" y="1880878"/>
                  </a:cubicBezTo>
                  <a:close/>
                  <a:moveTo>
                    <a:pt x="3893170" y="1880878"/>
                  </a:moveTo>
                  <a:cubicBezTo>
                    <a:pt x="3898119" y="1880878"/>
                    <a:pt x="3902131" y="1884889"/>
                    <a:pt x="3902131" y="1889837"/>
                  </a:cubicBezTo>
                  <a:cubicBezTo>
                    <a:pt x="3902131" y="1894785"/>
                    <a:pt x="3898119" y="1898796"/>
                    <a:pt x="3893170" y="1898796"/>
                  </a:cubicBezTo>
                  <a:cubicBezTo>
                    <a:pt x="3888221" y="1898796"/>
                    <a:pt x="3884210" y="1894785"/>
                    <a:pt x="3884210" y="1889837"/>
                  </a:cubicBezTo>
                  <a:cubicBezTo>
                    <a:pt x="3884210" y="1884889"/>
                    <a:pt x="3888221" y="1880878"/>
                    <a:pt x="3893170" y="1880878"/>
                  </a:cubicBezTo>
                  <a:close/>
                  <a:moveTo>
                    <a:pt x="3724429" y="1880878"/>
                  </a:moveTo>
                  <a:cubicBezTo>
                    <a:pt x="3729378" y="1880878"/>
                    <a:pt x="3733390" y="1884889"/>
                    <a:pt x="3733390" y="1889837"/>
                  </a:cubicBezTo>
                  <a:cubicBezTo>
                    <a:pt x="3733390" y="1894785"/>
                    <a:pt x="3729378" y="1898797"/>
                    <a:pt x="3724429" y="1898797"/>
                  </a:cubicBezTo>
                  <a:cubicBezTo>
                    <a:pt x="3719481" y="1898797"/>
                    <a:pt x="3715469" y="1894785"/>
                    <a:pt x="3715469" y="1889837"/>
                  </a:cubicBezTo>
                  <a:cubicBezTo>
                    <a:pt x="3715469" y="1884889"/>
                    <a:pt x="3719481" y="1880878"/>
                    <a:pt x="3724429" y="1880878"/>
                  </a:cubicBezTo>
                  <a:close/>
                  <a:moveTo>
                    <a:pt x="3555688" y="1880878"/>
                  </a:moveTo>
                  <a:cubicBezTo>
                    <a:pt x="3560637" y="1880878"/>
                    <a:pt x="3564649" y="1884889"/>
                    <a:pt x="3564649" y="1889837"/>
                  </a:cubicBezTo>
                  <a:cubicBezTo>
                    <a:pt x="3564649" y="1894786"/>
                    <a:pt x="3560637" y="1898797"/>
                    <a:pt x="3555688" y="1898797"/>
                  </a:cubicBezTo>
                  <a:cubicBezTo>
                    <a:pt x="3550740" y="1898797"/>
                    <a:pt x="3546728" y="1894786"/>
                    <a:pt x="3546728" y="1889837"/>
                  </a:cubicBezTo>
                  <a:cubicBezTo>
                    <a:pt x="3546728" y="1884889"/>
                    <a:pt x="3550740" y="1880878"/>
                    <a:pt x="3555688" y="1880878"/>
                  </a:cubicBezTo>
                  <a:close/>
                  <a:moveTo>
                    <a:pt x="4061912" y="1880878"/>
                  </a:moveTo>
                  <a:cubicBezTo>
                    <a:pt x="4066861" y="1880878"/>
                    <a:pt x="4070873" y="1884889"/>
                    <a:pt x="4070873" y="1889837"/>
                  </a:cubicBezTo>
                  <a:cubicBezTo>
                    <a:pt x="4070873" y="1894785"/>
                    <a:pt x="4066861" y="1898796"/>
                    <a:pt x="4061912" y="1898796"/>
                  </a:cubicBezTo>
                  <a:cubicBezTo>
                    <a:pt x="4056963" y="1898796"/>
                    <a:pt x="4052952" y="1894785"/>
                    <a:pt x="4052952" y="1889837"/>
                  </a:cubicBezTo>
                  <a:cubicBezTo>
                    <a:pt x="4052952" y="1884889"/>
                    <a:pt x="4056963" y="1880878"/>
                    <a:pt x="4061912" y="1880878"/>
                  </a:cubicBezTo>
                  <a:close/>
                  <a:moveTo>
                    <a:pt x="4568137" y="1880877"/>
                  </a:moveTo>
                  <a:cubicBezTo>
                    <a:pt x="4573086" y="1880877"/>
                    <a:pt x="4577098" y="1884888"/>
                    <a:pt x="4577098" y="1889836"/>
                  </a:cubicBezTo>
                  <a:cubicBezTo>
                    <a:pt x="4577098" y="1894784"/>
                    <a:pt x="4573086" y="1898795"/>
                    <a:pt x="4568137" y="1898795"/>
                  </a:cubicBezTo>
                  <a:cubicBezTo>
                    <a:pt x="4563188" y="1898795"/>
                    <a:pt x="4559177" y="1894784"/>
                    <a:pt x="4559177" y="1889836"/>
                  </a:cubicBezTo>
                  <a:cubicBezTo>
                    <a:pt x="4559177" y="1884888"/>
                    <a:pt x="4563188" y="1880877"/>
                    <a:pt x="4568137" y="1880877"/>
                  </a:cubicBezTo>
                  <a:close/>
                  <a:moveTo>
                    <a:pt x="4399396" y="1880877"/>
                  </a:moveTo>
                  <a:cubicBezTo>
                    <a:pt x="4404345" y="1880877"/>
                    <a:pt x="4408357" y="1884888"/>
                    <a:pt x="4408357" y="1889836"/>
                  </a:cubicBezTo>
                  <a:cubicBezTo>
                    <a:pt x="4408357" y="1894784"/>
                    <a:pt x="4404345" y="1898796"/>
                    <a:pt x="4399396" y="1898796"/>
                  </a:cubicBezTo>
                  <a:cubicBezTo>
                    <a:pt x="4394447" y="1898796"/>
                    <a:pt x="4390436" y="1894784"/>
                    <a:pt x="4390436" y="1889836"/>
                  </a:cubicBezTo>
                  <a:cubicBezTo>
                    <a:pt x="4390436" y="1884888"/>
                    <a:pt x="4394447" y="1880877"/>
                    <a:pt x="4399396" y="1880877"/>
                  </a:cubicBezTo>
                  <a:close/>
                  <a:moveTo>
                    <a:pt x="4230654" y="1880877"/>
                  </a:moveTo>
                  <a:cubicBezTo>
                    <a:pt x="4235603" y="1880877"/>
                    <a:pt x="4239615" y="1884889"/>
                    <a:pt x="4239615" y="1889837"/>
                  </a:cubicBezTo>
                  <a:cubicBezTo>
                    <a:pt x="4239615" y="1894785"/>
                    <a:pt x="4235603" y="1898796"/>
                    <a:pt x="4230654" y="1898796"/>
                  </a:cubicBezTo>
                  <a:cubicBezTo>
                    <a:pt x="4225705" y="1898796"/>
                    <a:pt x="4221694" y="1894785"/>
                    <a:pt x="4221694" y="1889837"/>
                  </a:cubicBezTo>
                  <a:cubicBezTo>
                    <a:pt x="4221694" y="1884889"/>
                    <a:pt x="4225705" y="1880877"/>
                    <a:pt x="4230654" y="1880877"/>
                  </a:cubicBezTo>
                  <a:close/>
                  <a:moveTo>
                    <a:pt x="4736878" y="1880877"/>
                  </a:moveTo>
                  <a:cubicBezTo>
                    <a:pt x="4741827" y="1880877"/>
                    <a:pt x="4745839" y="1884888"/>
                    <a:pt x="4745839" y="1889836"/>
                  </a:cubicBezTo>
                  <a:cubicBezTo>
                    <a:pt x="4745839" y="1894784"/>
                    <a:pt x="4741827" y="1898795"/>
                    <a:pt x="4736878" y="1898795"/>
                  </a:cubicBezTo>
                  <a:cubicBezTo>
                    <a:pt x="4731929" y="1898795"/>
                    <a:pt x="4727918" y="1894784"/>
                    <a:pt x="4727918" y="1889836"/>
                  </a:cubicBezTo>
                  <a:cubicBezTo>
                    <a:pt x="4727918" y="1884888"/>
                    <a:pt x="4731929" y="1880877"/>
                    <a:pt x="4736878" y="1880877"/>
                  </a:cubicBezTo>
                  <a:close/>
                  <a:moveTo>
                    <a:pt x="5243103" y="1880876"/>
                  </a:moveTo>
                  <a:cubicBezTo>
                    <a:pt x="5248052" y="1880876"/>
                    <a:pt x="5252064" y="1884887"/>
                    <a:pt x="5252064" y="1889835"/>
                  </a:cubicBezTo>
                  <a:cubicBezTo>
                    <a:pt x="5252064" y="1894783"/>
                    <a:pt x="5248052" y="1898794"/>
                    <a:pt x="5243103" y="1898794"/>
                  </a:cubicBezTo>
                  <a:cubicBezTo>
                    <a:pt x="5238154" y="1898794"/>
                    <a:pt x="5234143" y="1894783"/>
                    <a:pt x="5234143" y="1889835"/>
                  </a:cubicBezTo>
                  <a:cubicBezTo>
                    <a:pt x="5234143" y="1884887"/>
                    <a:pt x="5238154" y="1880876"/>
                    <a:pt x="5243103" y="1880876"/>
                  </a:cubicBezTo>
                  <a:close/>
                  <a:moveTo>
                    <a:pt x="5074362" y="1880876"/>
                  </a:moveTo>
                  <a:cubicBezTo>
                    <a:pt x="5079311" y="1880876"/>
                    <a:pt x="5083323" y="1884887"/>
                    <a:pt x="5083323" y="1889836"/>
                  </a:cubicBezTo>
                  <a:cubicBezTo>
                    <a:pt x="5083323" y="1894783"/>
                    <a:pt x="5079311" y="1898794"/>
                    <a:pt x="5074362" y="1898794"/>
                  </a:cubicBezTo>
                  <a:cubicBezTo>
                    <a:pt x="5069413" y="1898794"/>
                    <a:pt x="5065402" y="1894783"/>
                    <a:pt x="5065402" y="1889836"/>
                  </a:cubicBezTo>
                  <a:cubicBezTo>
                    <a:pt x="5065402" y="1884887"/>
                    <a:pt x="5069413" y="1880876"/>
                    <a:pt x="5074362" y="1880876"/>
                  </a:cubicBezTo>
                  <a:close/>
                  <a:moveTo>
                    <a:pt x="4905620" y="1880876"/>
                  </a:moveTo>
                  <a:cubicBezTo>
                    <a:pt x="4910569" y="1880876"/>
                    <a:pt x="4914581" y="1884888"/>
                    <a:pt x="4914581" y="1889836"/>
                  </a:cubicBezTo>
                  <a:cubicBezTo>
                    <a:pt x="4914581" y="1894784"/>
                    <a:pt x="4910569" y="1898794"/>
                    <a:pt x="4905620" y="1898794"/>
                  </a:cubicBezTo>
                  <a:cubicBezTo>
                    <a:pt x="4900671" y="1898794"/>
                    <a:pt x="4896660" y="1894784"/>
                    <a:pt x="4896660" y="1889836"/>
                  </a:cubicBezTo>
                  <a:cubicBezTo>
                    <a:pt x="4896660" y="1884888"/>
                    <a:pt x="4900671" y="1880876"/>
                    <a:pt x="4905620" y="1880876"/>
                  </a:cubicBezTo>
                  <a:close/>
                  <a:moveTo>
                    <a:pt x="5411845" y="1880876"/>
                  </a:moveTo>
                  <a:cubicBezTo>
                    <a:pt x="5416794" y="1880876"/>
                    <a:pt x="5420806" y="1884887"/>
                    <a:pt x="5420806" y="1889835"/>
                  </a:cubicBezTo>
                  <a:cubicBezTo>
                    <a:pt x="5420806" y="1894783"/>
                    <a:pt x="5416794" y="1898794"/>
                    <a:pt x="5411845" y="1898794"/>
                  </a:cubicBezTo>
                  <a:cubicBezTo>
                    <a:pt x="5406896" y="1898794"/>
                    <a:pt x="5402885" y="1894783"/>
                    <a:pt x="5402885" y="1889835"/>
                  </a:cubicBezTo>
                  <a:cubicBezTo>
                    <a:pt x="5402885" y="1884887"/>
                    <a:pt x="5406896" y="1880876"/>
                    <a:pt x="5411845" y="1880876"/>
                  </a:cubicBezTo>
                  <a:close/>
                  <a:moveTo>
                    <a:pt x="5918069" y="1880875"/>
                  </a:moveTo>
                  <a:cubicBezTo>
                    <a:pt x="5923018" y="1880875"/>
                    <a:pt x="5927030" y="1884886"/>
                    <a:pt x="5927030" y="1889834"/>
                  </a:cubicBezTo>
                  <a:cubicBezTo>
                    <a:pt x="5927030" y="1894782"/>
                    <a:pt x="5923018" y="1898794"/>
                    <a:pt x="5918069" y="1898794"/>
                  </a:cubicBezTo>
                  <a:cubicBezTo>
                    <a:pt x="5913120" y="1898794"/>
                    <a:pt x="5909109" y="1894782"/>
                    <a:pt x="5909109" y="1889834"/>
                  </a:cubicBezTo>
                  <a:cubicBezTo>
                    <a:pt x="5909109" y="1884886"/>
                    <a:pt x="5913120" y="1880875"/>
                    <a:pt x="5918069" y="1880875"/>
                  </a:cubicBezTo>
                  <a:close/>
                  <a:moveTo>
                    <a:pt x="5749328" y="1880875"/>
                  </a:moveTo>
                  <a:cubicBezTo>
                    <a:pt x="5754277" y="1880875"/>
                    <a:pt x="5758289" y="1884886"/>
                    <a:pt x="5758289" y="1889835"/>
                  </a:cubicBezTo>
                  <a:cubicBezTo>
                    <a:pt x="5758289" y="1894783"/>
                    <a:pt x="5754277" y="1898794"/>
                    <a:pt x="5749328" y="1898794"/>
                  </a:cubicBezTo>
                  <a:cubicBezTo>
                    <a:pt x="5744379" y="1898794"/>
                    <a:pt x="5740368" y="1894783"/>
                    <a:pt x="5740368" y="1889835"/>
                  </a:cubicBezTo>
                  <a:cubicBezTo>
                    <a:pt x="5740368" y="1884886"/>
                    <a:pt x="5744379" y="1880875"/>
                    <a:pt x="5749328" y="1880875"/>
                  </a:cubicBezTo>
                  <a:close/>
                  <a:moveTo>
                    <a:pt x="5580586" y="1880875"/>
                  </a:moveTo>
                  <a:cubicBezTo>
                    <a:pt x="5585535" y="1880875"/>
                    <a:pt x="5589547" y="1884887"/>
                    <a:pt x="5589547" y="1889835"/>
                  </a:cubicBezTo>
                  <a:cubicBezTo>
                    <a:pt x="5589547" y="1894783"/>
                    <a:pt x="5585535" y="1898794"/>
                    <a:pt x="5580586" y="1898794"/>
                  </a:cubicBezTo>
                  <a:cubicBezTo>
                    <a:pt x="5575637" y="1898794"/>
                    <a:pt x="5571626" y="1894783"/>
                    <a:pt x="5571626" y="1889835"/>
                  </a:cubicBezTo>
                  <a:cubicBezTo>
                    <a:pt x="5571626" y="1884887"/>
                    <a:pt x="5575637" y="1880875"/>
                    <a:pt x="5580586" y="1880875"/>
                  </a:cubicBezTo>
                  <a:close/>
                  <a:moveTo>
                    <a:pt x="6086811" y="1880875"/>
                  </a:moveTo>
                  <a:cubicBezTo>
                    <a:pt x="6091760" y="1880875"/>
                    <a:pt x="6095772" y="1884886"/>
                    <a:pt x="6095772" y="1889834"/>
                  </a:cubicBezTo>
                  <a:cubicBezTo>
                    <a:pt x="6095772" y="1894782"/>
                    <a:pt x="6091760" y="1898793"/>
                    <a:pt x="6086811" y="1898793"/>
                  </a:cubicBezTo>
                  <a:cubicBezTo>
                    <a:pt x="6081862" y="1898793"/>
                    <a:pt x="6077851" y="1894782"/>
                    <a:pt x="6077851" y="1889834"/>
                  </a:cubicBezTo>
                  <a:cubicBezTo>
                    <a:pt x="6077851" y="1884886"/>
                    <a:pt x="6081862" y="1880875"/>
                    <a:pt x="6086811" y="1880875"/>
                  </a:cubicBezTo>
                  <a:close/>
                  <a:moveTo>
                    <a:pt x="6593035" y="1880875"/>
                  </a:moveTo>
                  <a:cubicBezTo>
                    <a:pt x="6597984" y="1880875"/>
                    <a:pt x="6601996" y="1884886"/>
                    <a:pt x="6601996" y="1889833"/>
                  </a:cubicBezTo>
                  <a:cubicBezTo>
                    <a:pt x="6601996" y="1894782"/>
                    <a:pt x="6597984" y="1898793"/>
                    <a:pt x="6593035" y="1898793"/>
                  </a:cubicBezTo>
                  <a:cubicBezTo>
                    <a:pt x="6588086" y="1898793"/>
                    <a:pt x="6584075" y="1894782"/>
                    <a:pt x="6584075" y="1889833"/>
                  </a:cubicBezTo>
                  <a:cubicBezTo>
                    <a:pt x="6584075" y="1884886"/>
                    <a:pt x="6588086" y="1880875"/>
                    <a:pt x="6593035" y="1880875"/>
                  </a:cubicBezTo>
                  <a:close/>
                  <a:moveTo>
                    <a:pt x="6424294" y="1880875"/>
                  </a:moveTo>
                  <a:cubicBezTo>
                    <a:pt x="6429243" y="1880875"/>
                    <a:pt x="6433255" y="1884886"/>
                    <a:pt x="6433255" y="1889834"/>
                  </a:cubicBezTo>
                  <a:cubicBezTo>
                    <a:pt x="6433255" y="1894782"/>
                    <a:pt x="6429243" y="1898793"/>
                    <a:pt x="6424294" y="1898793"/>
                  </a:cubicBezTo>
                  <a:cubicBezTo>
                    <a:pt x="6419345" y="1898793"/>
                    <a:pt x="6415334" y="1894782"/>
                    <a:pt x="6415334" y="1889834"/>
                  </a:cubicBezTo>
                  <a:cubicBezTo>
                    <a:pt x="6415334" y="1884886"/>
                    <a:pt x="6419345" y="1880875"/>
                    <a:pt x="6424294" y="1880875"/>
                  </a:cubicBezTo>
                  <a:close/>
                  <a:moveTo>
                    <a:pt x="6255553" y="1880875"/>
                  </a:moveTo>
                  <a:cubicBezTo>
                    <a:pt x="6260502" y="1880875"/>
                    <a:pt x="6264514" y="1884886"/>
                    <a:pt x="6264514" y="1889834"/>
                  </a:cubicBezTo>
                  <a:cubicBezTo>
                    <a:pt x="6264514" y="1894782"/>
                    <a:pt x="6260502" y="1898793"/>
                    <a:pt x="6255553" y="1898793"/>
                  </a:cubicBezTo>
                  <a:cubicBezTo>
                    <a:pt x="6250604" y="1898793"/>
                    <a:pt x="6246593" y="1894782"/>
                    <a:pt x="6246593" y="1889834"/>
                  </a:cubicBezTo>
                  <a:cubicBezTo>
                    <a:pt x="6246593" y="1884886"/>
                    <a:pt x="6250604" y="1880875"/>
                    <a:pt x="6255553" y="1880875"/>
                  </a:cubicBezTo>
                  <a:close/>
                  <a:moveTo>
                    <a:pt x="6763357" y="1880874"/>
                  </a:moveTo>
                  <a:cubicBezTo>
                    <a:pt x="6768306" y="1880874"/>
                    <a:pt x="6772318" y="1884886"/>
                    <a:pt x="6772318" y="1889833"/>
                  </a:cubicBezTo>
                  <a:cubicBezTo>
                    <a:pt x="6772318" y="1894781"/>
                    <a:pt x="6768306" y="1898793"/>
                    <a:pt x="6763357" y="1898793"/>
                  </a:cubicBezTo>
                  <a:cubicBezTo>
                    <a:pt x="6758408" y="1898793"/>
                    <a:pt x="6754397" y="1894781"/>
                    <a:pt x="6754397" y="1889833"/>
                  </a:cubicBezTo>
                  <a:cubicBezTo>
                    <a:pt x="6754397" y="1884886"/>
                    <a:pt x="6758408" y="1880874"/>
                    <a:pt x="6763357" y="1880874"/>
                  </a:cubicBezTo>
                  <a:close/>
                  <a:moveTo>
                    <a:pt x="6933679" y="1880874"/>
                  </a:moveTo>
                  <a:cubicBezTo>
                    <a:pt x="6938628" y="1880874"/>
                    <a:pt x="6942639" y="1884886"/>
                    <a:pt x="6942639" y="1889833"/>
                  </a:cubicBezTo>
                  <a:cubicBezTo>
                    <a:pt x="6942639" y="1894781"/>
                    <a:pt x="6938628" y="1898792"/>
                    <a:pt x="6933679" y="1898792"/>
                  </a:cubicBezTo>
                  <a:cubicBezTo>
                    <a:pt x="6928730" y="1898792"/>
                    <a:pt x="6924718" y="1894781"/>
                    <a:pt x="6924718" y="1889833"/>
                  </a:cubicBezTo>
                  <a:cubicBezTo>
                    <a:pt x="6924718" y="1884886"/>
                    <a:pt x="6928730" y="1880874"/>
                    <a:pt x="6933679" y="1880874"/>
                  </a:cubicBezTo>
                  <a:close/>
                  <a:moveTo>
                    <a:pt x="349774" y="1709936"/>
                  </a:moveTo>
                  <a:cubicBezTo>
                    <a:pt x="354723" y="1709936"/>
                    <a:pt x="358735" y="1713947"/>
                    <a:pt x="358735" y="1718895"/>
                  </a:cubicBezTo>
                  <a:cubicBezTo>
                    <a:pt x="358735" y="1723843"/>
                    <a:pt x="354723" y="1727854"/>
                    <a:pt x="349774" y="1727854"/>
                  </a:cubicBezTo>
                  <a:cubicBezTo>
                    <a:pt x="344827" y="1727854"/>
                    <a:pt x="340815" y="1723843"/>
                    <a:pt x="340815" y="1718895"/>
                  </a:cubicBezTo>
                  <a:cubicBezTo>
                    <a:pt x="340815" y="1713947"/>
                    <a:pt x="344827" y="1709936"/>
                    <a:pt x="349774" y="1709936"/>
                  </a:cubicBezTo>
                  <a:close/>
                  <a:moveTo>
                    <a:pt x="179457" y="1709936"/>
                  </a:moveTo>
                  <a:cubicBezTo>
                    <a:pt x="184406" y="1709936"/>
                    <a:pt x="188418" y="1713947"/>
                    <a:pt x="188418" y="1718895"/>
                  </a:cubicBezTo>
                  <a:cubicBezTo>
                    <a:pt x="188418" y="1723843"/>
                    <a:pt x="184406" y="1727854"/>
                    <a:pt x="179457" y="1727854"/>
                  </a:cubicBezTo>
                  <a:cubicBezTo>
                    <a:pt x="174509" y="1727854"/>
                    <a:pt x="170497" y="1723843"/>
                    <a:pt x="170497" y="1718895"/>
                  </a:cubicBezTo>
                  <a:cubicBezTo>
                    <a:pt x="170497" y="1713947"/>
                    <a:pt x="174509" y="1709936"/>
                    <a:pt x="179457" y="1709936"/>
                  </a:cubicBezTo>
                  <a:close/>
                  <a:moveTo>
                    <a:pt x="9142" y="1709936"/>
                  </a:moveTo>
                  <a:cubicBezTo>
                    <a:pt x="14090" y="1709936"/>
                    <a:pt x="18101" y="1713947"/>
                    <a:pt x="18101" y="1718895"/>
                  </a:cubicBezTo>
                  <a:cubicBezTo>
                    <a:pt x="18101" y="1723842"/>
                    <a:pt x="14090" y="1727854"/>
                    <a:pt x="9142" y="1727854"/>
                  </a:cubicBezTo>
                  <a:cubicBezTo>
                    <a:pt x="4194" y="1727854"/>
                    <a:pt x="182" y="1723842"/>
                    <a:pt x="182" y="1718895"/>
                  </a:cubicBezTo>
                  <a:cubicBezTo>
                    <a:pt x="182" y="1713947"/>
                    <a:pt x="4194" y="1709936"/>
                    <a:pt x="9142" y="1709936"/>
                  </a:cubicBezTo>
                  <a:close/>
                  <a:moveTo>
                    <a:pt x="856027" y="1709935"/>
                  </a:moveTo>
                  <a:cubicBezTo>
                    <a:pt x="860975" y="1709935"/>
                    <a:pt x="864987" y="1713946"/>
                    <a:pt x="864987" y="1718894"/>
                  </a:cubicBezTo>
                  <a:cubicBezTo>
                    <a:pt x="864987" y="1723842"/>
                    <a:pt x="860975" y="1727853"/>
                    <a:pt x="856027" y="1727853"/>
                  </a:cubicBezTo>
                  <a:cubicBezTo>
                    <a:pt x="851076" y="1727853"/>
                    <a:pt x="847065" y="1723842"/>
                    <a:pt x="847065" y="1718894"/>
                  </a:cubicBezTo>
                  <a:cubicBezTo>
                    <a:pt x="847065" y="1713946"/>
                    <a:pt x="851076" y="1709935"/>
                    <a:pt x="856027" y="1709935"/>
                  </a:cubicBezTo>
                  <a:close/>
                  <a:moveTo>
                    <a:pt x="687289" y="1709935"/>
                  </a:moveTo>
                  <a:cubicBezTo>
                    <a:pt x="692237" y="1709935"/>
                    <a:pt x="696249" y="1713946"/>
                    <a:pt x="696249" y="1718895"/>
                  </a:cubicBezTo>
                  <a:cubicBezTo>
                    <a:pt x="696249" y="1723842"/>
                    <a:pt x="692237" y="1727853"/>
                    <a:pt x="687289" y="1727853"/>
                  </a:cubicBezTo>
                  <a:cubicBezTo>
                    <a:pt x="682340" y="1727853"/>
                    <a:pt x="678330" y="1723842"/>
                    <a:pt x="678330" y="1718895"/>
                  </a:cubicBezTo>
                  <a:cubicBezTo>
                    <a:pt x="678330" y="1713946"/>
                    <a:pt x="682340" y="1709935"/>
                    <a:pt x="687289" y="1709935"/>
                  </a:cubicBezTo>
                  <a:close/>
                  <a:moveTo>
                    <a:pt x="518511" y="1709935"/>
                  </a:moveTo>
                  <a:cubicBezTo>
                    <a:pt x="523460" y="1709935"/>
                    <a:pt x="527472" y="1713947"/>
                    <a:pt x="527472" y="1718895"/>
                  </a:cubicBezTo>
                  <a:cubicBezTo>
                    <a:pt x="527472" y="1723842"/>
                    <a:pt x="523460" y="1727853"/>
                    <a:pt x="518511" y="1727853"/>
                  </a:cubicBezTo>
                  <a:cubicBezTo>
                    <a:pt x="513563" y="1727853"/>
                    <a:pt x="509551" y="1723842"/>
                    <a:pt x="509551" y="1718895"/>
                  </a:cubicBezTo>
                  <a:cubicBezTo>
                    <a:pt x="509551" y="1713947"/>
                    <a:pt x="513563" y="1709935"/>
                    <a:pt x="518511" y="1709935"/>
                  </a:cubicBezTo>
                  <a:close/>
                  <a:moveTo>
                    <a:pt x="1024750" y="1709935"/>
                  </a:moveTo>
                  <a:cubicBezTo>
                    <a:pt x="1029702" y="1709935"/>
                    <a:pt x="1033717" y="1713946"/>
                    <a:pt x="1033717" y="1718894"/>
                  </a:cubicBezTo>
                  <a:cubicBezTo>
                    <a:pt x="1033717" y="1723842"/>
                    <a:pt x="1029702" y="1727853"/>
                    <a:pt x="1024750" y="1727853"/>
                  </a:cubicBezTo>
                  <a:cubicBezTo>
                    <a:pt x="1019801" y="1727853"/>
                    <a:pt x="1015790" y="1723842"/>
                    <a:pt x="1015790" y="1718894"/>
                  </a:cubicBezTo>
                  <a:cubicBezTo>
                    <a:pt x="1015790" y="1713946"/>
                    <a:pt x="1019801" y="1709935"/>
                    <a:pt x="1024750" y="1709935"/>
                  </a:cubicBezTo>
                  <a:close/>
                  <a:moveTo>
                    <a:pt x="1193507" y="1709934"/>
                  </a:moveTo>
                  <a:cubicBezTo>
                    <a:pt x="1198454" y="1709934"/>
                    <a:pt x="1202467" y="1713946"/>
                    <a:pt x="1202467" y="1718894"/>
                  </a:cubicBezTo>
                  <a:cubicBezTo>
                    <a:pt x="1202467" y="1723842"/>
                    <a:pt x="1198454" y="1727853"/>
                    <a:pt x="1193507" y="1727853"/>
                  </a:cubicBezTo>
                  <a:cubicBezTo>
                    <a:pt x="1188560" y="1727853"/>
                    <a:pt x="1184550" y="1723842"/>
                    <a:pt x="1184550" y="1718894"/>
                  </a:cubicBezTo>
                  <a:cubicBezTo>
                    <a:pt x="1184550" y="1713946"/>
                    <a:pt x="1188560" y="1709934"/>
                    <a:pt x="1193507" y="1709934"/>
                  </a:cubicBezTo>
                  <a:close/>
                  <a:moveTo>
                    <a:pt x="1699745" y="1709934"/>
                  </a:moveTo>
                  <a:cubicBezTo>
                    <a:pt x="1704698" y="1709934"/>
                    <a:pt x="1708714" y="1713945"/>
                    <a:pt x="1708714" y="1718893"/>
                  </a:cubicBezTo>
                  <a:cubicBezTo>
                    <a:pt x="1708714" y="1723841"/>
                    <a:pt x="1704698" y="1727852"/>
                    <a:pt x="1699745" y="1727852"/>
                  </a:cubicBezTo>
                  <a:cubicBezTo>
                    <a:pt x="1694789" y="1727852"/>
                    <a:pt x="1690775" y="1723841"/>
                    <a:pt x="1690775" y="1718893"/>
                  </a:cubicBezTo>
                  <a:cubicBezTo>
                    <a:pt x="1690775" y="1713945"/>
                    <a:pt x="1694789" y="1709934"/>
                    <a:pt x="1699745" y="1709934"/>
                  </a:cubicBezTo>
                  <a:close/>
                  <a:moveTo>
                    <a:pt x="1531003" y="1709934"/>
                  </a:moveTo>
                  <a:cubicBezTo>
                    <a:pt x="1535953" y="1709934"/>
                    <a:pt x="1539965" y="1713945"/>
                    <a:pt x="1539965" y="1718893"/>
                  </a:cubicBezTo>
                  <a:cubicBezTo>
                    <a:pt x="1539965" y="1723841"/>
                    <a:pt x="1535953" y="1727852"/>
                    <a:pt x="1531003" y="1727852"/>
                  </a:cubicBezTo>
                  <a:cubicBezTo>
                    <a:pt x="1526052" y="1727852"/>
                    <a:pt x="1522040" y="1723841"/>
                    <a:pt x="1522040" y="1718893"/>
                  </a:cubicBezTo>
                  <a:cubicBezTo>
                    <a:pt x="1522040" y="1713945"/>
                    <a:pt x="1526052" y="1709934"/>
                    <a:pt x="1531003" y="1709934"/>
                  </a:cubicBezTo>
                  <a:close/>
                  <a:moveTo>
                    <a:pt x="1362249" y="1709934"/>
                  </a:moveTo>
                  <a:cubicBezTo>
                    <a:pt x="1367203" y="1709934"/>
                    <a:pt x="1371211" y="1713945"/>
                    <a:pt x="1371211" y="1718894"/>
                  </a:cubicBezTo>
                  <a:cubicBezTo>
                    <a:pt x="1371211" y="1723842"/>
                    <a:pt x="1367203" y="1727852"/>
                    <a:pt x="1362249" y="1727852"/>
                  </a:cubicBezTo>
                  <a:cubicBezTo>
                    <a:pt x="1357300" y="1727852"/>
                    <a:pt x="1353288" y="1723842"/>
                    <a:pt x="1353288" y="1718894"/>
                  </a:cubicBezTo>
                  <a:cubicBezTo>
                    <a:pt x="1353288" y="1713945"/>
                    <a:pt x="1357300" y="1709934"/>
                    <a:pt x="1362249" y="1709934"/>
                  </a:cubicBezTo>
                  <a:close/>
                  <a:moveTo>
                    <a:pt x="1868499" y="1709934"/>
                  </a:moveTo>
                  <a:cubicBezTo>
                    <a:pt x="1873434" y="1709934"/>
                    <a:pt x="1877445" y="1713945"/>
                    <a:pt x="1877445" y="1718893"/>
                  </a:cubicBezTo>
                  <a:cubicBezTo>
                    <a:pt x="1877445" y="1723841"/>
                    <a:pt x="1873434" y="1727852"/>
                    <a:pt x="1868499" y="1727852"/>
                  </a:cubicBezTo>
                  <a:cubicBezTo>
                    <a:pt x="1863539" y="1727852"/>
                    <a:pt x="1859520" y="1723841"/>
                    <a:pt x="1859520" y="1718893"/>
                  </a:cubicBezTo>
                  <a:cubicBezTo>
                    <a:pt x="1859520" y="1713945"/>
                    <a:pt x="1863539" y="1709934"/>
                    <a:pt x="1868499" y="1709934"/>
                  </a:cubicBezTo>
                  <a:close/>
                  <a:moveTo>
                    <a:pt x="2037198" y="1709933"/>
                  </a:moveTo>
                  <a:cubicBezTo>
                    <a:pt x="2042159" y="1709933"/>
                    <a:pt x="2046138" y="1713945"/>
                    <a:pt x="2046138" y="1718893"/>
                  </a:cubicBezTo>
                  <a:cubicBezTo>
                    <a:pt x="2046138" y="1723841"/>
                    <a:pt x="2042159" y="1727852"/>
                    <a:pt x="2037198" y="1727852"/>
                  </a:cubicBezTo>
                  <a:cubicBezTo>
                    <a:pt x="2032262" y="1727852"/>
                    <a:pt x="2028265" y="1723841"/>
                    <a:pt x="2028265" y="1718893"/>
                  </a:cubicBezTo>
                  <a:cubicBezTo>
                    <a:pt x="2028265" y="1713945"/>
                    <a:pt x="2032262" y="1709933"/>
                    <a:pt x="2037198" y="1709933"/>
                  </a:cubicBezTo>
                  <a:close/>
                  <a:moveTo>
                    <a:pt x="2543445" y="1709933"/>
                  </a:moveTo>
                  <a:cubicBezTo>
                    <a:pt x="2548400" y="1709933"/>
                    <a:pt x="2552410" y="1713944"/>
                    <a:pt x="2552410" y="1718891"/>
                  </a:cubicBezTo>
                  <a:cubicBezTo>
                    <a:pt x="2552410" y="1723840"/>
                    <a:pt x="2548400" y="1727851"/>
                    <a:pt x="2543445" y="1727851"/>
                  </a:cubicBezTo>
                  <a:cubicBezTo>
                    <a:pt x="2538490" y="1727851"/>
                    <a:pt x="2534470" y="1723840"/>
                    <a:pt x="2534470" y="1718891"/>
                  </a:cubicBezTo>
                  <a:cubicBezTo>
                    <a:pt x="2534470" y="1713944"/>
                    <a:pt x="2538490" y="1709933"/>
                    <a:pt x="2543445" y="1709933"/>
                  </a:cubicBezTo>
                  <a:close/>
                  <a:moveTo>
                    <a:pt x="2374638" y="1709933"/>
                  </a:moveTo>
                  <a:cubicBezTo>
                    <a:pt x="2379603" y="1709933"/>
                    <a:pt x="2383655" y="1713944"/>
                    <a:pt x="2383655" y="1718892"/>
                  </a:cubicBezTo>
                  <a:cubicBezTo>
                    <a:pt x="2383655" y="1723840"/>
                    <a:pt x="2379603" y="1727851"/>
                    <a:pt x="2374638" y="1727851"/>
                  </a:cubicBezTo>
                  <a:cubicBezTo>
                    <a:pt x="2369685" y="1727851"/>
                    <a:pt x="2365673" y="1723840"/>
                    <a:pt x="2365673" y="1718892"/>
                  </a:cubicBezTo>
                  <a:cubicBezTo>
                    <a:pt x="2365673" y="1713944"/>
                    <a:pt x="2369685" y="1709933"/>
                    <a:pt x="2374638" y="1709933"/>
                  </a:cubicBezTo>
                  <a:close/>
                  <a:moveTo>
                    <a:pt x="2205942" y="1709933"/>
                  </a:moveTo>
                  <a:cubicBezTo>
                    <a:pt x="2210891" y="1709933"/>
                    <a:pt x="2214899" y="1713944"/>
                    <a:pt x="2214899" y="1718892"/>
                  </a:cubicBezTo>
                  <a:cubicBezTo>
                    <a:pt x="2214899" y="1723841"/>
                    <a:pt x="2210891" y="1727851"/>
                    <a:pt x="2205942" y="1727851"/>
                  </a:cubicBezTo>
                  <a:cubicBezTo>
                    <a:pt x="2200963" y="1727851"/>
                    <a:pt x="2196942" y="1723841"/>
                    <a:pt x="2196942" y="1718892"/>
                  </a:cubicBezTo>
                  <a:cubicBezTo>
                    <a:pt x="2196942" y="1713944"/>
                    <a:pt x="2200963" y="1709933"/>
                    <a:pt x="2205942" y="1709933"/>
                  </a:cubicBezTo>
                  <a:close/>
                  <a:moveTo>
                    <a:pt x="2712118" y="1709933"/>
                  </a:moveTo>
                  <a:cubicBezTo>
                    <a:pt x="2717094" y="1709933"/>
                    <a:pt x="2721101" y="1713944"/>
                    <a:pt x="2721101" y="1718891"/>
                  </a:cubicBezTo>
                  <a:cubicBezTo>
                    <a:pt x="2721101" y="1723839"/>
                    <a:pt x="2717094" y="1727851"/>
                    <a:pt x="2712118" y="1727851"/>
                  </a:cubicBezTo>
                  <a:cubicBezTo>
                    <a:pt x="2707185" y="1727851"/>
                    <a:pt x="2703164" y="1723839"/>
                    <a:pt x="2703164" y="1718891"/>
                  </a:cubicBezTo>
                  <a:cubicBezTo>
                    <a:pt x="2703164" y="1713944"/>
                    <a:pt x="2707185" y="1709933"/>
                    <a:pt x="2712118" y="1709933"/>
                  </a:cubicBezTo>
                  <a:close/>
                  <a:moveTo>
                    <a:pt x="3218307" y="1709932"/>
                  </a:moveTo>
                  <a:cubicBezTo>
                    <a:pt x="3223278" y="1709932"/>
                    <a:pt x="3227286" y="1713943"/>
                    <a:pt x="3227286" y="1718891"/>
                  </a:cubicBezTo>
                  <a:cubicBezTo>
                    <a:pt x="3227286" y="1723839"/>
                    <a:pt x="3223278" y="1727850"/>
                    <a:pt x="3218307" y="1727850"/>
                  </a:cubicBezTo>
                  <a:cubicBezTo>
                    <a:pt x="3213344" y="1727850"/>
                    <a:pt x="3209336" y="1723839"/>
                    <a:pt x="3209336" y="1718891"/>
                  </a:cubicBezTo>
                  <a:cubicBezTo>
                    <a:pt x="3209336" y="1713943"/>
                    <a:pt x="3213344" y="1709932"/>
                    <a:pt x="3218307" y="1709932"/>
                  </a:cubicBezTo>
                  <a:close/>
                  <a:moveTo>
                    <a:pt x="3049612" y="1709932"/>
                  </a:moveTo>
                  <a:cubicBezTo>
                    <a:pt x="3054555" y="1709932"/>
                    <a:pt x="3058567" y="1713943"/>
                    <a:pt x="3058567" y="1718891"/>
                  </a:cubicBezTo>
                  <a:cubicBezTo>
                    <a:pt x="3058567" y="1723839"/>
                    <a:pt x="3054555" y="1727850"/>
                    <a:pt x="3049612" y="1727850"/>
                  </a:cubicBezTo>
                  <a:cubicBezTo>
                    <a:pt x="3044660" y="1727850"/>
                    <a:pt x="3040642" y="1723839"/>
                    <a:pt x="3040642" y="1718891"/>
                  </a:cubicBezTo>
                  <a:cubicBezTo>
                    <a:pt x="3040642" y="1713943"/>
                    <a:pt x="3044660" y="1709932"/>
                    <a:pt x="3049612" y="1709932"/>
                  </a:cubicBezTo>
                  <a:close/>
                  <a:moveTo>
                    <a:pt x="2880893" y="1709932"/>
                  </a:moveTo>
                  <a:cubicBezTo>
                    <a:pt x="2885838" y="1709932"/>
                    <a:pt x="2889849" y="1713944"/>
                    <a:pt x="2889849" y="1718891"/>
                  </a:cubicBezTo>
                  <a:cubicBezTo>
                    <a:pt x="2889849" y="1723839"/>
                    <a:pt x="2885838" y="1727850"/>
                    <a:pt x="2880893" y="1727850"/>
                  </a:cubicBezTo>
                  <a:cubicBezTo>
                    <a:pt x="2875948" y="1727850"/>
                    <a:pt x="2871936" y="1723839"/>
                    <a:pt x="2871936" y="1718891"/>
                  </a:cubicBezTo>
                  <a:cubicBezTo>
                    <a:pt x="2871936" y="1713944"/>
                    <a:pt x="2875948" y="1709932"/>
                    <a:pt x="2880893" y="1709932"/>
                  </a:cubicBezTo>
                  <a:close/>
                  <a:moveTo>
                    <a:pt x="3387064" y="1709932"/>
                  </a:moveTo>
                  <a:cubicBezTo>
                    <a:pt x="3392028" y="1709932"/>
                    <a:pt x="3396040" y="1713943"/>
                    <a:pt x="3396040" y="1718891"/>
                  </a:cubicBezTo>
                  <a:cubicBezTo>
                    <a:pt x="3396040" y="1723838"/>
                    <a:pt x="3392028" y="1727850"/>
                    <a:pt x="3387064" y="1727850"/>
                  </a:cubicBezTo>
                  <a:cubicBezTo>
                    <a:pt x="3382065" y="1727850"/>
                    <a:pt x="3378053" y="1723838"/>
                    <a:pt x="3378053" y="1718891"/>
                  </a:cubicBezTo>
                  <a:cubicBezTo>
                    <a:pt x="3378053" y="1713943"/>
                    <a:pt x="3382065" y="1709932"/>
                    <a:pt x="3387064" y="1709932"/>
                  </a:cubicBezTo>
                  <a:close/>
                  <a:moveTo>
                    <a:pt x="3555688" y="1709931"/>
                  </a:moveTo>
                  <a:cubicBezTo>
                    <a:pt x="3560637" y="1709931"/>
                    <a:pt x="3564649" y="1713943"/>
                    <a:pt x="3564649" y="1718891"/>
                  </a:cubicBezTo>
                  <a:cubicBezTo>
                    <a:pt x="3564649" y="1723838"/>
                    <a:pt x="3560637" y="1727849"/>
                    <a:pt x="3555688" y="1727849"/>
                  </a:cubicBezTo>
                  <a:cubicBezTo>
                    <a:pt x="3550740" y="1727849"/>
                    <a:pt x="3546728" y="1723838"/>
                    <a:pt x="3546728" y="1718891"/>
                  </a:cubicBezTo>
                  <a:cubicBezTo>
                    <a:pt x="3546728" y="1713943"/>
                    <a:pt x="3550740" y="1709931"/>
                    <a:pt x="3555688" y="1709931"/>
                  </a:cubicBezTo>
                  <a:close/>
                  <a:moveTo>
                    <a:pt x="4061912" y="1709931"/>
                  </a:moveTo>
                  <a:cubicBezTo>
                    <a:pt x="4066861" y="1709931"/>
                    <a:pt x="4070873" y="1713941"/>
                    <a:pt x="4070873" y="1718890"/>
                  </a:cubicBezTo>
                  <a:cubicBezTo>
                    <a:pt x="4070873" y="1723838"/>
                    <a:pt x="4066861" y="1727849"/>
                    <a:pt x="4061912" y="1727849"/>
                  </a:cubicBezTo>
                  <a:cubicBezTo>
                    <a:pt x="4056963" y="1727849"/>
                    <a:pt x="4052952" y="1723838"/>
                    <a:pt x="4052952" y="1718890"/>
                  </a:cubicBezTo>
                  <a:cubicBezTo>
                    <a:pt x="4052952" y="1713941"/>
                    <a:pt x="4056963" y="1709931"/>
                    <a:pt x="4061912" y="1709931"/>
                  </a:cubicBezTo>
                  <a:close/>
                  <a:moveTo>
                    <a:pt x="3893170" y="1709931"/>
                  </a:moveTo>
                  <a:cubicBezTo>
                    <a:pt x="3898119" y="1709931"/>
                    <a:pt x="3902131" y="1713942"/>
                    <a:pt x="3902131" y="1718890"/>
                  </a:cubicBezTo>
                  <a:cubicBezTo>
                    <a:pt x="3902131" y="1723838"/>
                    <a:pt x="3898119" y="1727849"/>
                    <a:pt x="3893170" y="1727849"/>
                  </a:cubicBezTo>
                  <a:cubicBezTo>
                    <a:pt x="3888221" y="1727849"/>
                    <a:pt x="3884210" y="1723838"/>
                    <a:pt x="3884210" y="1718890"/>
                  </a:cubicBezTo>
                  <a:cubicBezTo>
                    <a:pt x="3884210" y="1713942"/>
                    <a:pt x="3888221" y="1709931"/>
                    <a:pt x="3893170" y="1709931"/>
                  </a:cubicBezTo>
                  <a:close/>
                  <a:moveTo>
                    <a:pt x="3724429" y="1709931"/>
                  </a:moveTo>
                  <a:cubicBezTo>
                    <a:pt x="3729378" y="1709931"/>
                    <a:pt x="3733390" y="1713942"/>
                    <a:pt x="3733390" y="1718891"/>
                  </a:cubicBezTo>
                  <a:cubicBezTo>
                    <a:pt x="3733390" y="1723838"/>
                    <a:pt x="3729378" y="1727849"/>
                    <a:pt x="3724429" y="1727849"/>
                  </a:cubicBezTo>
                  <a:cubicBezTo>
                    <a:pt x="3719481" y="1727849"/>
                    <a:pt x="3715469" y="1723838"/>
                    <a:pt x="3715469" y="1718891"/>
                  </a:cubicBezTo>
                  <a:cubicBezTo>
                    <a:pt x="3715469" y="1713942"/>
                    <a:pt x="3719481" y="1709931"/>
                    <a:pt x="3724429" y="1709931"/>
                  </a:cubicBezTo>
                  <a:close/>
                  <a:moveTo>
                    <a:pt x="4230654" y="1709930"/>
                  </a:moveTo>
                  <a:cubicBezTo>
                    <a:pt x="4235603" y="1709930"/>
                    <a:pt x="4239615" y="1713941"/>
                    <a:pt x="4239615" y="1718890"/>
                  </a:cubicBezTo>
                  <a:cubicBezTo>
                    <a:pt x="4239615" y="1723837"/>
                    <a:pt x="4235603" y="1727849"/>
                    <a:pt x="4230654" y="1727849"/>
                  </a:cubicBezTo>
                  <a:cubicBezTo>
                    <a:pt x="4225705" y="1727849"/>
                    <a:pt x="4221694" y="1723837"/>
                    <a:pt x="4221694" y="1718890"/>
                  </a:cubicBezTo>
                  <a:cubicBezTo>
                    <a:pt x="4221694" y="1713941"/>
                    <a:pt x="4225705" y="1709930"/>
                    <a:pt x="4230654" y="1709930"/>
                  </a:cubicBezTo>
                  <a:close/>
                  <a:moveTo>
                    <a:pt x="4736878" y="1709930"/>
                  </a:moveTo>
                  <a:cubicBezTo>
                    <a:pt x="4741827" y="1709930"/>
                    <a:pt x="4745839" y="1713941"/>
                    <a:pt x="4745839" y="1718889"/>
                  </a:cubicBezTo>
                  <a:cubicBezTo>
                    <a:pt x="4745839" y="1723837"/>
                    <a:pt x="4741827" y="1727848"/>
                    <a:pt x="4736878" y="1727848"/>
                  </a:cubicBezTo>
                  <a:cubicBezTo>
                    <a:pt x="4731929" y="1727848"/>
                    <a:pt x="4727918" y="1723837"/>
                    <a:pt x="4727918" y="1718889"/>
                  </a:cubicBezTo>
                  <a:cubicBezTo>
                    <a:pt x="4727918" y="1713941"/>
                    <a:pt x="4731929" y="1709930"/>
                    <a:pt x="4736878" y="1709930"/>
                  </a:cubicBezTo>
                  <a:close/>
                  <a:moveTo>
                    <a:pt x="4568137" y="1709930"/>
                  </a:moveTo>
                  <a:cubicBezTo>
                    <a:pt x="4573086" y="1709930"/>
                    <a:pt x="4577098" y="1713941"/>
                    <a:pt x="4577098" y="1718889"/>
                  </a:cubicBezTo>
                  <a:cubicBezTo>
                    <a:pt x="4577098" y="1723837"/>
                    <a:pt x="4573086" y="1727848"/>
                    <a:pt x="4568137" y="1727848"/>
                  </a:cubicBezTo>
                  <a:cubicBezTo>
                    <a:pt x="4563188" y="1727848"/>
                    <a:pt x="4559177" y="1723837"/>
                    <a:pt x="4559177" y="1718889"/>
                  </a:cubicBezTo>
                  <a:cubicBezTo>
                    <a:pt x="4559177" y="1713941"/>
                    <a:pt x="4563188" y="1709930"/>
                    <a:pt x="4568137" y="1709930"/>
                  </a:cubicBezTo>
                  <a:close/>
                  <a:moveTo>
                    <a:pt x="4399396" y="1709930"/>
                  </a:moveTo>
                  <a:cubicBezTo>
                    <a:pt x="4404345" y="1709930"/>
                    <a:pt x="4408357" y="1713941"/>
                    <a:pt x="4408357" y="1718890"/>
                  </a:cubicBezTo>
                  <a:cubicBezTo>
                    <a:pt x="4408357" y="1723837"/>
                    <a:pt x="4404345" y="1727848"/>
                    <a:pt x="4399396" y="1727848"/>
                  </a:cubicBezTo>
                  <a:cubicBezTo>
                    <a:pt x="4394447" y="1727848"/>
                    <a:pt x="4390436" y="1723837"/>
                    <a:pt x="4390436" y="1718890"/>
                  </a:cubicBezTo>
                  <a:cubicBezTo>
                    <a:pt x="4390436" y="1713941"/>
                    <a:pt x="4394447" y="1709930"/>
                    <a:pt x="4399396" y="1709930"/>
                  </a:cubicBezTo>
                  <a:close/>
                  <a:moveTo>
                    <a:pt x="4905620" y="1709930"/>
                  </a:moveTo>
                  <a:cubicBezTo>
                    <a:pt x="4910569" y="1709930"/>
                    <a:pt x="4914581" y="1713941"/>
                    <a:pt x="4914581" y="1718888"/>
                  </a:cubicBezTo>
                  <a:cubicBezTo>
                    <a:pt x="4914581" y="1723837"/>
                    <a:pt x="4910569" y="1727848"/>
                    <a:pt x="4905620" y="1727848"/>
                  </a:cubicBezTo>
                  <a:cubicBezTo>
                    <a:pt x="4900671" y="1727848"/>
                    <a:pt x="4896660" y="1723837"/>
                    <a:pt x="4896660" y="1718888"/>
                  </a:cubicBezTo>
                  <a:cubicBezTo>
                    <a:pt x="4896660" y="1713941"/>
                    <a:pt x="4900671" y="1709930"/>
                    <a:pt x="4905620" y="1709930"/>
                  </a:cubicBezTo>
                  <a:close/>
                  <a:moveTo>
                    <a:pt x="5074362" y="1709929"/>
                  </a:moveTo>
                  <a:cubicBezTo>
                    <a:pt x="5079311" y="1709929"/>
                    <a:pt x="5083323" y="1713941"/>
                    <a:pt x="5083323" y="1718888"/>
                  </a:cubicBezTo>
                  <a:cubicBezTo>
                    <a:pt x="5083323" y="1723837"/>
                    <a:pt x="5079311" y="1727848"/>
                    <a:pt x="5074362" y="1727848"/>
                  </a:cubicBezTo>
                  <a:cubicBezTo>
                    <a:pt x="5069413" y="1727848"/>
                    <a:pt x="5065402" y="1723837"/>
                    <a:pt x="5065402" y="1718888"/>
                  </a:cubicBezTo>
                  <a:cubicBezTo>
                    <a:pt x="5065402" y="1713941"/>
                    <a:pt x="5069413" y="1709929"/>
                    <a:pt x="5074362" y="1709929"/>
                  </a:cubicBezTo>
                  <a:close/>
                  <a:moveTo>
                    <a:pt x="5580586" y="1709929"/>
                  </a:moveTo>
                  <a:cubicBezTo>
                    <a:pt x="5585535" y="1709929"/>
                    <a:pt x="5589547" y="1713940"/>
                    <a:pt x="5589547" y="1718887"/>
                  </a:cubicBezTo>
                  <a:cubicBezTo>
                    <a:pt x="5589547" y="1723836"/>
                    <a:pt x="5585535" y="1727847"/>
                    <a:pt x="5580586" y="1727847"/>
                  </a:cubicBezTo>
                  <a:cubicBezTo>
                    <a:pt x="5575637" y="1727847"/>
                    <a:pt x="5571626" y="1723836"/>
                    <a:pt x="5571626" y="1718887"/>
                  </a:cubicBezTo>
                  <a:cubicBezTo>
                    <a:pt x="5571626" y="1713940"/>
                    <a:pt x="5575637" y="1709929"/>
                    <a:pt x="5580586" y="1709929"/>
                  </a:cubicBezTo>
                  <a:close/>
                  <a:moveTo>
                    <a:pt x="5411845" y="1709929"/>
                  </a:moveTo>
                  <a:cubicBezTo>
                    <a:pt x="5416794" y="1709929"/>
                    <a:pt x="5420806" y="1713940"/>
                    <a:pt x="5420806" y="1718888"/>
                  </a:cubicBezTo>
                  <a:cubicBezTo>
                    <a:pt x="5420806" y="1723836"/>
                    <a:pt x="5416794" y="1727847"/>
                    <a:pt x="5411845" y="1727847"/>
                  </a:cubicBezTo>
                  <a:cubicBezTo>
                    <a:pt x="5406896" y="1727847"/>
                    <a:pt x="5402885" y="1723836"/>
                    <a:pt x="5402885" y="1718888"/>
                  </a:cubicBezTo>
                  <a:cubicBezTo>
                    <a:pt x="5402885" y="1713940"/>
                    <a:pt x="5406896" y="1709929"/>
                    <a:pt x="5411845" y="1709929"/>
                  </a:cubicBezTo>
                  <a:close/>
                  <a:moveTo>
                    <a:pt x="5243103" y="1709929"/>
                  </a:moveTo>
                  <a:cubicBezTo>
                    <a:pt x="5248052" y="1709929"/>
                    <a:pt x="5252064" y="1713940"/>
                    <a:pt x="5252064" y="1718888"/>
                  </a:cubicBezTo>
                  <a:cubicBezTo>
                    <a:pt x="5252064" y="1723837"/>
                    <a:pt x="5248052" y="1727847"/>
                    <a:pt x="5243103" y="1727847"/>
                  </a:cubicBezTo>
                  <a:cubicBezTo>
                    <a:pt x="5238154" y="1727847"/>
                    <a:pt x="5234143" y="1723837"/>
                    <a:pt x="5234143" y="1718888"/>
                  </a:cubicBezTo>
                  <a:cubicBezTo>
                    <a:pt x="5234143" y="1713940"/>
                    <a:pt x="5238154" y="1709929"/>
                    <a:pt x="5243103" y="1709929"/>
                  </a:cubicBezTo>
                  <a:close/>
                  <a:moveTo>
                    <a:pt x="5749328" y="1709929"/>
                  </a:moveTo>
                  <a:cubicBezTo>
                    <a:pt x="5754277" y="1709929"/>
                    <a:pt x="5758289" y="1713940"/>
                    <a:pt x="5758289" y="1718887"/>
                  </a:cubicBezTo>
                  <a:cubicBezTo>
                    <a:pt x="5758289" y="1723835"/>
                    <a:pt x="5754277" y="1727847"/>
                    <a:pt x="5749328" y="1727847"/>
                  </a:cubicBezTo>
                  <a:cubicBezTo>
                    <a:pt x="5744379" y="1727847"/>
                    <a:pt x="5740368" y="1723835"/>
                    <a:pt x="5740368" y="1718887"/>
                  </a:cubicBezTo>
                  <a:cubicBezTo>
                    <a:pt x="5740368" y="1713940"/>
                    <a:pt x="5744379" y="1709929"/>
                    <a:pt x="5749328" y="1709929"/>
                  </a:cubicBezTo>
                  <a:close/>
                  <a:moveTo>
                    <a:pt x="5918069" y="1709928"/>
                  </a:moveTo>
                  <a:cubicBezTo>
                    <a:pt x="5923018" y="1709928"/>
                    <a:pt x="5927030" y="1713940"/>
                    <a:pt x="5927030" y="1718887"/>
                  </a:cubicBezTo>
                  <a:cubicBezTo>
                    <a:pt x="5927030" y="1723835"/>
                    <a:pt x="5923018" y="1727846"/>
                    <a:pt x="5918069" y="1727846"/>
                  </a:cubicBezTo>
                  <a:cubicBezTo>
                    <a:pt x="5913120" y="1727846"/>
                    <a:pt x="5909109" y="1723835"/>
                    <a:pt x="5909109" y="1718887"/>
                  </a:cubicBezTo>
                  <a:cubicBezTo>
                    <a:pt x="5909109" y="1713940"/>
                    <a:pt x="5913120" y="1709928"/>
                    <a:pt x="5918069" y="1709928"/>
                  </a:cubicBezTo>
                  <a:close/>
                  <a:moveTo>
                    <a:pt x="6424294" y="1709928"/>
                  </a:moveTo>
                  <a:cubicBezTo>
                    <a:pt x="6429243" y="1709928"/>
                    <a:pt x="6433255" y="1713939"/>
                    <a:pt x="6433255" y="1718887"/>
                  </a:cubicBezTo>
                  <a:cubicBezTo>
                    <a:pt x="6433255" y="1723834"/>
                    <a:pt x="6429243" y="1727846"/>
                    <a:pt x="6424294" y="1727846"/>
                  </a:cubicBezTo>
                  <a:cubicBezTo>
                    <a:pt x="6419345" y="1727846"/>
                    <a:pt x="6415334" y="1723834"/>
                    <a:pt x="6415334" y="1718887"/>
                  </a:cubicBezTo>
                  <a:cubicBezTo>
                    <a:pt x="6415334" y="1713939"/>
                    <a:pt x="6419345" y="1709928"/>
                    <a:pt x="6424294" y="1709928"/>
                  </a:cubicBezTo>
                  <a:close/>
                  <a:moveTo>
                    <a:pt x="6255553" y="1709928"/>
                  </a:moveTo>
                  <a:cubicBezTo>
                    <a:pt x="6260502" y="1709928"/>
                    <a:pt x="6264514" y="1713939"/>
                    <a:pt x="6264514" y="1718887"/>
                  </a:cubicBezTo>
                  <a:cubicBezTo>
                    <a:pt x="6264514" y="1723835"/>
                    <a:pt x="6260502" y="1727846"/>
                    <a:pt x="6255553" y="1727846"/>
                  </a:cubicBezTo>
                  <a:cubicBezTo>
                    <a:pt x="6250604" y="1727846"/>
                    <a:pt x="6246593" y="1723835"/>
                    <a:pt x="6246593" y="1718887"/>
                  </a:cubicBezTo>
                  <a:cubicBezTo>
                    <a:pt x="6246593" y="1713939"/>
                    <a:pt x="6250604" y="1709928"/>
                    <a:pt x="6255553" y="1709928"/>
                  </a:cubicBezTo>
                  <a:close/>
                  <a:moveTo>
                    <a:pt x="6086811" y="1709928"/>
                  </a:moveTo>
                  <a:cubicBezTo>
                    <a:pt x="6091760" y="1709928"/>
                    <a:pt x="6095772" y="1713939"/>
                    <a:pt x="6095772" y="1718887"/>
                  </a:cubicBezTo>
                  <a:cubicBezTo>
                    <a:pt x="6095772" y="1723835"/>
                    <a:pt x="6091760" y="1727846"/>
                    <a:pt x="6086811" y="1727846"/>
                  </a:cubicBezTo>
                  <a:cubicBezTo>
                    <a:pt x="6081862" y="1727846"/>
                    <a:pt x="6077851" y="1723835"/>
                    <a:pt x="6077851" y="1718887"/>
                  </a:cubicBezTo>
                  <a:cubicBezTo>
                    <a:pt x="6077851" y="1713939"/>
                    <a:pt x="6081862" y="1709928"/>
                    <a:pt x="6086811" y="1709928"/>
                  </a:cubicBezTo>
                  <a:close/>
                  <a:moveTo>
                    <a:pt x="6593035" y="1709927"/>
                  </a:moveTo>
                  <a:cubicBezTo>
                    <a:pt x="6597984" y="1709927"/>
                    <a:pt x="6601996" y="1713939"/>
                    <a:pt x="6601996" y="1718887"/>
                  </a:cubicBezTo>
                  <a:cubicBezTo>
                    <a:pt x="6601996" y="1723834"/>
                    <a:pt x="6597984" y="1727845"/>
                    <a:pt x="6593035" y="1727845"/>
                  </a:cubicBezTo>
                  <a:cubicBezTo>
                    <a:pt x="6588086" y="1727845"/>
                    <a:pt x="6584075" y="1723834"/>
                    <a:pt x="6584075" y="1718887"/>
                  </a:cubicBezTo>
                  <a:cubicBezTo>
                    <a:pt x="6584075" y="1713939"/>
                    <a:pt x="6588086" y="1709927"/>
                    <a:pt x="6593035" y="1709927"/>
                  </a:cubicBezTo>
                  <a:close/>
                  <a:moveTo>
                    <a:pt x="6933679" y="1709927"/>
                  </a:moveTo>
                  <a:cubicBezTo>
                    <a:pt x="6938628" y="1709927"/>
                    <a:pt x="6942639" y="1713938"/>
                    <a:pt x="6942639" y="1718886"/>
                  </a:cubicBezTo>
                  <a:cubicBezTo>
                    <a:pt x="6942639" y="1723834"/>
                    <a:pt x="6938628" y="1727845"/>
                    <a:pt x="6933679" y="1727845"/>
                  </a:cubicBezTo>
                  <a:cubicBezTo>
                    <a:pt x="6928730" y="1727845"/>
                    <a:pt x="6924718" y="1723834"/>
                    <a:pt x="6924718" y="1718886"/>
                  </a:cubicBezTo>
                  <a:cubicBezTo>
                    <a:pt x="6924718" y="1713938"/>
                    <a:pt x="6928730" y="1709927"/>
                    <a:pt x="6933679" y="1709927"/>
                  </a:cubicBezTo>
                  <a:close/>
                  <a:moveTo>
                    <a:pt x="6763357" y="1709927"/>
                  </a:moveTo>
                  <a:cubicBezTo>
                    <a:pt x="6768306" y="1709927"/>
                    <a:pt x="6772318" y="1713938"/>
                    <a:pt x="6772318" y="1718887"/>
                  </a:cubicBezTo>
                  <a:cubicBezTo>
                    <a:pt x="6772318" y="1723834"/>
                    <a:pt x="6768306" y="1727845"/>
                    <a:pt x="6763357" y="1727845"/>
                  </a:cubicBezTo>
                  <a:cubicBezTo>
                    <a:pt x="6758408" y="1727845"/>
                    <a:pt x="6754397" y="1723834"/>
                    <a:pt x="6754397" y="1718887"/>
                  </a:cubicBezTo>
                  <a:cubicBezTo>
                    <a:pt x="6754397" y="1713938"/>
                    <a:pt x="6758408" y="1709927"/>
                    <a:pt x="6763357" y="1709927"/>
                  </a:cubicBezTo>
                  <a:close/>
                  <a:moveTo>
                    <a:pt x="2374642" y="1538887"/>
                  </a:moveTo>
                  <a:cubicBezTo>
                    <a:pt x="2379609" y="1538887"/>
                    <a:pt x="2383659" y="1542885"/>
                    <a:pt x="2383659" y="1547827"/>
                  </a:cubicBezTo>
                  <a:cubicBezTo>
                    <a:pt x="2383659" y="1552776"/>
                    <a:pt x="2379609" y="1556793"/>
                    <a:pt x="2374642" y="1556793"/>
                  </a:cubicBezTo>
                  <a:cubicBezTo>
                    <a:pt x="2369688" y="1556793"/>
                    <a:pt x="2365678" y="1552776"/>
                    <a:pt x="2365678" y="1547827"/>
                  </a:cubicBezTo>
                  <a:cubicBezTo>
                    <a:pt x="2365678" y="1542885"/>
                    <a:pt x="2369688" y="1538887"/>
                    <a:pt x="2374642" y="1538887"/>
                  </a:cubicBezTo>
                  <a:close/>
                  <a:moveTo>
                    <a:pt x="2205946" y="1538887"/>
                  </a:moveTo>
                  <a:cubicBezTo>
                    <a:pt x="2210896" y="1538887"/>
                    <a:pt x="2214903" y="1542886"/>
                    <a:pt x="2214903" y="1547827"/>
                  </a:cubicBezTo>
                  <a:cubicBezTo>
                    <a:pt x="2214903" y="1552776"/>
                    <a:pt x="2210896" y="1556793"/>
                    <a:pt x="2205946" y="1556793"/>
                  </a:cubicBezTo>
                  <a:cubicBezTo>
                    <a:pt x="2200968" y="1556793"/>
                    <a:pt x="2196946" y="1552776"/>
                    <a:pt x="2196946" y="1547827"/>
                  </a:cubicBezTo>
                  <a:cubicBezTo>
                    <a:pt x="2196946" y="1542886"/>
                    <a:pt x="2200968" y="1538887"/>
                    <a:pt x="2205946" y="1538887"/>
                  </a:cubicBezTo>
                  <a:close/>
                  <a:moveTo>
                    <a:pt x="2037202" y="1538887"/>
                  </a:moveTo>
                  <a:cubicBezTo>
                    <a:pt x="2042163" y="1538887"/>
                    <a:pt x="2046142" y="1542886"/>
                    <a:pt x="2046142" y="1547827"/>
                  </a:cubicBezTo>
                  <a:cubicBezTo>
                    <a:pt x="2046142" y="1552776"/>
                    <a:pt x="2042163" y="1556794"/>
                    <a:pt x="2037202" y="1556794"/>
                  </a:cubicBezTo>
                  <a:cubicBezTo>
                    <a:pt x="2032267" y="1556794"/>
                    <a:pt x="2028269" y="1552776"/>
                    <a:pt x="2028269" y="1547827"/>
                  </a:cubicBezTo>
                  <a:cubicBezTo>
                    <a:pt x="2028269" y="1542886"/>
                    <a:pt x="2032267" y="1538887"/>
                    <a:pt x="2037202" y="1538887"/>
                  </a:cubicBezTo>
                  <a:close/>
                  <a:moveTo>
                    <a:pt x="1868504" y="1538887"/>
                  </a:moveTo>
                  <a:cubicBezTo>
                    <a:pt x="1873439" y="1538887"/>
                    <a:pt x="1877450" y="1542886"/>
                    <a:pt x="1877450" y="1547827"/>
                  </a:cubicBezTo>
                  <a:cubicBezTo>
                    <a:pt x="1877450" y="1552776"/>
                    <a:pt x="1873439" y="1556794"/>
                    <a:pt x="1868504" y="1556794"/>
                  </a:cubicBezTo>
                  <a:cubicBezTo>
                    <a:pt x="1863544" y="1556794"/>
                    <a:pt x="1859525" y="1552776"/>
                    <a:pt x="1859525" y="1547827"/>
                  </a:cubicBezTo>
                  <a:cubicBezTo>
                    <a:pt x="1859525" y="1542886"/>
                    <a:pt x="1863544" y="1538887"/>
                    <a:pt x="1868504" y="1538887"/>
                  </a:cubicBezTo>
                  <a:close/>
                  <a:moveTo>
                    <a:pt x="1699750" y="1538887"/>
                  </a:moveTo>
                  <a:cubicBezTo>
                    <a:pt x="1704703" y="1538887"/>
                    <a:pt x="1708720" y="1542886"/>
                    <a:pt x="1708720" y="1547827"/>
                  </a:cubicBezTo>
                  <a:cubicBezTo>
                    <a:pt x="1708720" y="1552776"/>
                    <a:pt x="1704703" y="1556794"/>
                    <a:pt x="1699750" y="1556794"/>
                  </a:cubicBezTo>
                  <a:cubicBezTo>
                    <a:pt x="1694793" y="1556794"/>
                    <a:pt x="1690779" y="1552776"/>
                    <a:pt x="1690779" y="1547827"/>
                  </a:cubicBezTo>
                  <a:cubicBezTo>
                    <a:pt x="1690779" y="1542886"/>
                    <a:pt x="1694793" y="1538887"/>
                    <a:pt x="1699750" y="1538887"/>
                  </a:cubicBezTo>
                  <a:close/>
                  <a:moveTo>
                    <a:pt x="1531007" y="1538887"/>
                  </a:moveTo>
                  <a:cubicBezTo>
                    <a:pt x="1535958" y="1538887"/>
                    <a:pt x="1539970" y="1542886"/>
                    <a:pt x="1539970" y="1547827"/>
                  </a:cubicBezTo>
                  <a:cubicBezTo>
                    <a:pt x="1539970" y="1552776"/>
                    <a:pt x="1535958" y="1556794"/>
                    <a:pt x="1531007" y="1556794"/>
                  </a:cubicBezTo>
                  <a:cubicBezTo>
                    <a:pt x="1526057" y="1556794"/>
                    <a:pt x="1522045" y="1552776"/>
                    <a:pt x="1522045" y="1547827"/>
                  </a:cubicBezTo>
                  <a:cubicBezTo>
                    <a:pt x="1522045" y="1542886"/>
                    <a:pt x="1526057" y="1538887"/>
                    <a:pt x="1531007" y="1538887"/>
                  </a:cubicBezTo>
                  <a:close/>
                  <a:moveTo>
                    <a:pt x="1362253" y="1538887"/>
                  </a:moveTo>
                  <a:cubicBezTo>
                    <a:pt x="1367208" y="1538887"/>
                    <a:pt x="1371216" y="1542886"/>
                    <a:pt x="1371216" y="1547827"/>
                  </a:cubicBezTo>
                  <a:cubicBezTo>
                    <a:pt x="1371216" y="1552776"/>
                    <a:pt x="1367208" y="1556794"/>
                    <a:pt x="1362253" y="1556794"/>
                  </a:cubicBezTo>
                  <a:cubicBezTo>
                    <a:pt x="1357304" y="1556794"/>
                    <a:pt x="1353292" y="1552776"/>
                    <a:pt x="1353292" y="1547827"/>
                  </a:cubicBezTo>
                  <a:cubicBezTo>
                    <a:pt x="1353292" y="1542886"/>
                    <a:pt x="1357304" y="1538887"/>
                    <a:pt x="1362253" y="1538887"/>
                  </a:cubicBezTo>
                  <a:close/>
                  <a:moveTo>
                    <a:pt x="1193511" y="1538887"/>
                  </a:moveTo>
                  <a:cubicBezTo>
                    <a:pt x="1198459" y="1538887"/>
                    <a:pt x="1202472" y="1542886"/>
                    <a:pt x="1202472" y="1547827"/>
                  </a:cubicBezTo>
                  <a:cubicBezTo>
                    <a:pt x="1202472" y="1552776"/>
                    <a:pt x="1198459" y="1556795"/>
                    <a:pt x="1193511" y="1556795"/>
                  </a:cubicBezTo>
                  <a:cubicBezTo>
                    <a:pt x="1188564" y="1556795"/>
                    <a:pt x="1184554" y="1552776"/>
                    <a:pt x="1184554" y="1547827"/>
                  </a:cubicBezTo>
                  <a:cubicBezTo>
                    <a:pt x="1184554" y="1542886"/>
                    <a:pt x="1188564" y="1538887"/>
                    <a:pt x="1193511" y="1538887"/>
                  </a:cubicBezTo>
                  <a:close/>
                  <a:moveTo>
                    <a:pt x="1024754" y="1538887"/>
                  </a:moveTo>
                  <a:cubicBezTo>
                    <a:pt x="1029706" y="1538887"/>
                    <a:pt x="1033722" y="1542886"/>
                    <a:pt x="1033722" y="1547827"/>
                  </a:cubicBezTo>
                  <a:cubicBezTo>
                    <a:pt x="1033722" y="1552776"/>
                    <a:pt x="1029706" y="1556795"/>
                    <a:pt x="1024754" y="1556795"/>
                  </a:cubicBezTo>
                  <a:cubicBezTo>
                    <a:pt x="1019806" y="1556795"/>
                    <a:pt x="1015793" y="1552776"/>
                    <a:pt x="1015793" y="1547827"/>
                  </a:cubicBezTo>
                  <a:cubicBezTo>
                    <a:pt x="1015793" y="1542886"/>
                    <a:pt x="1019806" y="1538887"/>
                    <a:pt x="1024754" y="1538887"/>
                  </a:cubicBezTo>
                  <a:close/>
                  <a:moveTo>
                    <a:pt x="856031" y="1538887"/>
                  </a:moveTo>
                  <a:cubicBezTo>
                    <a:pt x="860979" y="1538887"/>
                    <a:pt x="864992" y="1542886"/>
                    <a:pt x="864992" y="1547827"/>
                  </a:cubicBezTo>
                  <a:cubicBezTo>
                    <a:pt x="864992" y="1552776"/>
                    <a:pt x="860979" y="1556795"/>
                    <a:pt x="856031" y="1556795"/>
                  </a:cubicBezTo>
                  <a:cubicBezTo>
                    <a:pt x="851081" y="1556795"/>
                    <a:pt x="847070" y="1552776"/>
                    <a:pt x="847070" y="1547827"/>
                  </a:cubicBezTo>
                  <a:cubicBezTo>
                    <a:pt x="847070" y="1542886"/>
                    <a:pt x="851081" y="1538887"/>
                    <a:pt x="856031" y="1538887"/>
                  </a:cubicBezTo>
                  <a:close/>
                  <a:moveTo>
                    <a:pt x="687293" y="1538887"/>
                  </a:moveTo>
                  <a:cubicBezTo>
                    <a:pt x="692242" y="1538887"/>
                    <a:pt x="696254" y="1542887"/>
                    <a:pt x="696254" y="1547827"/>
                  </a:cubicBezTo>
                  <a:cubicBezTo>
                    <a:pt x="696254" y="1552776"/>
                    <a:pt x="692242" y="1556795"/>
                    <a:pt x="687293" y="1556795"/>
                  </a:cubicBezTo>
                  <a:cubicBezTo>
                    <a:pt x="682345" y="1556795"/>
                    <a:pt x="678335" y="1552776"/>
                    <a:pt x="678335" y="1547827"/>
                  </a:cubicBezTo>
                  <a:cubicBezTo>
                    <a:pt x="678335" y="1542887"/>
                    <a:pt x="682345" y="1538887"/>
                    <a:pt x="687293" y="1538887"/>
                  </a:cubicBezTo>
                  <a:close/>
                  <a:moveTo>
                    <a:pt x="518515" y="1538887"/>
                  </a:moveTo>
                  <a:cubicBezTo>
                    <a:pt x="523464" y="1538887"/>
                    <a:pt x="527475" y="1542888"/>
                    <a:pt x="527475" y="1547827"/>
                  </a:cubicBezTo>
                  <a:cubicBezTo>
                    <a:pt x="527475" y="1552776"/>
                    <a:pt x="523464" y="1556795"/>
                    <a:pt x="518515" y="1556795"/>
                  </a:cubicBezTo>
                  <a:cubicBezTo>
                    <a:pt x="513566" y="1556795"/>
                    <a:pt x="509555" y="1552776"/>
                    <a:pt x="509555" y="1547827"/>
                  </a:cubicBezTo>
                  <a:cubicBezTo>
                    <a:pt x="509555" y="1542888"/>
                    <a:pt x="513566" y="1538887"/>
                    <a:pt x="518515" y="1538887"/>
                  </a:cubicBezTo>
                  <a:close/>
                  <a:moveTo>
                    <a:pt x="349778" y="1538887"/>
                  </a:moveTo>
                  <a:cubicBezTo>
                    <a:pt x="354727" y="1538887"/>
                    <a:pt x="358738" y="1542888"/>
                    <a:pt x="358738" y="1547827"/>
                  </a:cubicBezTo>
                  <a:cubicBezTo>
                    <a:pt x="358738" y="1552776"/>
                    <a:pt x="354727" y="1556795"/>
                    <a:pt x="349778" y="1556795"/>
                  </a:cubicBezTo>
                  <a:cubicBezTo>
                    <a:pt x="344831" y="1556795"/>
                    <a:pt x="340819" y="1552776"/>
                    <a:pt x="340819" y="1547827"/>
                  </a:cubicBezTo>
                  <a:cubicBezTo>
                    <a:pt x="340819" y="1542888"/>
                    <a:pt x="344831" y="1538887"/>
                    <a:pt x="349778" y="1538887"/>
                  </a:cubicBezTo>
                  <a:close/>
                  <a:moveTo>
                    <a:pt x="179461" y="1538887"/>
                  </a:moveTo>
                  <a:cubicBezTo>
                    <a:pt x="184410" y="1538887"/>
                    <a:pt x="188422" y="1542888"/>
                    <a:pt x="188422" y="1547827"/>
                  </a:cubicBezTo>
                  <a:cubicBezTo>
                    <a:pt x="188422" y="1552776"/>
                    <a:pt x="184410" y="1556795"/>
                    <a:pt x="179461" y="1556795"/>
                  </a:cubicBezTo>
                  <a:cubicBezTo>
                    <a:pt x="174513" y="1556795"/>
                    <a:pt x="170501" y="1552776"/>
                    <a:pt x="170501" y="1547827"/>
                  </a:cubicBezTo>
                  <a:cubicBezTo>
                    <a:pt x="170501" y="1542888"/>
                    <a:pt x="174513" y="1538887"/>
                    <a:pt x="179461" y="1538887"/>
                  </a:cubicBezTo>
                  <a:close/>
                  <a:moveTo>
                    <a:pt x="9146" y="1538887"/>
                  </a:moveTo>
                  <a:cubicBezTo>
                    <a:pt x="14094" y="1538887"/>
                    <a:pt x="18105" y="1542888"/>
                    <a:pt x="18105" y="1547827"/>
                  </a:cubicBezTo>
                  <a:cubicBezTo>
                    <a:pt x="18105" y="1552776"/>
                    <a:pt x="14094" y="1556795"/>
                    <a:pt x="9146" y="1556795"/>
                  </a:cubicBezTo>
                  <a:cubicBezTo>
                    <a:pt x="4198" y="1556795"/>
                    <a:pt x="186" y="1552776"/>
                    <a:pt x="186" y="1547827"/>
                  </a:cubicBezTo>
                  <a:cubicBezTo>
                    <a:pt x="186" y="1542888"/>
                    <a:pt x="4198" y="1538887"/>
                    <a:pt x="9146" y="1538887"/>
                  </a:cubicBezTo>
                  <a:close/>
                  <a:moveTo>
                    <a:pt x="3218308" y="1538885"/>
                  </a:moveTo>
                  <a:cubicBezTo>
                    <a:pt x="3223281" y="1538885"/>
                    <a:pt x="3227288" y="1542884"/>
                    <a:pt x="3227288" y="1547827"/>
                  </a:cubicBezTo>
                  <a:cubicBezTo>
                    <a:pt x="3227288" y="1552776"/>
                    <a:pt x="3223281" y="1556792"/>
                    <a:pt x="3218308" y="1556792"/>
                  </a:cubicBezTo>
                  <a:cubicBezTo>
                    <a:pt x="3213347" y="1556792"/>
                    <a:pt x="3209338" y="1552776"/>
                    <a:pt x="3209338" y="1547827"/>
                  </a:cubicBezTo>
                  <a:cubicBezTo>
                    <a:pt x="3209338" y="1542884"/>
                    <a:pt x="3213347" y="1538885"/>
                    <a:pt x="3218308" y="1538885"/>
                  </a:cubicBezTo>
                  <a:close/>
                  <a:moveTo>
                    <a:pt x="3049615" y="1538885"/>
                  </a:moveTo>
                  <a:cubicBezTo>
                    <a:pt x="3054560" y="1538885"/>
                    <a:pt x="3058571" y="1542884"/>
                    <a:pt x="3058571" y="1547827"/>
                  </a:cubicBezTo>
                  <a:cubicBezTo>
                    <a:pt x="3058571" y="1552776"/>
                    <a:pt x="3054560" y="1556792"/>
                    <a:pt x="3049615" y="1556792"/>
                  </a:cubicBezTo>
                  <a:cubicBezTo>
                    <a:pt x="3044663" y="1556792"/>
                    <a:pt x="3040645" y="1552776"/>
                    <a:pt x="3040645" y="1547827"/>
                  </a:cubicBezTo>
                  <a:cubicBezTo>
                    <a:pt x="3040645" y="1542884"/>
                    <a:pt x="3044663" y="1538885"/>
                    <a:pt x="3049615" y="1538885"/>
                  </a:cubicBezTo>
                  <a:close/>
                  <a:moveTo>
                    <a:pt x="2880897" y="1538885"/>
                  </a:moveTo>
                  <a:cubicBezTo>
                    <a:pt x="2885842" y="1538885"/>
                    <a:pt x="2889853" y="1542884"/>
                    <a:pt x="2889853" y="1547827"/>
                  </a:cubicBezTo>
                  <a:cubicBezTo>
                    <a:pt x="2889853" y="1552776"/>
                    <a:pt x="2885842" y="1556793"/>
                    <a:pt x="2880897" y="1556793"/>
                  </a:cubicBezTo>
                  <a:cubicBezTo>
                    <a:pt x="2875952" y="1556793"/>
                    <a:pt x="2871940" y="1552776"/>
                    <a:pt x="2871940" y="1547827"/>
                  </a:cubicBezTo>
                  <a:cubicBezTo>
                    <a:pt x="2871940" y="1542884"/>
                    <a:pt x="2875952" y="1538885"/>
                    <a:pt x="2880897" y="1538885"/>
                  </a:cubicBezTo>
                  <a:close/>
                  <a:moveTo>
                    <a:pt x="2712121" y="1538885"/>
                  </a:moveTo>
                  <a:cubicBezTo>
                    <a:pt x="2717097" y="1538885"/>
                    <a:pt x="2721104" y="1542884"/>
                    <a:pt x="2721104" y="1547827"/>
                  </a:cubicBezTo>
                  <a:cubicBezTo>
                    <a:pt x="2721104" y="1552776"/>
                    <a:pt x="2717097" y="1556793"/>
                    <a:pt x="2712121" y="1556793"/>
                  </a:cubicBezTo>
                  <a:cubicBezTo>
                    <a:pt x="2707189" y="1556793"/>
                    <a:pt x="2703168" y="1552776"/>
                    <a:pt x="2703168" y="1547827"/>
                  </a:cubicBezTo>
                  <a:cubicBezTo>
                    <a:pt x="2703168" y="1542884"/>
                    <a:pt x="2707189" y="1538885"/>
                    <a:pt x="2712121" y="1538885"/>
                  </a:cubicBezTo>
                  <a:close/>
                  <a:moveTo>
                    <a:pt x="2543450" y="1538885"/>
                  </a:moveTo>
                  <a:cubicBezTo>
                    <a:pt x="2548405" y="1538885"/>
                    <a:pt x="2552414" y="1542885"/>
                    <a:pt x="2552414" y="1547827"/>
                  </a:cubicBezTo>
                  <a:cubicBezTo>
                    <a:pt x="2552414" y="1552776"/>
                    <a:pt x="2548405" y="1556793"/>
                    <a:pt x="2543450" y="1556793"/>
                  </a:cubicBezTo>
                  <a:cubicBezTo>
                    <a:pt x="2538495" y="1556793"/>
                    <a:pt x="2534474" y="1552776"/>
                    <a:pt x="2534474" y="1547827"/>
                  </a:cubicBezTo>
                  <a:cubicBezTo>
                    <a:pt x="2534474" y="1542885"/>
                    <a:pt x="2538495" y="1538885"/>
                    <a:pt x="2543450" y="1538885"/>
                  </a:cubicBezTo>
                  <a:close/>
                  <a:moveTo>
                    <a:pt x="5749328" y="1538884"/>
                  </a:moveTo>
                  <a:cubicBezTo>
                    <a:pt x="5754277" y="1538884"/>
                    <a:pt x="5758289" y="1542881"/>
                    <a:pt x="5758289" y="1547820"/>
                  </a:cubicBezTo>
                  <a:cubicBezTo>
                    <a:pt x="5758289" y="1552773"/>
                    <a:pt x="5754277" y="1556789"/>
                    <a:pt x="5749328" y="1556789"/>
                  </a:cubicBezTo>
                  <a:cubicBezTo>
                    <a:pt x="5744379" y="1556789"/>
                    <a:pt x="5740368" y="1552773"/>
                    <a:pt x="5740368" y="1547820"/>
                  </a:cubicBezTo>
                  <a:cubicBezTo>
                    <a:pt x="5740368" y="1542881"/>
                    <a:pt x="5744379" y="1538884"/>
                    <a:pt x="5749328" y="1538884"/>
                  </a:cubicBezTo>
                  <a:close/>
                  <a:moveTo>
                    <a:pt x="5580586" y="1538884"/>
                  </a:moveTo>
                  <a:cubicBezTo>
                    <a:pt x="5585535" y="1538884"/>
                    <a:pt x="5589547" y="1542881"/>
                    <a:pt x="5589547" y="1547820"/>
                  </a:cubicBezTo>
                  <a:cubicBezTo>
                    <a:pt x="5589547" y="1552773"/>
                    <a:pt x="5585535" y="1556789"/>
                    <a:pt x="5580586" y="1556789"/>
                  </a:cubicBezTo>
                  <a:cubicBezTo>
                    <a:pt x="5575637" y="1556789"/>
                    <a:pt x="5571626" y="1552773"/>
                    <a:pt x="5571626" y="1547820"/>
                  </a:cubicBezTo>
                  <a:cubicBezTo>
                    <a:pt x="5571626" y="1542881"/>
                    <a:pt x="5575637" y="1538884"/>
                    <a:pt x="5580586" y="1538884"/>
                  </a:cubicBezTo>
                  <a:close/>
                  <a:moveTo>
                    <a:pt x="5411845" y="1538884"/>
                  </a:moveTo>
                  <a:cubicBezTo>
                    <a:pt x="5416794" y="1538884"/>
                    <a:pt x="5420806" y="1542882"/>
                    <a:pt x="5420806" y="1547820"/>
                  </a:cubicBezTo>
                  <a:cubicBezTo>
                    <a:pt x="5420806" y="1552773"/>
                    <a:pt x="5416794" y="1556789"/>
                    <a:pt x="5411845" y="1556789"/>
                  </a:cubicBezTo>
                  <a:cubicBezTo>
                    <a:pt x="5406896" y="1556789"/>
                    <a:pt x="5402885" y="1552773"/>
                    <a:pt x="5402885" y="1547820"/>
                  </a:cubicBezTo>
                  <a:cubicBezTo>
                    <a:pt x="5402885" y="1542882"/>
                    <a:pt x="5406896" y="1538884"/>
                    <a:pt x="5411845" y="1538884"/>
                  </a:cubicBezTo>
                  <a:close/>
                  <a:moveTo>
                    <a:pt x="5243103" y="1538884"/>
                  </a:moveTo>
                  <a:cubicBezTo>
                    <a:pt x="5248052" y="1538884"/>
                    <a:pt x="5252064" y="1542882"/>
                    <a:pt x="5252064" y="1547820"/>
                  </a:cubicBezTo>
                  <a:cubicBezTo>
                    <a:pt x="5252064" y="1552773"/>
                    <a:pt x="5248052" y="1556791"/>
                    <a:pt x="5243103" y="1556791"/>
                  </a:cubicBezTo>
                  <a:cubicBezTo>
                    <a:pt x="5238154" y="1556791"/>
                    <a:pt x="5234143" y="1552773"/>
                    <a:pt x="5234143" y="1547820"/>
                  </a:cubicBezTo>
                  <a:cubicBezTo>
                    <a:pt x="5234143" y="1542882"/>
                    <a:pt x="5238154" y="1538884"/>
                    <a:pt x="5243103" y="1538884"/>
                  </a:cubicBezTo>
                  <a:close/>
                  <a:moveTo>
                    <a:pt x="5074362" y="1538884"/>
                  </a:moveTo>
                  <a:cubicBezTo>
                    <a:pt x="5079311" y="1538884"/>
                    <a:pt x="5083323" y="1542882"/>
                    <a:pt x="5083323" y="1547820"/>
                  </a:cubicBezTo>
                  <a:cubicBezTo>
                    <a:pt x="5083323" y="1552773"/>
                    <a:pt x="5079311" y="1556791"/>
                    <a:pt x="5074362" y="1556791"/>
                  </a:cubicBezTo>
                  <a:cubicBezTo>
                    <a:pt x="5069413" y="1556791"/>
                    <a:pt x="5065402" y="1552773"/>
                    <a:pt x="5065402" y="1547820"/>
                  </a:cubicBezTo>
                  <a:cubicBezTo>
                    <a:pt x="5065402" y="1542882"/>
                    <a:pt x="5069413" y="1538884"/>
                    <a:pt x="5074362" y="1538884"/>
                  </a:cubicBezTo>
                  <a:close/>
                  <a:moveTo>
                    <a:pt x="4905620" y="1538884"/>
                  </a:moveTo>
                  <a:cubicBezTo>
                    <a:pt x="4910569" y="1538884"/>
                    <a:pt x="4914581" y="1542882"/>
                    <a:pt x="4914581" y="1547820"/>
                  </a:cubicBezTo>
                  <a:cubicBezTo>
                    <a:pt x="4914581" y="1552773"/>
                    <a:pt x="4910569" y="1556791"/>
                    <a:pt x="4905620" y="1556791"/>
                  </a:cubicBezTo>
                  <a:cubicBezTo>
                    <a:pt x="4900671" y="1556791"/>
                    <a:pt x="4896660" y="1552773"/>
                    <a:pt x="4896660" y="1547820"/>
                  </a:cubicBezTo>
                  <a:cubicBezTo>
                    <a:pt x="4896660" y="1542882"/>
                    <a:pt x="4900671" y="1538884"/>
                    <a:pt x="4905620" y="1538884"/>
                  </a:cubicBezTo>
                  <a:close/>
                  <a:moveTo>
                    <a:pt x="4736878" y="1538884"/>
                  </a:moveTo>
                  <a:cubicBezTo>
                    <a:pt x="4741827" y="1538884"/>
                    <a:pt x="4745839" y="1542882"/>
                    <a:pt x="4745839" y="1547820"/>
                  </a:cubicBezTo>
                  <a:cubicBezTo>
                    <a:pt x="4745839" y="1552773"/>
                    <a:pt x="4741827" y="1556791"/>
                    <a:pt x="4736878" y="1556791"/>
                  </a:cubicBezTo>
                  <a:cubicBezTo>
                    <a:pt x="4731929" y="1556791"/>
                    <a:pt x="4727918" y="1552773"/>
                    <a:pt x="4727918" y="1547820"/>
                  </a:cubicBezTo>
                  <a:cubicBezTo>
                    <a:pt x="4727918" y="1542882"/>
                    <a:pt x="4731929" y="1538884"/>
                    <a:pt x="4736878" y="1538884"/>
                  </a:cubicBezTo>
                  <a:close/>
                  <a:moveTo>
                    <a:pt x="4568137" y="1538884"/>
                  </a:moveTo>
                  <a:cubicBezTo>
                    <a:pt x="4573086" y="1538884"/>
                    <a:pt x="4577098" y="1542882"/>
                    <a:pt x="4577098" y="1547820"/>
                  </a:cubicBezTo>
                  <a:cubicBezTo>
                    <a:pt x="4577098" y="1552773"/>
                    <a:pt x="4573086" y="1556791"/>
                    <a:pt x="4568137" y="1556791"/>
                  </a:cubicBezTo>
                  <a:cubicBezTo>
                    <a:pt x="4563188" y="1556791"/>
                    <a:pt x="4559177" y="1552773"/>
                    <a:pt x="4559177" y="1547820"/>
                  </a:cubicBezTo>
                  <a:cubicBezTo>
                    <a:pt x="4559177" y="1542882"/>
                    <a:pt x="4563188" y="1538884"/>
                    <a:pt x="4568137" y="1538884"/>
                  </a:cubicBezTo>
                  <a:close/>
                  <a:moveTo>
                    <a:pt x="4399396" y="1538884"/>
                  </a:moveTo>
                  <a:cubicBezTo>
                    <a:pt x="4404345" y="1538884"/>
                    <a:pt x="4408357" y="1542883"/>
                    <a:pt x="4408357" y="1547820"/>
                  </a:cubicBezTo>
                  <a:cubicBezTo>
                    <a:pt x="4408357" y="1552773"/>
                    <a:pt x="4404345" y="1556792"/>
                    <a:pt x="4399396" y="1556792"/>
                  </a:cubicBezTo>
                  <a:cubicBezTo>
                    <a:pt x="4394447" y="1556792"/>
                    <a:pt x="4390436" y="1552773"/>
                    <a:pt x="4390436" y="1547820"/>
                  </a:cubicBezTo>
                  <a:cubicBezTo>
                    <a:pt x="4390436" y="1542883"/>
                    <a:pt x="4394447" y="1538884"/>
                    <a:pt x="4399396" y="1538884"/>
                  </a:cubicBezTo>
                  <a:close/>
                  <a:moveTo>
                    <a:pt x="4230654" y="1538884"/>
                  </a:moveTo>
                  <a:cubicBezTo>
                    <a:pt x="4235603" y="1538884"/>
                    <a:pt x="4239615" y="1542883"/>
                    <a:pt x="4239615" y="1547827"/>
                  </a:cubicBezTo>
                  <a:cubicBezTo>
                    <a:pt x="4239615" y="1552773"/>
                    <a:pt x="4235603" y="1556792"/>
                    <a:pt x="4230654" y="1556792"/>
                  </a:cubicBezTo>
                  <a:cubicBezTo>
                    <a:pt x="4225705" y="1556792"/>
                    <a:pt x="4221694" y="1552773"/>
                    <a:pt x="4221694" y="1547827"/>
                  </a:cubicBezTo>
                  <a:cubicBezTo>
                    <a:pt x="4221694" y="1542883"/>
                    <a:pt x="4225705" y="1538884"/>
                    <a:pt x="4230654" y="1538884"/>
                  </a:cubicBezTo>
                  <a:close/>
                  <a:moveTo>
                    <a:pt x="4061912" y="1538884"/>
                  </a:moveTo>
                  <a:cubicBezTo>
                    <a:pt x="4066861" y="1538884"/>
                    <a:pt x="4070873" y="1542883"/>
                    <a:pt x="4070873" y="1547827"/>
                  </a:cubicBezTo>
                  <a:cubicBezTo>
                    <a:pt x="4070873" y="1552773"/>
                    <a:pt x="4066861" y="1556792"/>
                    <a:pt x="4061912" y="1556792"/>
                  </a:cubicBezTo>
                  <a:cubicBezTo>
                    <a:pt x="4056963" y="1556792"/>
                    <a:pt x="4052952" y="1552773"/>
                    <a:pt x="4052952" y="1547827"/>
                  </a:cubicBezTo>
                  <a:cubicBezTo>
                    <a:pt x="4052952" y="1542883"/>
                    <a:pt x="4056963" y="1538884"/>
                    <a:pt x="4061912" y="1538884"/>
                  </a:cubicBezTo>
                  <a:close/>
                  <a:moveTo>
                    <a:pt x="3893170" y="1538884"/>
                  </a:moveTo>
                  <a:cubicBezTo>
                    <a:pt x="3898119" y="1538884"/>
                    <a:pt x="3902131" y="1542884"/>
                    <a:pt x="3902131" y="1547827"/>
                  </a:cubicBezTo>
                  <a:cubicBezTo>
                    <a:pt x="3902131" y="1552773"/>
                    <a:pt x="3898119" y="1556792"/>
                    <a:pt x="3893170" y="1556792"/>
                  </a:cubicBezTo>
                  <a:cubicBezTo>
                    <a:pt x="3888221" y="1556792"/>
                    <a:pt x="3884210" y="1552773"/>
                    <a:pt x="3884210" y="1547827"/>
                  </a:cubicBezTo>
                  <a:cubicBezTo>
                    <a:pt x="3884210" y="1542884"/>
                    <a:pt x="3888221" y="1538884"/>
                    <a:pt x="3893170" y="1538884"/>
                  </a:cubicBezTo>
                  <a:close/>
                  <a:moveTo>
                    <a:pt x="3724429" y="1538884"/>
                  </a:moveTo>
                  <a:cubicBezTo>
                    <a:pt x="3729378" y="1538884"/>
                    <a:pt x="3733390" y="1542884"/>
                    <a:pt x="3733390" y="1547827"/>
                  </a:cubicBezTo>
                  <a:cubicBezTo>
                    <a:pt x="3733390" y="1552773"/>
                    <a:pt x="3729378" y="1556792"/>
                    <a:pt x="3724429" y="1556792"/>
                  </a:cubicBezTo>
                  <a:cubicBezTo>
                    <a:pt x="3719481" y="1556792"/>
                    <a:pt x="3715469" y="1552773"/>
                    <a:pt x="3715469" y="1547827"/>
                  </a:cubicBezTo>
                  <a:cubicBezTo>
                    <a:pt x="3715469" y="1542884"/>
                    <a:pt x="3719481" y="1538884"/>
                    <a:pt x="3724429" y="1538884"/>
                  </a:cubicBezTo>
                  <a:close/>
                  <a:moveTo>
                    <a:pt x="3555688" y="1538884"/>
                  </a:moveTo>
                  <a:cubicBezTo>
                    <a:pt x="3560637" y="1538884"/>
                    <a:pt x="3564649" y="1542884"/>
                    <a:pt x="3564649" y="1547827"/>
                  </a:cubicBezTo>
                  <a:cubicBezTo>
                    <a:pt x="3564649" y="1552773"/>
                    <a:pt x="3560637" y="1556792"/>
                    <a:pt x="3555688" y="1556792"/>
                  </a:cubicBezTo>
                  <a:cubicBezTo>
                    <a:pt x="3550740" y="1556792"/>
                    <a:pt x="3546728" y="1552773"/>
                    <a:pt x="3546728" y="1547827"/>
                  </a:cubicBezTo>
                  <a:cubicBezTo>
                    <a:pt x="3546728" y="1542884"/>
                    <a:pt x="3550740" y="1538884"/>
                    <a:pt x="3555688" y="1538884"/>
                  </a:cubicBezTo>
                  <a:close/>
                  <a:moveTo>
                    <a:pt x="3387065" y="1538884"/>
                  </a:moveTo>
                  <a:cubicBezTo>
                    <a:pt x="3392031" y="1538884"/>
                    <a:pt x="3396043" y="1542884"/>
                    <a:pt x="3396043" y="1547827"/>
                  </a:cubicBezTo>
                  <a:cubicBezTo>
                    <a:pt x="3396043" y="1552773"/>
                    <a:pt x="3392031" y="1556792"/>
                    <a:pt x="3387065" y="1556792"/>
                  </a:cubicBezTo>
                  <a:cubicBezTo>
                    <a:pt x="3382068" y="1556792"/>
                    <a:pt x="3378054" y="1552773"/>
                    <a:pt x="3378054" y="1547827"/>
                  </a:cubicBezTo>
                  <a:cubicBezTo>
                    <a:pt x="3378054" y="1542884"/>
                    <a:pt x="3382068" y="1538884"/>
                    <a:pt x="3387065" y="1538884"/>
                  </a:cubicBezTo>
                  <a:close/>
                  <a:moveTo>
                    <a:pt x="6593035" y="1538882"/>
                  </a:moveTo>
                  <a:cubicBezTo>
                    <a:pt x="6597984" y="1538882"/>
                    <a:pt x="6601996" y="1542880"/>
                    <a:pt x="6601996" y="1547820"/>
                  </a:cubicBezTo>
                  <a:cubicBezTo>
                    <a:pt x="6601996" y="1552773"/>
                    <a:pt x="6597984" y="1556789"/>
                    <a:pt x="6593035" y="1556789"/>
                  </a:cubicBezTo>
                  <a:cubicBezTo>
                    <a:pt x="6588086" y="1556789"/>
                    <a:pt x="6584075" y="1552773"/>
                    <a:pt x="6584075" y="1547820"/>
                  </a:cubicBezTo>
                  <a:cubicBezTo>
                    <a:pt x="6584075" y="1542880"/>
                    <a:pt x="6588086" y="1538882"/>
                    <a:pt x="6593035" y="1538882"/>
                  </a:cubicBezTo>
                  <a:close/>
                  <a:moveTo>
                    <a:pt x="6424294" y="1538882"/>
                  </a:moveTo>
                  <a:cubicBezTo>
                    <a:pt x="6429243" y="1538882"/>
                    <a:pt x="6433255" y="1542881"/>
                    <a:pt x="6433255" y="1547820"/>
                  </a:cubicBezTo>
                  <a:cubicBezTo>
                    <a:pt x="6433255" y="1552773"/>
                    <a:pt x="6429243" y="1556789"/>
                    <a:pt x="6424294" y="1556789"/>
                  </a:cubicBezTo>
                  <a:cubicBezTo>
                    <a:pt x="6419345" y="1556789"/>
                    <a:pt x="6415334" y="1552773"/>
                    <a:pt x="6415334" y="1547820"/>
                  </a:cubicBezTo>
                  <a:cubicBezTo>
                    <a:pt x="6415334" y="1542881"/>
                    <a:pt x="6419345" y="1538882"/>
                    <a:pt x="6424294" y="1538882"/>
                  </a:cubicBezTo>
                  <a:close/>
                  <a:moveTo>
                    <a:pt x="6255553" y="1538882"/>
                  </a:moveTo>
                  <a:cubicBezTo>
                    <a:pt x="6260502" y="1538882"/>
                    <a:pt x="6264514" y="1542881"/>
                    <a:pt x="6264514" y="1547820"/>
                  </a:cubicBezTo>
                  <a:cubicBezTo>
                    <a:pt x="6264514" y="1552773"/>
                    <a:pt x="6260502" y="1556789"/>
                    <a:pt x="6255553" y="1556789"/>
                  </a:cubicBezTo>
                  <a:cubicBezTo>
                    <a:pt x="6250604" y="1556789"/>
                    <a:pt x="6246593" y="1552773"/>
                    <a:pt x="6246593" y="1547820"/>
                  </a:cubicBezTo>
                  <a:cubicBezTo>
                    <a:pt x="6246593" y="1542881"/>
                    <a:pt x="6250604" y="1538882"/>
                    <a:pt x="6255553" y="1538882"/>
                  </a:cubicBezTo>
                  <a:close/>
                  <a:moveTo>
                    <a:pt x="6086811" y="1538882"/>
                  </a:moveTo>
                  <a:cubicBezTo>
                    <a:pt x="6091760" y="1538882"/>
                    <a:pt x="6095772" y="1542881"/>
                    <a:pt x="6095772" y="1547820"/>
                  </a:cubicBezTo>
                  <a:cubicBezTo>
                    <a:pt x="6095772" y="1552773"/>
                    <a:pt x="6091760" y="1556789"/>
                    <a:pt x="6086811" y="1556789"/>
                  </a:cubicBezTo>
                  <a:cubicBezTo>
                    <a:pt x="6081862" y="1556789"/>
                    <a:pt x="6077851" y="1552773"/>
                    <a:pt x="6077851" y="1547820"/>
                  </a:cubicBezTo>
                  <a:cubicBezTo>
                    <a:pt x="6077851" y="1542881"/>
                    <a:pt x="6081862" y="1538882"/>
                    <a:pt x="6086811" y="1538882"/>
                  </a:cubicBezTo>
                  <a:close/>
                  <a:moveTo>
                    <a:pt x="5918069" y="1538882"/>
                  </a:moveTo>
                  <a:cubicBezTo>
                    <a:pt x="5923018" y="1538882"/>
                    <a:pt x="5927030" y="1542881"/>
                    <a:pt x="5927030" y="1547820"/>
                  </a:cubicBezTo>
                  <a:cubicBezTo>
                    <a:pt x="5927030" y="1552773"/>
                    <a:pt x="5923018" y="1556789"/>
                    <a:pt x="5918069" y="1556789"/>
                  </a:cubicBezTo>
                  <a:cubicBezTo>
                    <a:pt x="5913120" y="1556789"/>
                    <a:pt x="5909109" y="1552773"/>
                    <a:pt x="5909109" y="1547820"/>
                  </a:cubicBezTo>
                  <a:cubicBezTo>
                    <a:pt x="5909109" y="1542881"/>
                    <a:pt x="5913120" y="1538882"/>
                    <a:pt x="5918069" y="1538882"/>
                  </a:cubicBezTo>
                  <a:close/>
                  <a:moveTo>
                    <a:pt x="6933679" y="1538881"/>
                  </a:moveTo>
                  <a:cubicBezTo>
                    <a:pt x="6938628" y="1538881"/>
                    <a:pt x="6942639" y="1542880"/>
                    <a:pt x="6942639" y="1547820"/>
                  </a:cubicBezTo>
                  <a:cubicBezTo>
                    <a:pt x="6942639" y="1552773"/>
                    <a:pt x="6938628" y="1556789"/>
                    <a:pt x="6933679" y="1556789"/>
                  </a:cubicBezTo>
                  <a:cubicBezTo>
                    <a:pt x="6928730" y="1556789"/>
                    <a:pt x="6924718" y="1552773"/>
                    <a:pt x="6924718" y="1547820"/>
                  </a:cubicBezTo>
                  <a:cubicBezTo>
                    <a:pt x="6924718" y="1542880"/>
                    <a:pt x="6928730" y="1538881"/>
                    <a:pt x="6933679" y="1538881"/>
                  </a:cubicBezTo>
                  <a:close/>
                  <a:moveTo>
                    <a:pt x="6763357" y="1538881"/>
                  </a:moveTo>
                  <a:cubicBezTo>
                    <a:pt x="6768306" y="1538881"/>
                    <a:pt x="6772318" y="1542880"/>
                    <a:pt x="6772318" y="1547820"/>
                  </a:cubicBezTo>
                  <a:cubicBezTo>
                    <a:pt x="6772318" y="1552773"/>
                    <a:pt x="6768306" y="1556789"/>
                    <a:pt x="6763357" y="1556789"/>
                  </a:cubicBezTo>
                  <a:cubicBezTo>
                    <a:pt x="6758408" y="1556789"/>
                    <a:pt x="6754397" y="1552773"/>
                    <a:pt x="6754397" y="1547820"/>
                  </a:cubicBezTo>
                  <a:cubicBezTo>
                    <a:pt x="6754397" y="1542880"/>
                    <a:pt x="6758408" y="1538881"/>
                    <a:pt x="6763357" y="1538881"/>
                  </a:cubicBezTo>
                  <a:close/>
                  <a:moveTo>
                    <a:pt x="349782" y="1368037"/>
                  </a:moveTo>
                  <a:cubicBezTo>
                    <a:pt x="354730" y="1368037"/>
                    <a:pt x="358742" y="1372049"/>
                    <a:pt x="358742" y="1376999"/>
                  </a:cubicBezTo>
                  <a:cubicBezTo>
                    <a:pt x="358742" y="1381949"/>
                    <a:pt x="354730" y="1385962"/>
                    <a:pt x="349782" y="1385962"/>
                  </a:cubicBezTo>
                  <a:cubicBezTo>
                    <a:pt x="344834" y="1385962"/>
                    <a:pt x="340823" y="1381949"/>
                    <a:pt x="340823" y="1376999"/>
                  </a:cubicBezTo>
                  <a:cubicBezTo>
                    <a:pt x="340823" y="1372049"/>
                    <a:pt x="344834" y="1368037"/>
                    <a:pt x="349782" y="1368037"/>
                  </a:cubicBezTo>
                  <a:close/>
                  <a:moveTo>
                    <a:pt x="856036" y="1368035"/>
                  </a:moveTo>
                  <a:cubicBezTo>
                    <a:pt x="860984" y="1368035"/>
                    <a:pt x="864996" y="1372048"/>
                    <a:pt x="864996" y="1376997"/>
                  </a:cubicBezTo>
                  <a:cubicBezTo>
                    <a:pt x="864996" y="1381947"/>
                    <a:pt x="860984" y="1385961"/>
                    <a:pt x="856036" y="1385961"/>
                  </a:cubicBezTo>
                  <a:cubicBezTo>
                    <a:pt x="851085" y="1385961"/>
                    <a:pt x="847075" y="1381947"/>
                    <a:pt x="847075" y="1376997"/>
                  </a:cubicBezTo>
                  <a:cubicBezTo>
                    <a:pt x="847075" y="1372048"/>
                    <a:pt x="851085" y="1368035"/>
                    <a:pt x="856036" y="1368035"/>
                  </a:cubicBezTo>
                  <a:close/>
                  <a:moveTo>
                    <a:pt x="687298" y="1368035"/>
                  </a:moveTo>
                  <a:cubicBezTo>
                    <a:pt x="692246" y="1368035"/>
                    <a:pt x="696258" y="1372048"/>
                    <a:pt x="696258" y="1376997"/>
                  </a:cubicBezTo>
                  <a:cubicBezTo>
                    <a:pt x="696258" y="1381949"/>
                    <a:pt x="692246" y="1385961"/>
                    <a:pt x="687298" y="1385961"/>
                  </a:cubicBezTo>
                  <a:cubicBezTo>
                    <a:pt x="682350" y="1385961"/>
                    <a:pt x="678340" y="1381949"/>
                    <a:pt x="678340" y="1376997"/>
                  </a:cubicBezTo>
                  <a:cubicBezTo>
                    <a:pt x="678340" y="1372048"/>
                    <a:pt x="682350" y="1368035"/>
                    <a:pt x="687298" y="1368035"/>
                  </a:cubicBezTo>
                  <a:close/>
                  <a:moveTo>
                    <a:pt x="518519" y="1368035"/>
                  </a:moveTo>
                  <a:cubicBezTo>
                    <a:pt x="523468" y="1368035"/>
                    <a:pt x="527479" y="1372048"/>
                    <a:pt x="527479" y="1376999"/>
                  </a:cubicBezTo>
                  <a:cubicBezTo>
                    <a:pt x="527479" y="1381949"/>
                    <a:pt x="523468" y="1385961"/>
                    <a:pt x="518519" y="1385961"/>
                  </a:cubicBezTo>
                  <a:cubicBezTo>
                    <a:pt x="513570" y="1385961"/>
                    <a:pt x="509559" y="1381949"/>
                    <a:pt x="509559" y="1376999"/>
                  </a:cubicBezTo>
                  <a:cubicBezTo>
                    <a:pt x="509559" y="1372048"/>
                    <a:pt x="513570" y="1368035"/>
                    <a:pt x="518519" y="1368035"/>
                  </a:cubicBezTo>
                  <a:close/>
                  <a:moveTo>
                    <a:pt x="179465" y="1368035"/>
                  </a:moveTo>
                  <a:cubicBezTo>
                    <a:pt x="184414" y="1368035"/>
                    <a:pt x="188426" y="1372049"/>
                    <a:pt x="188426" y="1376999"/>
                  </a:cubicBezTo>
                  <a:cubicBezTo>
                    <a:pt x="188426" y="1381949"/>
                    <a:pt x="184414" y="1385962"/>
                    <a:pt x="179465" y="1385962"/>
                  </a:cubicBezTo>
                  <a:cubicBezTo>
                    <a:pt x="174517" y="1385962"/>
                    <a:pt x="170505" y="1381949"/>
                    <a:pt x="170505" y="1376999"/>
                  </a:cubicBezTo>
                  <a:cubicBezTo>
                    <a:pt x="170505" y="1372049"/>
                    <a:pt x="174517" y="1368035"/>
                    <a:pt x="179465" y="1368035"/>
                  </a:cubicBezTo>
                  <a:close/>
                  <a:moveTo>
                    <a:pt x="9150" y="1368035"/>
                  </a:moveTo>
                  <a:cubicBezTo>
                    <a:pt x="14099" y="1368035"/>
                    <a:pt x="18109" y="1372049"/>
                    <a:pt x="18109" y="1376999"/>
                  </a:cubicBezTo>
                  <a:cubicBezTo>
                    <a:pt x="18109" y="1381949"/>
                    <a:pt x="14099" y="1385961"/>
                    <a:pt x="9150" y="1385961"/>
                  </a:cubicBezTo>
                  <a:cubicBezTo>
                    <a:pt x="4202" y="1385961"/>
                    <a:pt x="190" y="1381949"/>
                    <a:pt x="190" y="1376999"/>
                  </a:cubicBezTo>
                  <a:cubicBezTo>
                    <a:pt x="190" y="1372049"/>
                    <a:pt x="4202" y="1368035"/>
                    <a:pt x="9150" y="1368035"/>
                  </a:cubicBezTo>
                  <a:close/>
                  <a:moveTo>
                    <a:pt x="1868509" y="1368034"/>
                  </a:moveTo>
                  <a:cubicBezTo>
                    <a:pt x="1873444" y="1368034"/>
                    <a:pt x="1877454" y="1372046"/>
                    <a:pt x="1877454" y="1376996"/>
                  </a:cubicBezTo>
                  <a:cubicBezTo>
                    <a:pt x="1877454" y="1381946"/>
                    <a:pt x="1873444" y="1385960"/>
                    <a:pt x="1868509" y="1385960"/>
                  </a:cubicBezTo>
                  <a:cubicBezTo>
                    <a:pt x="1863548" y="1385960"/>
                    <a:pt x="1859530" y="1381946"/>
                    <a:pt x="1859530" y="1376996"/>
                  </a:cubicBezTo>
                  <a:cubicBezTo>
                    <a:pt x="1859530" y="1372046"/>
                    <a:pt x="1863548" y="1368034"/>
                    <a:pt x="1868509" y="1368034"/>
                  </a:cubicBezTo>
                  <a:close/>
                  <a:moveTo>
                    <a:pt x="1699754" y="1368034"/>
                  </a:moveTo>
                  <a:cubicBezTo>
                    <a:pt x="1704708" y="1368034"/>
                    <a:pt x="1708725" y="1372046"/>
                    <a:pt x="1708725" y="1376996"/>
                  </a:cubicBezTo>
                  <a:cubicBezTo>
                    <a:pt x="1708725" y="1381946"/>
                    <a:pt x="1704708" y="1385960"/>
                    <a:pt x="1699754" y="1385960"/>
                  </a:cubicBezTo>
                  <a:cubicBezTo>
                    <a:pt x="1694798" y="1385960"/>
                    <a:pt x="1690784" y="1381946"/>
                    <a:pt x="1690784" y="1376996"/>
                  </a:cubicBezTo>
                  <a:cubicBezTo>
                    <a:pt x="1690784" y="1372046"/>
                    <a:pt x="1694798" y="1368034"/>
                    <a:pt x="1699754" y="1368034"/>
                  </a:cubicBezTo>
                  <a:close/>
                  <a:moveTo>
                    <a:pt x="1531012" y="1368034"/>
                  </a:moveTo>
                  <a:cubicBezTo>
                    <a:pt x="1535963" y="1368034"/>
                    <a:pt x="1539975" y="1372046"/>
                    <a:pt x="1539975" y="1376996"/>
                  </a:cubicBezTo>
                  <a:cubicBezTo>
                    <a:pt x="1539975" y="1381947"/>
                    <a:pt x="1535963" y="1385960"/>
                    <a:pt x="1531012" y="1385960"/>
                  </a:cubicBezTo>
                  <a:cubicBezTo>
                    <a:pt x="1526062" y="1385960"/>
                    <a:pt x="1522050" y="1381947"/>
                    <a:pt x="1522050" y="1376996"/>
                  </a:cubicBezTo>
                  <a:cubicBezTo>
                    <a:pt x="1522050" y="1372046"/>
                    <a:pt x="1526062" y="1368034"/>
                    <a:pt x="1531012" y="1368034"/>
                  </a:cubicBezTo>
                  <a:close/>
                  <a:moveTo>
                    <a:pt x="1362258" y="1368034"/>
                  </a:moveTo>
                  <a:cubicBezTo>
                    <a:pt x="1367213" y="1368034"/>
                    <a:pt x="1371220" y="1372048"/>
                    <a:pt x="1371220" y="1376997"/>
                  </a:cubicBezTo>
                  <a:cubicBezTo>
                    <a:pt x="1371220" y="1381947"/>
                    <a:pt x="1367213" y="1385960"/>
                    <a:pt x="1362258" y="1385960"/>
                  </a:cubicBezTo>
                  <a:cubicBezTo>
                    <a:pt x="1357309" y="1385960"/>
                    <a:pt x="1353297" y="1381947"/>
                    <a:pt x="1353297" y="1376997"/>
                  </a:cubicBezTo>
                  <a:cubicBezTo>
                    <a:pt x="1353297" y="1372048"/>
                    <a:pt x="1357309" y="1368034"/>
                    <a:pt x="1362258" y="1368034"/>
                  </a:cubicBezTo>
                  <a:close/>
                  <a:moveTo>
                    <a:pt x="1193516" y="1368034"/>
                  </a:moveTo>
                  <a:cubicBezTo>
                    <a:pt x="1198463" y="1368034"/>
                    <a:pt x="1202476" y="1372048"/>
                    <a:pt x="1202476" y="1376997"/>
                  </a:cubicBezTo>
                  <a:cubicBezTo>
                    <a:pt x="1202476" y="1381947"/>
                    <a:pt x="1198463" y="1385960"/>
                    <a:pt x="1193516" y="1385960"/>
                  </a:cubicBezTo>
                  <a:cubicBezTo>
                    <a:pt x="1188569" y="1385960"/>
                    <a:pt x="1184559" y="1381947"/>
                    <a:pt x="1184559" y="1376997"/>
                  </a:cubicBezTo>
                  <a:cubicBezTo>
                    <a:pt x="1184559" y="1372048"/>
                    <a:pt x="1188569" y="1368034"/>
                    <a:pt x="1193516" y="1368034"/>
                  </a:cubicBezTo>
                  <a:close/>
                  <a:moveTo>
                    <a:pt x="1024758" y="1368034"/>
                  </a:moveTo>
                  <a:cubicBezTo>
                    <a:pt x="1029711" y="1368034"/>
                    <a:pt x="1033726" y="1372048"/>
                    <a:pt x="1033726" y="1376997"/>
                  </a:cubicBezTo>
                  <a:cubicBezTo>
                    <a:pt x="1033726" y="1381947"/>
                    <a:pt x="1029711" y="1385961"/>
                    <a:pt x="1024758" y="1385961"/>
                  </a:cubicBezTo>
                  <a:cubicBezTo>
                    <a:pt x="1019809" y="1385961"/>
                    <a:pt x="1015798" y="1381947"/>
                    <a:pt x="1015798" y="1376997"/>
                  </a:cubicBezTo>
                  <a:cubicBezTo>
                    <a:pt x="1015798" y="1372048"/>
                    <a:pt x="1019809" y="1368034"/>
                    <a:pt x="1024758" y="1368034"/>
                  </a:cubicBezTo>
                  <a:close/>
                  <a:moveTo>
                    <a:pt x="2712124" y="1368033"/>
                  </a:moveTo>
                  <a:cubicBezTo>
                    <a:pt x="2717100" y="1368033"/>
                    <a:pt x="2721107" y="1372045"/>
                    <a:pt x="2721107" y="1376995"/>
                  </a:cubicBezTo>
                  <a:cubicBezTo>
                    <a:pt x="2721107" y="1381945"/>
                    <a:pt x="2717100" y="1385958"/>
                    <a:pt x="2712124" y="1385958"/>
                  </a:cubicBezTo>
                  <a:cubicBezTo>
                    <a:pt x="2707194" y="1385958"/>
                    <a:pt x="2703172" y="1381945"/>
                    <a:pt x="2703172" y="1376995"/>
                  </a:cubicBezTo>
                  <a:cubicBezTo>
                    <a:pt x="2703172" y="1372045"/>
                    <a:pt x="2707194" y="1368033"/>
                    <a:pt x="2712124" y="1368033"/>
                  </a:cubicBezTo>
                  <a:close/>
                  <a:moveTo>
                    <a:pt x="2543454" y="1368033"/>
                  </a:moveTo>
                  <a:cubicBezTo>
                    <a:pt x="2548409" y="1368033"/>
                    <a:pt x="2552419" y="1372045"/>
                    <a:pt x="2552419" y="1376995"/>
                  </a:cubicBezTo>
                  <a:cubicBezTo>
                    <a:pt x="2552419" y="1381945"/>
                    <a:pt x="2548409" y="1385958"/>
                    <a:pt x="2543454" y="1385958"/>
                  </a:cubicBezTo>
                  <a:cubicBezTo>
                    <a:pt x="2538499" y="1385958"/>
                    <a:pt x="2534478" y="1381945"/>
                    <a:pt x="2534478" y="1376995"/>
                  </a:cubicBezTo>
                  <a:cubicBezTo>
                    <a:pt x="2534478" y="1372045"/>
                    <a:pt x="2538499" y="1368033"/>
                    <a:pt x="2543454" y="1368033"/>
                  </a:cubicBezTo>
                  <a:close/>
                  <a:moveTo>
                    <a:pt x="2374645" y="1368033"/>
                  </a:moveTo>
                  <a:cubicBezTo>
                    <a:pt x="2379613" y="1368033"/>
                    <a:pt x="2383663" y="1372045"/>
                    <a:pt x="2383663" y="1376996"/>
                  </a:cubicBezTo>
                  <a:cubicBezTo>
                    <a:pt x="2383663" y="1381946"/>
                    <a:pt x="2379613" y="1385958"/>
                    <a:pt x="2374645" y="1385958"/>
                  </a:cubicBezTo>
                  <a:cubicBezTo>
                    <a:pt x="2369691" y="1385958"/>
                    <a:pt x="2365682" y="1381946"/>
                    <a:pt x="2365682" y="1376996"/>
                  </a:cubicBezTo>
                  <a:cubicBezTo>
                    <a:pt x="2365682" y="1372045"/>
                    <a:pt x="2369691" y="1368033"/>
                    <a:pt x="2374645" y="1368033"/>
                  </a:cubicBezTo>
                  <a:close/>
                  <a:moveTo>
                    <a:pt x="2205950" y="1368033"/>
                  </a:moveTo>
                  <a:cubicBezTo>
                    <a:pt x="2210900" y="1368033"/>
                    <a:pt x="2214907" y="1372046"/>
                    <a:pt x="2214907" y="1376996"/>
                  </a:cubicBezTo>
                  <a:cubicBezTo>
                    <a:pt x="2214907" y="1381946"/>
                    <a:pt x="2210900" y="1385958"/>
                    <a:pt x="2205950" y="1385958"/>
                  </a:cubicBezTo>
                  <a:cubicBezTo>
                    <a:pt x="2200973" y="1385958"/>
                    <a:pt x="2196950" y="1381946"/>
                    <a:pt x="2196950" y="1376996"/>
                  </a:cubicBezTo>
                  <a:cubicBezTo>
                    <a:pt x="2196950" y="1372046"/>
                    <a:pt x="2200973" y="1368033"/>
                    <a:pt x="2205950" y="1368033"/>
                  </a:cubicBezTo>
                  <a:close/>
                  <a:moveTo>
                    <a:pt x="2037208" y="1368033"/>
                  </a:moveTo>
                  <a:cubicBezTo>
                    <a:pt x="2042167" y="1368033"/>
                    <a:pt x="2046147" y="1372046"/>
                    <a:pt x="2046147" y="1376996"/>
                  </a:cubicBezTo>
                  <a:cubicBezTo>
                    <a:pt x="2046147" y="1381946"/>
                    <a:pt x="2042167" y="1385958"/>
                    <a:pt x="2037208" y="1385958"/>
                  </a:cubicBezTo>
                  <a:cubicBezTo>
                    <a:pt x="2032271" y="1385958"/>
                    <a:pt x="2028274" y="1381946"/>
                    <a:pt x="2028274" y="1376996"/>
                  </a:cubicBezTo>
                  <a:cubicBezTo>
                    <a:pt x="2028274" y="1372046"/>
                    <a:pt x="2032271" y="1368033"/>
                    <a:pt x="2037208" y="1368033"/>
                  </a:cubicBezTo>
                  <a:close/>
                  <a:moveTo>
                    <a:pt x="3555688" y="1368031"/>
                  </a:moveTo>
                  <a:cubicBezTo>
                    <a:pt x="3560637" y="1368031"/>
                    <a:pt x="3564649" y="1372044"/>
                    <a:pt x="3564649" y="1376993"/>
                  </a:cubicBezTo>
                  <a:cubicBezTo>
                    <a:pt x="3564649" y="1381943"/>
                    <a:pt x="3560637" y="1385957"/>
                    <a:pt x="3555688" y="1385957"/>
                  </a:cubicBezTo>
                  <a:cubicBezTo>
                    <a:pt x="3550740" y="1385957"/>
                    <a:pt x="3546728" y="1381943"/>
                    <a:pt x="3546728" y="1376993"/>
                  </a:cubicBezTo>
                  <a:cubicBezTo>
                    <a:pt x="3546728" y="1372044"/>
                    <a:pt x="3550740" y="1368031"/>
                    <a:pt x="3555688" y="1368031"/>
                  </a:cubicBezTo>
                  <a:close/>
                  <a:moveTo>
                    <a:pt x="3387067" y="1368031"/>
                  </a:moveTo>
                  <a:cubicBezTo>
                    <a:pt x="3392034" y="1368031"/>
                    <a:pt x="3396046" y="1372044"/>
                    <a:pt x="3396046" y="1376993"/>
                  </a:cubicBezTo>
                  <a:cubicBezTo>
                    <a:pt x="3396046" y="1381945"/>
                    <a:pt x="3392034" y="1385957"/>
                    <a:pt x="3387067" y="1385957"/>
                  </a:cubicBezTo>
                  <a:cubicBezTo>
                    <a:pt x="3382071" y="1385957"/>
                    <a:pt x="3378056" y="1381945"/>
                    <a:pt x="3378056" y="1376993"/>
                  </a:cubicBezTo>
                  <a:cubicBezTo>
                    <a:pt x="3378056" y="1372044"/>
                    <a:pt x="3382071" y="1368031"/>
                    <a:pt x="3387067" y="1368031"/>
                  </a:cubicBezTo>
                  <a:close/>
                  <a:moveTo>
                    <a:pt x="3218311" y="1368031"/>
                  </a:moveTo>
                  <a:cubicBezTo>
                    <a:pt x="3223284" y="1368031"/>
                    <a:pt x="3227289" y="1372044"/>
                    <a:pt x="3227289" y="1376995"/>
                  </a:cubicBezTo>
                  <a:cubicBezTo>
                    <a:pt x="3227289" y="1381945"/>
                    <a:pt x="3223284" y="1385957"/>
                    <a:pt x="3218311" y="1385957"/>
                  </a:cubicBezTo>
                  <a:cubicBezTo>
                    <a:pt x="3213350" y="1385957"/>
                    <a:pt x="3209341" y="1381945"/>
                    <a:pt x="3209341" y="1376995"/>
                  </a:cubicBezTo>
                  <a:cubicBezTo>
                    <a:pt x="3209341" y="1372044"/>
                    <a:pt x="3213350" y="1368031"/>
                    <a:pt x="3218311" y="1368031"/>
                  </a:cubicBezTo>
                  <a:close/>
                  <a:moveTo>
                    <a:pt x="3049618" y="1368031"/>
                  </a:moveTo>
                  <a:cubicBezTo>
                    <a:pt x="3054564" y="1368031"/>
                    <a:pt x="3058575" y="1372045"/>
                    <a:pt x="3058575" y="1376995"/>
                  </a:cubicBezTo>
                  <a:cubicBezTo>
                    <a:pt x="3058575" y="1381945"/>
                    <a:pt x="3054564" y="1385957"/>
                    <a:pt x="3049618" y="1385957"/>
                  </a:cubicBezTo>
                  <a:cubicBezTo>
                    <a:pt x="3044666" y="1385957"/>
                    <a:pt x="3040648" y="1381945"/>
                    <a:pt x="3040648" y="1376995"/>
                  </a:cubicBezTo>
                  <a:cubicBezTo>
                    <a:pt x="3040648" y="1372045"/>
                    <a:pt x="3044666" y="1368031"/>
                    <a:pt x="3049618" y="1368031"/>
                  </a:cubicBezTo>
                  <a:close/>
                  <a:moveTo>
                    <a:pt x="2880901" y="1368031"/>
                  </a:moveTo>
                  <a:cubicBezTo>
                    <a:pt x="2885845" y="1368031"/>
                    <a:pt x="2889856" y="1372045"/>
                    <a:pt x="2889856" y="1376995"/>
                  </a:cubicBezTo>
                  <a:cubicBezTo>
                    <a:pt x="2889856" y="1381945"/>
                    <a:pt x="2885845" y="1385958"/>
                    <a:pt x="2880901" y="1385958"/>
                  </a:cubicBezTo>
                  <a:cubicBezTo>
                    <a:pt x="2875955" y="1385958"/>
                    <a:pt x="2871944" y="1381945"/>
                    <a:pt x="2871944" y="1376995"/>
                  </a:cubicBezTo>
                  <a:cubicBezTo>
                    <a:pt x="2871944" y="1372045"/>
                    <a:pt x="2875955" y="1368031"/>
                    <a:pt x="2880901" y="1368031"/>
                  </a:cubicBezTo>
                  <a:close/>
                  <a:moveTo>
                    <a:pt x="4568137" y="1368030"/>
                  </a:moveTo>
                  <a:cubicBezTo>
                    <a:pt x="4573086" y="1368030"/>
                    <a:pt x="4577098" y="1372042"/>
                    <a:pt x="4577098" y="1376992"/>
                  </a:cubicBezTo>
                  <a:cubicBezTo>
                    <a:pt x="4577098" y="1381942"/>
                    <a:pt x="4573086" y="1385956"/>
                    <a:pt x="4568137" y="1385956"/>
                  </a:cubicBezTo>
                  <a:cubicBezTo>
                    <a:pt x="4563188" y="1385956"/>
                    <a:pt x="4559177" y="1381942"/>
                    <a:pt x="4559177" y="1376992"/>
                  </a:cubicBezTo>
                  <a:cubicBezTo>
                    <a:pt x="4559177" y="1372042"/>
                    <a:pt x="4563188" y="1368030"/>
                    <a:pt x="4568137" y="1368030"/>
                  </a:cubicBezTo>
                  <a:close/>
                  <a:moveTo>
                    <a:pt x="4399396" y="1368030"/>
                  </a:moveTo>
                  <a:cubicBezTo>
                    <a:pt x="4404345" y="1368030"/>
                    <a:pt x="4408357" y="1372042"/>
                    <a:pt x="4408357" y="1376992"/>
                  </a:cubicBezTo>
                  <a:cubicBezTo>
                    <a:pt x="4408357" y="1381942"/>
                    <a:pt x="4404345" y="1385956"/>
                    <a:pt x="4399396" y="1385956"/>
                  </a:cubicBezTo>
                  <a:cubicBezTo>
                    <a:pt x="4394447" y="1385956"/>
                    <a:pt x="4390436" y="1381942"/>
                    <a:pt x="4390436" y="1376992"/>
                  </a:cubicBezTo>
                  <a:cubicBezTo>
                    <a:pt x="4390436" y="1372042"/>
                    <a:pt x="4394447" y="1368030"/>
                    <a:pt x="4399396" y="1368030"/>
                  </a:cubicBezTo>
                  <a:close/>
                  <a:moveTo>
                    <a:pt x="4230654" y="1368030"/>
                  </a:moveTo>
                  <a:cubicBezTo>
                    <a:pt x="4235603" y="1368030"/>
                    <a:pt x="4239615" y="1372042"/>
                    <a:pt x="4239615" y="1376993"/>
                  </a:cubicBezTo>
                  <a:cubicBezTo>
                    <a:pt x="4239615" y="1381943"/>
                    <a:pt x="4235603" y="1385956"/>
                    <a:pt x="4230654" y="1385956"/>
                  </a:cubicBezTo>
                  <a:cubicBezTo>
                    <a:pt x="4225705" y="1385956"/>
                    <a:pt x="4221694" y="1381943"/>
                    <a:pt x="4221694" y="1376993"/>
                  </a:cubicBezTo>
                  <a:cubicBezTo>
                    <a:pt x="4221694" y="1372042"/>
                    <a:pt x="4225705" y="1368030"/>
                    <a:pt x="4230654" y="1368030"/>
                  </a:cubicBezTo>
                  <a:close/>
                  <a:moveTo>
                    <a:pt x="4061912" y="1368030"/>
                  </a:moveTo>
                  <a:cubicBezTo>
                    <a:pt x="4066861" y="1368030"/>
                    <a:pt x="4070873" y="1372044"/>
                    <a:pt x="4070873" y="1376993"/>
                  </a:cubicBezTo>
                  <a:cubicBezTo>
                    <a:pt x="4070873" y="1381943"/>
                    <a:pt x="4066861" y="1385956"/>
                    <a:pt x="4061912" y="1385956"/>
                  </a:cubicBezTo>
                  <a:cubicBezTo>
                    <a:pt x="4056963" y="1385956"/>
                    <a:pt x="4052952" y="1381943"/>
                    <a:pt x="4052952" y="1376993"/>
                  </a:cubicBezTo>
                  <a:cubicBezTo>
                    <a:pt x="4052952" y="1372044"/>
                    <a:pt x="4056963" y="1368030"/>
                    <a:pt x="4061912" y="1368030"/>
                  </a:cubicBezTo>
                  <a:close/>
                  <a:moveTo>
                    <a:pt x="3893170" y="1368030"/>
                  </a:moveTo>
                  <a:cubicBezTo>
                    <a:pt x="3898119" y="1368030"/>
                    <a:pt x="3902131" y="1372044"/>
                    <a:pt x="3902131" y="1376993"/>
                  </a:cubicBezTo>
                  <a:cubicBezTo>
                    <a:pt x="3902131" y="1381943"/>
                    <a:pt x="3898119" y="1385956"/>
                    <a:pt x="3893170" y="1385956"/>
                  </a:cubicBezTo>
                  <a:cubicBezTo>
                    <a:pt x="3888221" y="1385956"/>
                    <a:pt x="3884210" y="1381943"/>
                    <a:pt x="3884210" y="1376993"/>
                  </a:cubicBezTo>
                  <a:cubicBezTo>
                    <a:pt x="3884210" y="1372044"/>
                    <a:pt x="3888221" y="1368030"/>
                    <a:pt x="3893170" y="1368030"/>
                  </a:cubicBezTo>
                  <a:close/>
                  <a:moveTo>
                    <a:pt x="3724429" y="1368030"/>
                  </a:moveTo>
                  <a:cubicBezTo>
                    <a:pt x="3729378" y="1368030"/>
                    <a:pt x="3733390" y="1372044"/>
                    <a:pt x="3733390" y="1376993"/>
                  </a:cubicBezTo>
                  <a:cubicBezTo>
                    <a:pt x="3733390" y="1381943"/>
                    <a:pt x="3729378" y="1385957"/>
                    <a:pt x="3724429" y="1385957"/>
                  </a:cubicBezTo>
                  <a:cubicBezTo>
                    <a:pt x="3719481" y="1385957"/>
                    <a:pt x="3715469" y="1381943"/>
                    <a:pt x="3715469" y="1376993"/>
                  </a:cubicBezTo>
                  <a:cubicBezTo>
                    <a:pt x="3715469" y="1372044"/>
                    <a:pt x="3719481" y="1368030"/>
                    <a:pt x="3724429" y="1368030"/>
                  </a:cubicBezTo>
                  <a:close/>
                  <a:moveTo>
                    <a:pt x="5411845" y="1368029"/>
                  </a:moveTo>
                  <a:cubicBezTo>
                    <a:pt x="5416794" y="1368029"/>
                    <a:pt x="5420806" y="1372041"/>
                    <a:pt x="5420806" y="1376991"/>
                  </a:cubicBezTo>
                  <a:cubicBezTo>
                    <a:pt x="5420806" y="1381941"/>
                    <a:pt x="5416794" y="1385954"/>
                    <a:pt x="5411845" y="1385954"/>
                  </a:cubicBezTo>
                  <a:cubicBezTo>
                    <a:pt x="5406896" y="1385954"/>
                    <a:pt x="5402885" y="1381941"/>
                    <a:pt x="5402885" y="1376991"/>
                  </a:cubicBezTo>
                  <a:cubicBezTo>
                    <a:pt x="5402885" y="1372041"/>
                    <a:pt x="5406896" y="1368029"/>
                    <a:pt x="5411845" y="1368029"/>
                  </a:cubicBezTo>
                  <a:close/>
                  <a:moveTo>
                    <a:pt x="5243103" y="1368029"/>
                  </a:moveTo>
                  <a:cubicBezTo>
                    <a:pt x="5248052" y="1368029"/>
                    <a:pt x="5252064" y="1372041"/>
                    <a:pt x="5252064" y="1376991"/>
                  </a:cubicBezTo>
                  <a:cubicBezTo>
                    <a:pt x="5252064" y="1381942"/>
                    <a:pt x="5248052" y="1385954"/>
                    <a:pt x="5243103" y="1385954"/>
                  </a:cubicBezTo>
                  <a:cubicBezTo>
                    <a:pt x="5238154" y="1385954"/>
                    <a:pt x="5234143" y="1381942"/>
                    <a:pt x="5234143" y="1376991"/>
                  </a:cubicBezTo>
                  <a:cubicBezTo>
                    <a:pt x="5234143" y="1372041"/>
                    <a:pt x="5238154" y="1368029"/>
                    <a:pt x="5243103" y="1368029"/>
                  </a:cubicBezTo>
                  <a:close/>
                  <a:moveTo>
                    <a:pt x="5074362" y="1368029"/>
                  </a:moveTo>
                  <a:cubicBezTo>
                    <a:pt x="5079311" y="1368029"/>
                    <a:pt x="5083323" y="1372041"/>
                    <a:pt x="5083323" y="1376992"/>
                  </a:cubicBezTo>
                  <a:cubicBezTo>
                    <a:pt x="5083323" y="1381942"/>
                    <a:pt x="5079311" y="1385954"/>
                    <a:pt x="5074362" y="1385954"/>
                  </a:cubicBezTo>
                  <a:cubicBezTo>
                    <a:pt x="5069413" y="1385954"/>
                    <a:pt x="5065402" y="1381942"/>
                    <a:pt x="5065402" y="1376992"/>
                  </a:cubicBezTo>
                  <a:cubicBezTo>
                    <a:pt x="5065402" y="1372041"/>
                    <a:pt x="5069413" y="1368029"/>
                    <a:pt x="5074362" y="1368029"/>
                  </a:cubicBezTo>
                  <a:close/>
                  <a:moveTo>
                    <a:pt x="4905620" y="1368029"/>
                  </a:moveTo>
                  <a:cubicBezTo>
                    <a:pt x="4910569" y="1368029"/>
                    <a:pt x="4914581" y="1372042"/>
                    <a:pt x="4914581" y="1376992"/>
                  </a:cubicBezTo>
                  <a:cubicBezTo>
                    <a:pt x="4914581" y="1381942"/>
                    <a:pt x="4910569" y="1385954"/>
                    <a:pt x="4905620" y="1385954"/>
                  </a:cubicBezTo>
                  <a:cubicBezTo>
                    <a:pt x="4900671" y="1385954"/>
                    <a:pt x="4896660" y="1381942"/>
                    <a:pt x="4896660" y="1376992"/>
                  </a:cubicBezTo>
                  <a:cubicBezTo>
                    <a:pt x="4896660" y="1372042"/>
                    <a:pt x="4900671" y="1368029"/>
                    <a:pt x="4905620" y="1368029"/>
                  </a:cubicBezTo>
                  <a:close/>
                  <a:moveTo>
                    <a:pt x="4736878" y="1368029"/>
                  </a:moveTo>
                  <a:cubicBezTo>
                    <a:pt x="4741827" y="1368029"/>
                    <a:pt x="4745839" y="1372042"/>
                    <a:pt x="4745839" y="1376992"/>
                  </a:cubicBezTo>
                  <a:cubicBezTo>
                    <a:pt x="4745839" y="1381942"/>
                    <a:pt x="4741827" y="1385956"/>
                    <a:pt x="4736878" y="1385956"/>
                  </a:cubicBezTo>
                  <a:cubicBezTo>
                    <a:pt x="4731929" y="1385956"/>
                    <a:pt x="4727918" y="1381942"/>
                    <a:pt x="4727918" y="1376992"/>
                  </a:cubicBezTo>
                  <a:cubicBezTo>
                    <a:pt x="4727918" y="1372042"/>
                    <a:pt x="4731929" y="1368029"/>
                    <a:pt x="4736878" y="1368029"/>
                  </a:cubicBezTo>
                  <a:close/>
                  <a:moveTo>
                    <a:pt x="6424294" y="1368027"/>
                  </a:moveTo>
                  <a:cubicBezTo>
                    <a:pt x="6429243" y="1368027"/>
                    <a:pt x="6433255" y="1372040"/>
                    <a:pt x="6433255" y="1376989"/>
                  </a:cubicBezTo>
                  <a:cubicBezTo>
                    <a:pt x="6433255" y="1381939"/>
                    <a:pt x="6429243" y="1385953"/>
                    <a:pt x="6424294" y="1385953"/>
                  </a:cubicBezTo>
                  <a:cubicBezTo>
                    <a:pt x="6419345" y="1385953"/>
                    <a:pt x="6415334" y="1381939"/>
                    <a:pt x="6415334" y="1376989"/>
                  </a:cubicBezTo>
                  <a:cubicBezTo>
                    <a:pt x="6415334" y="1372040"/>
                    <a:pt x="6419345" y="1368027"/>
                    <a:pt x="6424294" y="1368027"/>
                  </a:cubicBezTo>
                  <a:close/>
                  <a:moveTo>
                    <a:pt x="6255553" y="1368027"/>
                  </a:moveTo>
                  <a:cubicBezTo>
                    <a:pt x="6260502" y="1368027"/>
                    <a:pt x="6264514" y="1372040"/>
                    <a:pt x="6264514" y="1376989"/>
                  </a:cubicBezTo>
                  <a:cubicBezTo>
                    <a:pt x="6264514" y="1381939"/>
                    <a:pt x="6260502" y="1385953"/>
                    <a:pt x="6255553" y="1385953"/>
                  </a:cubicBezTo>
                  <a:cubicBezTo>
                    <a:pt x="6250604" y="1385953"/>
                    <a:pt x="6246593" y="1381939"/>
                    <a:pt x="6246593" y="1376989"/>
                  </a:cubicBezTo>
                  <a:cubicBezTo>
                    <a:pt x="6246593" y="1372040"/>
                    <a:pt x="6250604" y="1368027"/>
                    <a:pt x="6255553" y="1368027"/>
                  </a:cubicBezTo>
                  <a:close/>
                  <a:moveTo>
                    <a:pt x="6086811" y="1368027"/>
                  </a:moveTo>
                  <a:cubicBezTo>
                    <a:pt x="6091760" y="1368027"/>
                    <a:pt x="6095772" y="1372040"/>
                    <a:pt x="6095772" y="1376989"/>
                  </a:cubicBezTo>
                  <a:cubicBezTo>
                    <a:pt x="6095772" y="1381941"/>
                    <a:pt x="6091760" y="1385953"/>
                    <a:pt x="6086811" y="1385953"/>
                  </a:cubicBezTo>
                  <a:cubicBezTo>
                    <a:pt x="6081862" y="1385953"/>
                    <a:pt x="6077851" y="1381941"/>
                    <a:pt x="6077851" y="1376989"/>
                  </a:cubicBezTo>
                  <a:cubicBezTo>
                    <a:pt x="6077851" y="1372040"/>
                    <a:pt x="6081862" y="1368027"/>
                    <a:pt x="6086811" y="1368027"/>
                  </a:cubicBezTo>
                  <a:close/>
                  <a:moveTo>
                    <a:pt x="5918069" y="1368027"/>
                  </a:moveTo>
                  <a:cubicBezTo>
                    <a:pt x="5923018" y="1368027"/>
                    <a:pt x="5927030" y="1372041"/>
                    <a:pt x="5927030" y="1376991"/>
                  </a:cubicBezTo>
                  <a:cubicBezTo>
                    <a:pt x="5927030" y="1381941"/>
                    <a:pt x="5923018" y="1385953"/>
                    <a:pt x="5918069" y="1385953"/>
                  </a:cubicBezTo>
                  <a:cubicBezTo>
                    <a:pt x="5913120" y="1385953"/>
                    <a:pt x="5909109" y="1381941"/>
                    <a:pt x="5909109" y="1376991"/>
                  </a:cubicBezTo>
                  <a:cubicBezTo>
                    <a:pt x="5909109" y="1372041"/>
                    <a:pt x="5913120" y="1368027"/>
                    <a:pt x="5918069" y="1368027"/>
                  </a:cubicBezTo>
                  <a:close/>
                  <a:moveTo>
                    <a:pt x="5749328" y="1368027"/>
                  </a:moveTo>
                  <a:cubicBezTo>
                    <a:pt x="5754277" y="1368027"/>
                    <a:pt x="5758289" y="1372041"/>
                    <a:pt x="5758289" y="1376991"/>
                  </a:cubicBezTo>
                  <a:cubicBezTo>
                    <a:pt x="5758289" y="1381941"/>
                    <a:pt x="5754277" y="1385953"/>
                    <a:pt x="5749328" y="1385953"/>
                  </a:cubicBezTo>
                  <a:cubicBezTo>
                    <a:pt x="5744379" y="1385953"/>
                    <a:pt x="5740368" y="1381941"/>
                    <a:pt x="5740368" y="1376991"/>
                  </a:cubicBezTo>
                  <a:cubicBezTo>
                    <a:pt x="5740368" y="1372041"/>
                    <a:pt x="5744379" y="1368027"/>
                    <a:pt x="5749328" y="1368027"/>
                  </a:cubicBezTo>
                  <a:close/>
                  <a:moveTo>
                    <a:pt x="5580586" y="1368027"/>
                  </a:moveTo>
                  <a:cubicBezTo>
                    <a:pt x="5585535" y="1368027"/>
                    <a:pt x="5589547" y="1372041"/>
                    <a:pt x="5589547" y="1376991"/>
                  </a:cubicBezTo>
                  <a:cubicBezTo>
                    <a:pt x="5589547" y="1381941"/>
                    <a:pt x="5585535" y="1385954"/>
                    <a:pt x="5580586" y="1385954"/>
                  </a:cubicBezTo>
                  <a:cubicBezTo>
                    <a:pt x="5575637" y="1385954"/>
                    <a:pt x="5571626" y="1381941"/>
                    <a:pt x="5571626" y="1376991"/>
                  </a:cubicBezTo>
                  <a:cubicBezTo>
                    <a:pt x="5571626" y="1372041"/>
                    <a:pt x="5575637" y="1368027"/>
                    <a:pt x="5580586" y="1368027"/>
                  </a:cubicBezTo>
                  <a:close/>
                  <a:moveTo>
                    <a:pt x="6933679" y="1368026"/>
                  </a:moveTo>
                  <a:cubicBezTo>
                    <a:pt x="6938628" y="1368026"/>
                    <a:pt x="6942639" y="1372038"/>
                    <a:pt x="6942639" y="1376989"/>
                  </a:cubicBezTo>
                  <a:cubicBezTo>
                    <a:pt x="6942639" y="1381939"/>
                    <a:pt x="6938628" y="1385952"/>
                    <a:pt x="6933679" y="1385952"/>
                  </a:cubicBezTo>
                  <a:cubicBezTo>
                    <a:pt x="6928730" y="1385952"/>
                    <a:pt x="6924718" y="1381939"/>
                    <a:pt x="6924718" y="1376989"/>
                  </a:cubicBezTo>
                  <a:cubicBezTo>
                    <a:pt x="6924718" y="1372038"/>
                    <a:pt x="6928730" y="1368026"/>
                    <a:pt x="6933679" y="1368026"/>
                  </a:cubicBezTo>
                  <a:close/>
                  <a:moveTo>
                    <a:pt x="6763357" y="1368026"/>
                  </a:moveTo>
                  <a:cubicBezTo>
                    <a:pt x="6768306" y="1368026"/>
                    <a:pt x="6772318" y="1372040"/>
                    <a:pt x="6772318" y="1376989"/>
                  </a:cubicBezTo>
                  <a:cubicBezTo>
                    <a:pt x="6772318" y="1381939"/>
                    <a:pt x="6768306" y="1385952"/>
                    <a:pt x="6763357" y="1385952"/>
                  </a:cubicBezTo>
                  <a:cubicBezTo>
                    <a:pt x="6758408" y="1385952"/>
                    <a:pt x="6754397" y="1381939"/>
                    <a:pt x="6754397" y="1376989"/>
                  </a:cubicBezTo>
                  <a:cubicBezTo>
                    <a:pt x="6754397" y="1372040"/>
                    <a:pt x="6758408" y="1368026"/>
                    <a:pt x="6763357" y="1368026"/>
                  </a:cubicBezTo>
                  <a:close/>
                  <a:moveTo>
                    <a:pt x="6593035" y="1368026"/>
                  </a:moveTo>
                  <a:cubicBezTo>
                    <a:pt x="6597984" y="1368026"/>
                    <a:pt x="6601996" y="1372040"/>
                    <a:pt x="6601996" y="1376989"/>
                  </a:cubicBezTo>
                  <a:cubicBezTo>
                    <a:pt x="6601996" y="1381939"/>
                    <a:pt x="6597984" y="1385952"/>
                    <a:pt x="6593035" y="1385952"/>
                  </a:cubicBezTo>
                  <a:cubicBezTo>
                    <a:pt x="6588086" y="1385952"/>
                    <a:pt x="6584075" y="1381939"/>
                    <a:pt x="6584075" y="1376989"/>
                  </a:cubicBezTo>
                  <a:cubicBezTo>
                    <a:pt x="6584075" y="1372040"/>
                    <a:pt x="6588086" y="1368026"/>
                    <a:pt x="6593035" y="1368026"/>
                  </a:cubicBezTo>
                  <a:close/>
                  <a:moveTo>
                    <a:pt x="349786" y="1197018"/>
                  </a:moveTo>
                  <a:cubicBezTo>
                    <a:pt x="354734" y="1197018"/>
                    <a:pt x="358746" y="1201030"/>
                    <a:pt x="358746" y="1205980"/>
                  </a:cubicBezTo>
                  <a:cubicBezTo>
                    <a:pt x="358746" y="1210930"/>
                    <a:pt x="354734" y="1214944"/>
                    <a:pt x="349786" y="1214944"/>
                  </a:cubicBezTo>
                  <a:cubicBezTo>
                    <a:pt x="344838" y="1214944"/>
                    <a:pt x="340827" y="1210930"/>
                    <a:pt x="340827" y="1205980"/>
                  </a:cubicBezTo>
                  <a:cubicBezTo>
                    <a:pt x="340827" y="1201030"/>
                    <a:pt x="344838" y="1197018"/>
                    <a:pt x="349786" y="1197018"/>
                  </a:cubicBezTo>
                  <a:close/>
                  <a:moveTo>
                    <a:pt x="179469" y="1197018"/>
                  </a:moveTo>
                  <a:cubicBezTo>
                    <a:pt x="184418" y="1197018"/>
                    <a:pt x="188430" y="1201030"/>
                    <a:pt x="188430" y="1205980"/>
                  </a:cubicBezTo>
                  <a:cubicBezTo>
                    <a:pt x="188430" y="1210930"/>
                    <a:pt x="184418" y="1214944"/>
                    <a:pt x="179469" y="1214944"/>
                  </a:cubicBezTo>
                  <a:cubicBezTo>
                    <a:pt x="174521" y="1214944"/>
                    <a:pt x="170509" y="1210930"/>
                    <a:pt x="170509" y="1205980"/>
                  </a:cubicBezTo>
                  <a:cubicBezTo>
                    <a:pt x="170509" y="1201030"/>
                    <a:pt x="174521" y="1197018"/>
                    <a:pt x="179469" y="1197018"/>
                  </a:cubicBezTo>
                  <a:close/>
                  <a:moveTo>
                    <a:pt x="1193520" y="1197017"/>
                  </a:moveTo>
                  <a:cubicBezTo>
                    <a:pt x="1198468" y="1197017"/>
                    <a:pt x="1202481" y="1201029"/>
                    <a:pt x="1202481" y="1205979"/>
                  </a:cubicBezTo>
                  <a:cubicBezTo>
                    <a:pt x="1202481" y="1210929"/>
                    <a:pt x="1198468" y="1214942"/>
                    <a:pt x="1193520" y="1214942"/>
                  </a:cubicBezTo>
                  <a:cubicBezTo>
                    <a:pt x="1188573" y="1214942"/>
                    <a:pt x="1184563" y="1210929"/>
                    <a:pt x="1184563" y="1205979"/>
                  </a:cubicBezTo>
                  <a:cubicBezTo>
                    <a:pt x="1184563" y="1201029"/>
                    <a:pt x="1188573" y="1197017"/>
                    <a:pt x="1193520" y="1197017"/>
                  </a:cubicBezTo>
                  <a:close/>
                  <a:moveTo>
                    <a:pt x="1024762" y="1197017"/>
                  </a:moveTo>
                  <a:cubicBezTo>
                    <a:pt x="1029714" y="1197017"/>
                    <a:pt x="1033730" y="1201029"/>
                    <a:pt x="1033730" y="1205979"/>
                  </a:cubicBezTo>
                  <a:cubicBezTo>
                    <a:pt x="1033730" y="1210930"/>
                    <a:pt x="1029714" y="1214942"/>
                    <a:pt x="1024762" y="1214942"/>
                  </a:cubicBezTo>
                  <a:cubicBezTo>
                    <a:pt x="1019814" y="1214942"/>
                    <a:pt x="1015802" y="1210930"/>
                    <a:pt x="1015802" y="1205979"/>
                  </a:cubicBezTo>
                  <a:cubicBezTo>
                    <a:pt x="1015802" y="1201029"/>
                    <a:pt x="1019814" y="1197017"/>
                    <a:pt x="1024762" y="1197017"/>
                  </a:cubicBezTo>
                  <a:close/>
                  <a:moveTo>
                    <a:pt x="856040" y="1197017"/>
                  </a:moveTo>
                  <a:cubicBezTo>
                    <a:pt x="860988" y="1197017"/>
                    <a:pt x="865001" y="1201029"/>
                    <a:pt x="865001" y="1205979"/>
                  </a:cubicBezTo>
                  <a:cubicBezTo>
                    <a:pt x="865001" y="1210930"/>
                    <a:pt x="860988" y="1214942"/>
                    <a:pt x="856040" y="1214942"/>
                  </a:cubicBezTo>
                  <a:cubicBezTo>
                    <a:pt x="851090" y="1214942"/>
                    <a:pt x="847080" y="1210930"/>
                    <a:pt x="847080" y="1205979"/>
                  </a:cubicBezTo>
                  <a:cubicBezTo>
                    <a:pt x="847080" y="1201029"/>
                    <a:pt x="851090" y="1197017"/>
                    <a:pt x="856040" y="1197017"/>
                  </a:cubicBezTo>
                  <a:close/>
                  <a:moveTo>
                    <a:pt x="687303" y="1197017"/>
                  </a:moveTo>
                  <a:cubicBezTo>
                    <a:pt x="692251" y="1197017"/>
                    <a:pt x="696263" y="1201029"/>
                    <a:pt x="696263" y="1205980"/>
                  </a:cubicBezTo>
                  <a:cubicBezTo>
                    <a:pt x="696263" y="1210930"/>
                    <a:pt x="692251" y="1214942"/>
                    <a:pt x="687303" y="1214942"/>
                  </a:cubicBezTo>
                  <a:cubicBezTo>
                    <a:pt x="682354" y="1214942"/>
                    <a:pt x="678344" y="1210930"/>
                    <a:pt x="678344" y="1205980"/>
                  </a:cubicBezTo>
                  <a:cubicBezTo>
                    <a:pt x="678344" y="1201029"/>
                    <a:pt x="682354" y="1197017"/>
                    <a:pt x="687303" y="1197017"/>
                  </a:cubicBezTo>
                  <a:close/>
                  <a:moveTo>
                    <a:pt x="518523" y="1197017"/>
                  </a:moveTo>
                  <a:cubicBezTo>
                    <a:pt x="523471" y="1197017"/>
                    <a:pt x="527483" y="1201030"/>
                    <a:pt x="527483" y="1205980"/>
                  </a:cubicBezTo>
                  <a:cubicBezTo>
                    <a:pt x="527483" y="1210930"/>
                    <a:pt x="523471" y="1214942"/>
                    <a:pt x="518523" y="1214942"/>
                  </a:cubicBezTo>
                  <a:cubicBezTo>
                    <a:pt x="513574" y="1214942"/>
                    <a:pt x="509562" y="1210930"/>
                    <a:pt x="509562" y="1205980"/>
                  </a:cubicBezTo>
                  <a:cubicBezTo>
                    <a:pt x="509562" y="1201030"/>
                    <a:pt x="513574" y="1197017"/>
                    <a:pt x="518523" y="1197017"/>
                  </a:cubicBezTo>
                  <a:close/>
                  <a:moveTo>
                    <a:pt x="9154" y="1197017"/>
                  </a:moveTo>
                  <a:cubicBezTo>
                    <a:pt x="14103" y="1197017"/>
                    <a:pt x="18113" y="1201030"/>
                    <a:pt x="18113" y="1205980"/>
                  </a:cubicBezTo>
                  <a:cubicBezTo>
                    <a:pt x="18113" y="1210930"/>
                    <a:pt x="14103" y="1214944"/>
                    <a:pt x="9154" y="1214944"/>
                  </a:cubicBezTo>
                  <a:cubicBezTo>
                    <a:pt x="4206" y="1214944"/>
                    <a:pt x="194" y="1210930"/>
                    <a:pt x="194" y="1205980"/>
                  </a:cubicBezTo>
                  <a:cubicBezTo>
                    <a:pt x="194" y="1201030"/>
                    <a:pt x="4206" y="1197017"/>
                    <a:pt x="9154" y="1197017"/>
                  </a:cubicBezTo>
                  <a:close/>
                  <a:moveTo>
                    <a:pt x="2205955" y="1197015"/>
                  </a:moveTo>
                  <a:cubicBezTo>
                    <a:pt x="2210905" y="1197015"/>
                    <a:pt x="2214911" y="1201028"/>
                    <a:pt x="2214911" y="1205977"/>
                  </a:cubicBezTo>
                  <a:cubicBezTo>
                    <a:pt x="2214911" y="1210927"/>
                    <a:pt x="2210905" y="1214941"/>
                    <a:pt x="2205955" y="1214941"/>
                  </a:cubicBezTo>
                  <a:cubicBezTo>
                    <a:pt x="2200977" y="1214941"/>
                    <a:pt x="2196955" y="1210927"/>
                    <a:pt x="2196955" y="1205977"/>
                  </a:cubicBezTo>
                  <a:cubicBezTo>
                    <a:pt x="2196955" y="1201028"/>
                    <a:pt x="2200977" y="1197015"/>
                    <a:pt x="2205955" y="1197015"/>
                  </a:cubicBezTo>
                  <a:close/>
                  <a:moveTo>
                    <a:pt x="2037212" y="1197015"/>
                  </a:moveTo>
                  <a:cubicBezTo>
                    <a:pt x="2042172" y="1197015"/>
                    <a:pt x="2046151" y="1201028"/>
                    <a:pt x="2046151" y="1205977"/>
                  </a:cubicBezTo>
                  <a:cubicBezTo>
                    <a:pt x="2046151" y="1210927"/>
                    <a:pt x="2042172" y="1214941"/>
                    <a:pt x="2037212" y="1214941"/>
                  </a:cubicBezTo>
                  <a:cubicBezTo>
                    <a:pt x="2032276" y="1214941"/>
                    <a:pt x="2028278" y="1210927"/>
                    <a:pt x="2028278" y="1205977"/>
                  </a:cubicBezTo>
                  <a:cubicBezTo>
                    <a:pt x="2028278" y="1201028"/>
                    <a:pt x="2032276" y="1197015"/>
                    <a:pt x="2037212" y="1197015"/>
                  </a:cubicBezTo>
                  <a:close/>
                  <a:moveTo>
                    <a:pt x="1868514" y="1197015"/>
                  </a:moveTo>
                  <a:cubicBezTo>
                    <a:pt x="1873449" y="1197015"/>
                    <a:pt x="1877458" y="1201028"/>
                    <a:pt x="1877458" y="1205977"/>
                  </a:cubicBezTo>
                  <a:cubicBezTo>
                    <a:pt x="1877458" y="1210929"/>
                    <a:pt x="1873449" y="1214941"/>
                    <a:pt x="1868514" y="1214941"/>
                  </a:cubicBezTo>
                  <a:cubicBezTo>
                    <a:pt x="1863553" y="1214941"/>
                    <a:pt x="1859534" y="1210929"/>
                    <a:pt x="1859534" y="1205977"/>
                  </a:cubicBezTo>
                  <a:cubicBezTo>
                    <a:pt x="1859534" y="1201028"/>
                    <a:pt x="1863553" y="1197015"/>
                    <a:pt x="1868514" y="1197015"/>
                  </a:cubicBezTo>
                  <a:close/>
                  <a:moveTo>
                    <a:pt x="1699759" y="1197015"/>
                  </a:moveTo>
                  <a:cubicBezTo>
                    <a:pt x="1704713" y="1197015"/>
                    <a:pt x="1708729" y="1201029"/>
                    <a:pt x="1708729" y="1205979"/>
                  </a:cubicBezTo>
                  <a:cubicBezTo>
                    <a:pt x="1708729" y="1210929"/>
                    <a:pt x="1704713" y="1214941"/>
                    <a:pt x="1699759" y="1214941"/>
                  </a:cubicBezTo>
                  <a:cubicBezTo>
                    <a:pt x="1694802" y="1214941"/>
                    <a:pt x="1690788" y="1210929"/>
                    <a:pt x="1690788" y="1205979"/>
                  </a:cubicBezTo>
                  <a:cubicBezTo>
                    <a:pt x="1690788" y="1201029"/>
                    <a:pt x="1694802" y="1197015"/>
                    <a:pt x="1699759" y="1197015"/>
                  </a:cubicBezTo>
                  <a:close/>
                  <a:moveTo>
                    <a:pt x="1531017" y="1197015"/>
                  </a:moveTo>
                  <a:cubicBezTo>
                    <a:pt x="1535968" y="1197015"/>
                    <a:pt x="1539979" y="1201029"/>
                    <a:pt x="1539979" y="1205979"/>
                  </a:cubicBezTo>
                  <a:cubicBezTo>
                    <a:pt x="1539979" y="1210929"/>
                    <a:pt x="1535968" y="1214941"/>
                    <a:pt x="1531017" y="1214941"/>
                  </a:cubicBezTo>
                  <a:cubicBezTo>
                    <a:pt x="1526066" y="1214941"/>
                    <a:pt x="1522054" y="1210929"/>
                    <a:pt x="1522054" y="1205979"/>
                  </a:cubicBezTo>
                  <a:cubicBezTo>
                    <a:pt x="1522054" y="1201029"/>
                    <a:pt x="1526066" y="1197015"/>
                    <a:pt x="1531017" y="1197015"/>
                  </a:cubicBezTo>
                  <a:close/>
                  <a:moveTo>
                    <a:pt x="1362262" y="1197015"/>
                  </a:moveTo>
                  <a:cubicBezTo>
                    <a:pt x="1367217" y="1197015"/>
                    <a:pt x="1371225" y="1201029"/>
                    <a:pt x="1371225" y="1205979"/>
                  </a:cubicBezTo>
                  <a:cubicBezTo>
                    <a:pt x="1371225" y="1210929"/>
                    <a:pt x="1367217" y="1214942"/>
                    <a:pt x="1362262" y="1214942"/>
                  </a:cubicBezTo>
                  <a:cubicBezTo>
                    <a:pt x="1357313" y="1214942"/>
                    <a:pt x="1353301" y="1210929"/>
                    <a:pt x="1353301" y="1205979"/>
                  </a:cubicBezTo>
                  <a:cubicBezTo>
                    <a:pt x="1353301" y="1201029"/>
                    <a:pt x="1357313" y="1197015"/>
                    <a:pt x="1362262" y="1197015"/>
                  </a:cubicBezTo>
                  <a:close/>
                  <a:moveTo>
                    <a:pt x="3218314" y="1197014"/>
                  </a:moveTo>
                  <a:cubicBezTo>
                    <a:pt x="3223287" y="1197014"/>
                    <a:pt x="3227291" y="1201026"/>
                    <a:pt x="3227291" y="1205976"/>
                  </a:cubicBezTo>
                  <a:cubicBezTo>
                    <a:pt x="3227291" y="1210926"/>
                    <a:pt x="3223287" y="1214940"/>
                    <a:pt x="3218314" y="1214940"/>
                  </a:cubicBezTo>
                  <a:cubicBezTo>
                    <a:pt x="3213353" y="1214940"/>
                    <a:pt x="3209344" y="1210926"/>
                    <a:pt x="3209344" y="1205976"/>
                  </a:cubicBezTo>
                  <a:cubicBezTo>
                    <a:pt x="3209344" y="1201026"/>
                    <a:pt x="3213353" y="1197014"/>
                    <a:pt x="3218314" y="1197014"/>
                  </a:cubicBezTo>
                  <a:close/>
                  <a:moveTo>
                    <a:pt x="3049621" y="1197014"/>
                  </a:moveTo>
                  <a:cubicBezTo>
                    <a:pt x="3054569" y="1197014"/>
                    <a:pt x="3058578" y="1201026"/>
                    <a:pt x="3058578" y="1205976"/>
                  </a:cubicBezTo>
                  <a:cubicBezTo>
                    <a:pt x="3058578" y="1210926"/>
                    <a:pt x="3054569" y="1214940"/>
                    <a:pt x="3049621" y="1214940"/>
                  </a:cubicBezTo>
                  <a:cubicBezTo>
                    <a:pt x="3044669" y="1214940"/>
                    <a:pt x="3040651" y="1210926"/>
                    <a:pt x="3040651" y="1205976"/>
                  </a:cubicBezTo>
                  <a:cubicBezTo>
                    <a:pt x="3040651" y="1201026"/>
                    <a:pt x="3044669" y="1197014"/>
                    <a:pt x="3049621" y="1197014"/>
                  </a:cubicBezTo>
                  <a:close/>
                  <a:moveTo>
                    <a:pt x="2880905" y="1197014"/>
                  </a:moveTo>
                  <a:cubicBezTo>
                    <a:pt x="2885849" y="1197014"/>
                    <a:pt x="2889860" y="1201026"/>
                    <a:pt x="2889860" y="1205976"/>
                  </a:cubicBezTo>
                  <a:cubicBezTo>
                    <a:pt x="2889860" y="1210927"/>
                    <a:pt x="2885849" y="1214940"/>
                    <a:pt x="2880905" y="1214940"/>
                  </a:cubicBezTo>
                  <a:cubicBezTo>
                    <a:pt x="2875959" y="1214940"/>
                    <a:pt x="2871948" y="1210927"/>
                    <a:pt x="2871948" y="1205976"/>
                  </a:cubicBezTo>
                  <a:cubicBezTo>
                    <a:pt x="2871948" y="1201026"/>
                    <a:pt x="2875959" y="1197014"/>
                    <a:pt x="2880905" y="1197014"/>
                  </a:cubicBezTo>
                  <a:close/>
                  <a:moveTo>
                    <a:pt x="2712127" y="1197014"/>
                  </a:moveTo>
                  <a:cubicBezTo>
                    <a:pt x="2717103" y="1197014"/>
                    <a:pt x="2721110" y="1201028"/>
                    <a:pt x="2721110" y="1205977"/>
                  </a:cubicBezTo>
                  <a:cubicBezTo>
                    <a:pt x="2721110" y="1210927"/>
                    <a:pt x="2717103" y="1214940"/>
                    <a:pt x="2712127" y="1214940"/>
                  </a:cubicBezTo>
                  <a:cubicBezTo>
                    <a:pt x="2707198" y="1214940"/>
                    <a:pt x="2703176" y="1210927"/>
                    <a:pt x="2703176" y="1205977"/>
                  </a:cubicBezTo>
                  <a:cubicBezTo>
                    <a:pt x="2703176" y="1201028"/>
                    <a:pt x="2707198" y="1197014"/>
                    <a:pt x="2712127" y="1197014"/>
                  </a:cubicBezTo>
                  <a:close/>
                  <a:moveTo>
                    <a:pt x="2543459" y="1197014"/>
                  </a:moveTo>
                  <a:cubicBezTo>
                    <a:pt x="2548414" y="1197014"/>
                    <a:pt x="2552423" y="1201028"/>
                    <a:pt x="2552423" y="1205977"/>
                  </a:cubicBezTo>
                  <a:cubicBezTo>
                    <a:pt x="2552423" y="1210927"/>
                    <a:pt x="2548414" y="1214940"/>
                    <a:pt x="2543459" y="1214940"/>
                  </a:cubicBezTo>
                  <a:cubicBezTo>
                    <a:pt x="2538504" y="1214940"/>
                    <a:pt x="2534483" y="1210927"/>
                    <a:pt x="2534483" y="1205977"/>
                  </a:cubicBezTo>
                  <a:cubicBezTo>
                    <a:pt x="2534483" y="1201028"/>
                    <a:pt x="2538504" y="1197014"/>
                    <a:pt x="2543459" y="1197014"/>
                  </a:cubicBezTo>
                  <a:close/>
                  <a:moveTo>
                    <a:pt x="2374648" y="1197014"/>
                  </a:moveTo>
                  <a:cubicBezTo>
                    <a:pt x="2379617" y="1197014"/>
                    <a:pt x="2383667" y="1201028"/>
                    <a:pt x="2383667" y="1205977"/>
                  </a:cubicBezTo>
                  <a:cubicBezTo>
                    <a:pt x="2383667" y="1210927"/>
                    <a:pt x="2379617" y="1214941"/>
                    <a:pt x="2374648" y="1214941"/>
                  </a:cubicBezTo>
                  <a:cubicBezTo>
                    <a:pt x="2369694" y="1214941"/>
                    <a:pt x="2365685" y="1210927"/>
                    <a:pt x="2365685" y="1205977"/>
                  </a:cubicBezTo>
                  <a:cubicBezTo>
                    <a:pt x="2365685" y="1201028"/>
                    <a:pt x="2369694" y="1197014"/>
                    <a:pt x="2374648" y="1197014"/>
                  </a:cubicBezTo>
                  <a:close/>
                  <a:moveTo>
                    <a:pt x="4230654" y="1197013"/>
                  </a:moveTo>
                  <a:cubicBezTo>
                    <a:pt x="4235603" y="1197013"/>
                    <a:pt x="4239615" y="1201025"/>
                    <a:pt x="4239615" y="1205975"/>
                  </a:cubicBezTo>
                  <a:cubicBezTo>
                    <a:pt x="4239615" y="1210925"/>
                    <a:pt x="4235603" y="1214938"/>
                    <a:pt x="4230654" y="1214938"/>
                  </a:cubicBezTo>
                  <a:cubicBezTo>
                    <a:pt x="4225705" y="1214938"/>
                    <a:pt x="4221694" y="1210925"/>
                    <a:pt x="4221694" y="1205975"/>
                  </a:cubicBezTo>
                  <a:cubicBezTo>
                    <a:pt x="4221694" y="1201025"/>
                    <a:pt x="4225705" y="1197013"/>
                    <a:pt x="4230654" y="1197013"/>
                  </a:cubicBezTo>
                  <a:close/>
                  <a:moveTo>
                    <a:pt x="4061912" y="1197013"/>
                  </a:moveTo>
                  <a:cubicBezTo>
                    <a:pt x="4066861" y="1197013"/>
                    <a:pt x="4070873" y="1201025"/>
                    <a:pt x="4070873" y="1205975"/>
                  </a:cubicBezTo>
                  <a:cubicBezTo>
                    <a:pt x="4070873" y="1210925"/>
                    <a:pt x="4066861" y="1214938"/>
                    <a:pt x="4061912" y="1214938"/>
                  </a:cubicBezTo>
                  <a:cubicBezTo>
                    <a:pt x="4056963" y="1214938"/>
                    <a:pt x="4052952" y="1210925"/>
                    <a:pt x="4052952" y="1205975"/>
                  </a:cubicBezTo>
                  <a:cubicBezTo>
                    <a:pt x="4052952" y="1201025"/>
                    <a:pt x="4056963" y="1197013"/>
                    <a:pt x="4061912" y="1197013"/>
                  </a:cubicBezTo>
                  <a:close/>
                  <a:moveTo>
                    <a:pt x="3893170" y="1197013"/>
                  </a:moveTo>
                  <a:cubicBezTo>
                    <a:pt x="3898119" y="1197013"/>
                    <a:pt x="3902131" y="1201025"/>
                    <a:pt x="3902131" y="1205975"/>
                  </a:cubicBezTo>
                  <a:cubicBezTo>
                    <a:pt x="3902131" y="1210926"/>
                    <a:pt x="3898119" y="1214938"/>
                    <a:pt x="3893170" y="1214938"/>
                  </a:cubicBezTo>
                  <a:cubicBezTo>
                    <a:pt x="3888221" y="1214938"/>
                    <a:pt x="3884210" y="1210926"/>
                    <a:pt x="3884210" y="1205975"/>
                  </a:cubicBezTo>
                  <a:cubicBezTo>
                    <a:pt x="3884210" y="1201025"/>
                    <a:pt x="3888221" y="1197013"/>
                    <a:pt x="3893170" y="1197013"/>
                  </a:cubicBezTo>
                  <a:close/>
                  <a:moveTo>
                    <a:pt x="3724429" y="1197013"/>
                  </a:moveTo>
                  <a:cubicBezTo>
                    <a:pt x="3729378" y="1197013"/>
                    <a:pt x="3733390" y="1201025"/>
                    <a:pt x="3733390" y="1205976"/>
                  </a:cubicBezTo>
                  <a:cubicBezTo>
                    <a:pt x="3733390" y="1210926"/>
                    <a:pt x="3729378" y="1214938"/>
                    <a:pt x="3724429" y="1214938"/>
                  </a:cubicBezTo>
                  <a:cubicBezTo>
                    <a:pt x="3719481" y="1214938"/>
                    <a:pt x="3715469" y="1210926"/>
                    <a:pt x="3715469" y="1205976"/>
                  </a:cubicBezTo>
                  <a:cubicBezTo>
                    <a:pt x="3715469" y="1201025"/>
                    <a:pt x="3719481" y="1197013"/>
                    <a:pt x="3724429" y="1197013"/>
                  </a:cubicBezTo>
                  <a:close/>
                  <a:moveTo>
                    <a:pt x="3555688" y="1197013"/>
                  </a:moveTo>
                  <a:cubicBezTo>
                    <a:pt x="3560637" y="1197013"/>
                    <a:pt x="3564649" y="1201026"/>
                    <a:pt x="3564649" y="1205976"/>
                  </a:cubicBezTo>
                  <a:cubicBezTo>
                    <a:pt x="3564649" y="1210926"/>
                    <a:pt x="3560637" y="1214938"/>
                    <a:pt x="3555688" y="1214938"/>
                  </a:cubicBezTo>
                  <a:cubicBezTo>
                    <a:pt x="3550740" y="1214938"/>
                    <a:pt x="3546728" y="1210926"/>
                    <a:pt x="3546728" y="1205976"/>
                  </a:cubicBezTo>
                  <a:cubicBezTo>
                    <a:pt x="3546728" y="1201026"/>
                    <a:pt x="3550740" y="1197013"/>
                    <a:pt x="3555688" y="1197013"/>
                  </a:cubicBezTo>
                  <a:close/>
                  <a:moveTo>
                    <a:pt x="3387068" y="1197013"/>
                  </a:moveTo>
                  <a:cubicBezTo>
                    <a:pt x="3392037" y="1197013"/>
                    <a:pt x="3396049" y="1201026"/>
                    <a:pt x="3396049" y="1205976"/>
                  </a:cubicBezTo>
                  <a:cubicBezTo>
                    <a:pt x="3396049" y="1210926"/>
                    <a:pt x="3392037" y="1214940"/>
                    <a:pt x="3387068" y="1214940"/>
                  </a:cubicBezTo>
                  <a:cubicBezTo>
                    <a:pt x="3382074" y="1214940"/>
                    <a:pt x="3378057" y="1210926"/>
                    <a:pt x="3378057" y="1205976"/>
                  </a:cubicBezTo>
                  <a:cubicBezTo>
                    <a:pt x="3378057" y="1201026"/>
                    <a:pt x="3382074" y="1197013"/>
                    <a:pt x="3387068" y="1197013"/>
                  </a:cubicBezTo>
                  <a:close/>
                  <a:moveTo>
                    <a:pt x="5243103" y="1197011"/>
                  </a:moveTo>
                  <a:cubicBezTo>
                    <a:pt x="5248052" y="1197011"/>
                    <a:pt x="5252064" y="1201023"/>
                    <a:pt x="5252064" y="1205973"/>
                  </a:cubicBezTo>
                  <a:cubicBezTo>
                    <a:pt x="5252064" y="1210923"/>
                    <a:pt x="5248052" y="1214937"/>
                    <a:pt x="5243103" y="1214937"/>
                  </a:cubicBezTo>
                  <a:cubicBezTo>
                    <a:pt x="5238154" y="1214937"/>
                    <a:pt x="5234143" y="1210923"/>
                    <a:pt x="5234143" y="1205973"/>
                  </a:cubicBezTo>
                  <a:cubicBezTo>
                    <a:pt x="5234143" y="1201023"/>
                    <a:pt x="5238154" y="1197011"/>
                    <a:pt x="5243103" y="1197011"/>
                  </a:cubicBezTo>
                  <a:close/>
                  <a:moveTo>
                    <a:pt x="5074362" y="1197011"/>
                  </a:moveTo>
                  <a:cubicBezTo>
                    <a:pt x="5079311" y="1197011"/>
                    <a:pt x="5083323" y="1201023"/>
                    <a:pt x="5083323" y="1205973"/>
                  </a:cubicBezTo>
                  <a:cubicBezTo>
                    <a:pt x="5083323" y="1210923"/>
                    <a:pt x="5079311" y="1214937"/>
                    <a:pt x="5074362" y="1214937"/>
                  </a:cubicBezTo>
                  <a:cubicBezTo>
                    <a:pt x="5069413" y="1214937"/>
                    <a:pt x="5065402" y="1210923"/>
                    <a:pt x="5065402" y="1205973"/>
                  </a:cubicBezTo>
                  <a:cubicBezTo>
                    <a:pt x="5065402" y="1201023"/>
                    <a:pt x="5069413" y="1197011"/>
                    <a:pt x="5074362" y="1197011"/>
                  </a:cubicBezTo>
                  <a:close/>
                  <a:moveTo>
                    <a:pt x="4905620" y="1197011"/>
                  </a:moveTo>
                  <a:cubicBezTo>
                    <a:pt x="4910569" y="1197011"/>
                    <a:pt x="4914581" y="1201023"/>
                    <a:pt x="4914581" y="1205975"/>
                  </a:cubicBezTo>
                  <a:cubicBezTo>
                    <a:pt x="4914581" y="1210925"/>
                    <a:pt x="4910569" y="1214937"/>
                    <a:pt x="4905620" y="1214937"/>
                  </a:cubicBezTo>
                  <a:cubicBezTo>
                    <a:pt x="4900671" y="1214937"/>
                    <a:pt x="4896660" y="1210925"/>
                    <a:pt x="4896660" y="1205975"/>
                  </a:cubicBezTo>
                  <a:cubicBezTo>
                    <a:pt x="4896660" y="1201023"/>
                    <a:pt x="4900671" y="1197011"/>
                    <a:pt x="4905620" y="1197011"/>
                  </a:cubicBezTo>
                  <a:close/>
                  <a:moveTo>
                    <a:pt x="4736878" y="1197011"/>
                  </a:moveTo>
                  <a:cubicBezTo>
                    <a:pt x="4741827" y="1197011"/>
                    <a:pt x="4745839" y="1201025"/>
                    <a:pt x="4745839" y="1205975"/>
                  </a:cubicBezTo>
                  <a:cubicBezTo>
                    <a:pt x="4745839" y="1210925"/>
                    <a:pt x="4741827" y="1214937"/>
                    <a:pt x="4736878" y="1214937"/>
                  </a:cubicBezTo>
                  <a:cubicBezTo>
                    <a:pt x="4731929" y="1214937"/>
                    <a:pt x="4727918" y="1210925"/>
                    <a:pt x="4727918" y="1205975"/>
                  </a:cubicBezTo>
                  <a:cubicBezTo>
                    <a:pt x="4727918" y="1201025"/>
                    <a:pt x="4731929" y="1197011"/>
                    <a:pt x="4736878" y="1197011"/>
                  </a:cubicBezTo>
                  <a:close/>
                  <a:moveTo>
                    <a:pt x="4568137" y="1197011"/>
                  </a:moveTo>
                  <a:cubicBezTo>
                    <a:pt x="4573086" y="1197011"/>
                    <a:pt x="4577098" y="1201025"/>
                    <a:pt x="4577098" y="1205975"/>
                  </a:cubicBezTo>
                  <a:cubicBezTo>
                    <a:pt x="4577098" y="1210925"/>
                    <a:pt x="4573086" y="1214937"/>
                    <a:pt x="4568137" y="1214937"/>
                  </a:cubicBezTo>
                  <a:cubicBezTo>
                    <a:pt x="4563188" y="1214937"/>
                    <a:pt x="4559177" y="1210925"/>
                    <a:pt x="4559177" y="1205975"/>
                  </a:cubicBezTo>
                  <a:cubicBezTo>
                    <a:pt x="4559177" y="1201025"/>
                    <a:pt x="4563188" y="1197011"/>
                    <a:pt x="4568137" y="1197011"/>
                  </a:cubicBezTo>
                  <a:close/>
                  <a:moveTo>
                    <a:pt x="4399396" y="1197011"/>
                  </a:moveTo>
                  <a:cubicBezTo>
                    <a:pt x="4404345" y="1197011"/>
                    <a:pt x="4408357" y="1201025"/>
                    <a:pt x="4408357" y="1205975"/>
                  </a:cubicBezTo>
                  <a:cubicBezTo>
                    <a:pt x="4408357" y="1210925"/>
                    <a:pt x="4404345" y="1214938"/>
                    <a:pt x="4399396" y="1214938"/>
                  </a:cubicBezTo>
                  <a:cubicBezTo>
                    <a:pt x="4394447" y="1214938"/>
                    <a:pt x="4390436" y="1210925"/>
                    <a:pt x="4390436" y="1205975"/>
                  </a:cubicBezTo>
                  <a:cubicBezTo>
                    <a:pt x="4390436" y="1201025"/>
                    <a:pt x="4394447" y="1197011"/>
                    <a:pt x="4399396" y="1197011"/>
                  </a:cubicBezTo>
                  <a:close/>
                  <a:moveTo>
                    <a:pt x="6255553" y="1197010"/>
                  </a:moveTo>
                  <a:cubicBezTo>
                    <a:pt x="6260502" y="1197010"/>
                    <a:pt x="6264514" y="1201022"/>
                    <a:pt x="6264514" y="1205972"/>
                  </a:cubicBezTo>
                  <a:cubicBezTo>
                    <a:pt x="6264514" y="1210922"/>
                    <a:pt x="6260502" y="1214936"/>
                    <a:pt x="6255553" y="1214936"/>
                  </a:cubicBezTo>
                  <a:cubicBezTo>
                    <a:pt x="6250604" y="1214936"/>
                    <a:pt x="6246593" y="1210922"/>
                    <a:pt x="6246593" y="1205972"/>
                  </a:cubicBezTo>
                  <a:cubicBezTo>
                    <a:pt x="6246593" y="1201022"/>
                    <a:pt x="6250604" y="1197010"/>
                    <a:pt x="6255553" y="1197010"/>
                  </a:cubicBezTo>
                  <a:close/>
                  <a:moveTo>
                    <a:pt x="6086811" y="1197010"/>
                  </a:moveTo>
                  <a:cubicBezTo>
                    <a:pt x="6091760" y="1197010"/>
                    <a:pt x="6095772" y="1201022"/>
                    <a:pt x="6095772" y="1205972"/>
                  </a:cubicBezTo>
                  <a:cubicBezTo>
                    <a:pt x="6095772" y="1210922"/>
                    <a:pt x="6091760" y="1214936"/>
                    <a:pt x="6086811" y="1214936"/>
                  </a:cubicBezTo>
                  <a:cubicBezTo>
                    <a:pt x="6081862" y="1214936"/>
                    <a:pt x="6077851" y="1210922"/>
                    <a:pt x="6077851" y="1205972"/>
                  </a:cubicBezTo>
                  <a:cubicBezTo>
                    <a:pt x="6077851" y="1201022"/>
                    <a:pt x="6081862" y="1197010"/>
                    <a:pt x="6086811" y="1197010"/>
                  </a:cubicBezTo>
                  <a:close/>
                  <a:moveTo>
                    <a:pt x="5918069" y="1197010"/>
                  </a:moveTo>
                  <a:cubicBezTo>
                    <a:pt x="5923018" y="1197010"/>
                    <a:pt x="5927030" y="1201022"/>
                    <a:pt x="5927030" y="1205972"/>
                  </a:cubicBezTo>
                  <a:cubicBezTo>
                    <a:pt x="5927030" y="1210923"/>
                    <a:pt x="5923018" y="1214936"/>
                    <a:pt x="5918069" y="1214936"/>
                  </a:cubicBezTo>
                  <a:cubicBezTo>
                    <a:pt x="5913120" y="1214936"/>
                    <a:pt x="5909109" y="1210923"/>
                    <a:pt x="5909109" y="1205972"/>
                  </a:cubicBezTo>
                  <a:cubicBezTo>
                    <a:pt x="5909109" y="1201022"/>
                    <a:pt x="5913120" y="1197010"/>
                    <a:pt x="5918069" y="1197010"/>
                  </a:cubicBezTo>
                  <a:close/>
                  <a:moveTo>
                    <a:pt x="5749328" y="1197010"/>
                  </a:moveTo>
                  <a:cubicBezTo>
                    <a:pt x="5754277" y="1197010"/>
                    <a:pt x="5758289" y="1201022"/>
                    <a:pt x="5758289" y="1205973"/>
                  </a:cubicBezTo>
                  <a:cubicBezTo>
                    <a:pt x="5758289" y="1210923"/>
                    <a:pt x="5754277" y="1214936"/>
                    <a:pt x="5749328" y="1214936"/>
                  </a:cubicBezTo>
                  <a:cubicBezTo>
                    <a:pt x="5744379" y="1214936"/>
                    <a:pt x="5740368" y="1210923"/>
                    <a:pt x="5740368" y="1205973"/>
                  </a:cubicBezTo>
                  <a:cubicBezTo>
                    <a:pt x="5740368" y="1201022"/>
                    <a:pt x="5744379" y="1197010"/>
                    <a:pt x="5749328" y="1197010"/>
                  </a:cubicBezTo>
                  <a:close/>
                  <a:moveTo>
                    <a:pt x="5580586" y="1197010"/>
                  </a:moveTo>
                  <a:cubicBezTo>
                    <a:pt x="5585535" y="1197010"/>
                    <a:pt x="5589547" y="1201023"/>
                    <a:pt x="5589547" y="1205973"/>
                  </a:cubicBezTo>
                  <a:cubicBezTo>
                    <a:pt x="5589547" y="1210923"/>
                    <a:pt x="5585535" y="1214936"/>
                    <a:pt x="5580586" y="1214936"/>
                  </a:cubicBezTo>
                  <a:cubicBezTo>
                    <a:pt x="5575637" y="1214936"/>
                    <a:pt x="5571626" y="1210923"/>
                    <a:pt x="5571626" y="1205973"/>
                  </a:cubicBezTo>
                  <a:cubicBezTo>
                    <a:pt x="5571626" y="1201023"/>
                    <a:pt x="5575637" y="1197010"/>
                    <a:pt x="5580586" y="1197010"/>
                  </a:cubicBezTo>
                  <a:close/>
                  <a:moveTo>
                    <a:pt x="5411845" y="1197010"/>
                  </a:moveTo>
                  <a:cubicBezTo>
                    <a:pt x="5416794" y="1197010"/>
                    <a:pt x="5420806" y="1201023"/>
                    <a:pt x="5420806" y="1205973"/>
                  </a:cubicBezTo>
                  <a:cubicBezTo>
                    <a:pt x="5420806" y="1210923"/>
                    <a:pt x="5416794" y="1214937"/>
                    <a:pt x="5411845" y="1214937"/>
                  </a:cubicBezTo>
                  <a:cubicBezTo>
                    <a:pt x="5406896" y="1214937"/>
                    <a:pt x="5402885" y="1210923"/>
                    <a:pt x="5402885" y="1205973"/>
                  </a:cubicBezTo>
                  <a:cubicBezTo>
                    <a:pt x="5402885" y="1201023"/>
                    <a:pt x="5406896" y="1197010"/>
                    <a:pt x="5411845" y="1197010"/>
                  </a:cubicBezTo>
                  <a:close/>
                  <a:moveTo>
                    <a:pt x="6933679" y="1197009"/>
                  </a:moveTo>
                  <a:cubicBezTo>
                    <a:pt x="6938628" y="1197009"/>
                    <a:pt x="6942639" y="1201021"/>
                    <a:pt x="6942639" y="1205972"/>
                  </a:cubicBezTo>
                  <a:cubicBezTo>
                    <a:pt x="6942639" y="1210922"/>
                    <a:pt x="6938628" y="1214934"/>
                    <a:pt x="6933679" y="1214934"/>
                  </a:cubicBezTo>
                  <a:cubicBezTo>
                    <a:pt x="6928730" y="1214934"/>
                    <a:pt x="6924718" y="1210922"/>
                    <a:pt x="6924718" y="1205972"/>
                  </a:cubicBezTo>
                  <a:cubicBezTo>
                    <a:pt x="6924718" y="1201021"/>
                    <a:pt x="6928730" y="1197009"/>
                    <a:pt x="6933679" y="1197009"/>
                  </a:cubicBezTo>
                  <a:close/>
                  <a:moveTo>
                    <a:pt x="6763357" y="1197009"/>
                  </a:moveTo>
                  <a:cubicBezTo>
                    <a:pt x="6768306" y="1197009"/>
                    <a:pt x="6772318" y="1201022"/>
                    <a:pt x="6772318" y="1205972"/>
                  </a:cubicBezTo>
                  <a:cubicBezTo>
                    <a:pt x="6772318" y="1210922"/>
                    <a:pt x="6768306" y="1214934"/>
                    <a:pt x="6763357" y="1214934"/>
                  </a:cubicBezTo>
                  <a:cubicBezTo>
                    <a:pt x="6758408" y="1214934"/>
                    <a:pt x="6754397" y="1210922"/>
                    <a:pt x="6754397" y="1205972"/>
                  </a:cubicBezTo>
                  <a:cubicBezTo>
                    <a:pt x="6754397" y="1201022"/>
                    <a:pt x="6758408" y="1197009"/>
                    <a:pt x="6763357" y="1197009"/>
                  </a:cubicBezTo>
                  <a:close/>
                  <a:moveTo>
                    <a:pt x="6593035" y="1197009"/>
                  </a:moveTo>
                  <a:cubicBezTo>
                    <a:pt x="6597984" y="1197009"/>
                    <a:pt x="6601996" y="1201022"/>
                    <a:pt x="6601996" y="1205972"/>
                  </a:cubicBezTo>
                  <a:cubicBezTo>
                    <a:pt x="6601996" y="1210922"/>
                    <a:pt x="6597984" y="1214934"/>
                    <a:pt x="6593035" y="1214934"/>
                  </a:cubicBezTo>
                  <a:cubicBezTo>
                    <a:pt x="6588086" y="1214934"/>
                    <a:pt x="6584075" y="1210922"/>
                    <a:pt x="6584075" y="1205972"/>
                  </a:cubicBezTo>
                  <a:cubicBezTo>
                    <a:pt x="6584075" y="1201022"/>
                    <a:pt x="6588086" y="1197009"/>
                    <a:pt x="6593035" y="1197009"/>
                  </a:cubicBezTo>
                  <a:close/>
                  <a:moveTo>
                    <a:pt x="6424294" y="1197009"/>
                  </a:moveTo>
                  <a:cubicBezTo>
                    <a:pt x="6429243" y="1197009"/>
                    <a:pt x="6433255" y="1201022"/>
                    <a:pt x="6433255" y="1205972"/>
                  </a:cubicBezTo>
                  <a:cubicBezTo>
                    <a:pt x="6433255" y="1210922"/>
                    <a:pt x="6429243" y="1214936"/>
                    <a:pt x="6424294" y="1214936"/>
                  </a:cubicBezTo>
                  <a:cubicBezTo>
                    <a:pt x="6419345" y="1214936"/>
                    <a:pt x="6415334" y="1210922"/>
                    <a:pt x="6415334" y="1205972"/>
                  </a:cubicBezTo>
                  <a:cubicBezTo>
                    <a:pt x="6415334" y="1201022"/>
                    <a:pt x="6419345" y="1197009"/>
                    <a:pt x="6424294" y="1197009"/>
                  </a:cubicBezTo>
                  <a:close/>
                  <a:moveTo>
                    <a:pt x="349790" y="1025997"/>
                  </a:moveTo>
                  <a:cubicBezTo>
                    <a:pt x="354738" y="1025997"/>
                    <a:pt x="358750" y="1030009"/>
                    <a:pt x="358750" y="1034959"/>
                  </a:cubicBezTo>
                  <a:cubicBezTo>
                    <a:pt x="358750" y="1039909"/>
                    <a:pt x="354738" y="1043922"/>
                    <a:pt x="349790" y="1043922"/>
                  </a:cubicBezTo>
                  <a:cubicBezTo>
                    <a:pt x="344842" y="1043922"/>
                    <a:pt x="340830" y="1039909"/>
                    <a:pt x="340830" y="1034959"/>
                  </a:cubicBezTo>
                  <a:cubicBezTo>
                    <a:pt x="340830" y="1030009"/>
                    <a:pt x="344842" y="1025997"/>
                    <a:pt x="349790" y="1025997"/>
                  </a:cubicBezTo>
                  <a:close/>
                  <a:moveTo>
                    <a:pt x="1193525" y="1025995"/>
                  </a:moveTo>
                  <a:cubicBezTo>
                    <a:pt x="1198472" y="1025995"/>
                    <a:pt x="1202485" y="1030007"/>
                    <a:pt x="1202485" y="1034957"/>
                  </a:cubicBezTo>
                  <a:cubicBezTo>
                    <a:pt x="1202485" y="1039907"/>
                    <a:pt x="1198472" y="1043921"/>
                    <a:pt x="1193525" y="1043921"/>
                  </a:cubicBezTo>
                  <a:cubicBezTo>
                    <a:pt x="1188578" y="1043921"/>
                    <a:pt x="1184568" y="1039907"/>
                    <a:pt x="1184568" y="1034957"/>
                  </a:cubicBezTo>
                  <a:cubicBezTo>
                    <a:pt x="1184568" y="1030007"/>
                    <a:pt x="1188578" y="1025995"/>
                    <a:pt x="1193525" y="1025995"/>
                  </a:cubicBezTo>
                  <a:close/>
                  <a:moveTo>
                    <a:pt x="1024767" y="1025995"/>
                  </a:moveTo>
                  <a:cubicBezTo>
                    <a:pt x="1029718" y="1025995"/>
                    <a:pt x="1033735" y="1030007"/>
                    <a:pt x="1033735" y="1034957"/>
                  </a:cubicBezTo>
                  <a:cubicBezTo>
                    <a:pt x="1033735" y="1039909"/>
                    <a:pt x="1029718" y="1043921"/>
                    <a:pt x="1024767" y="1043921"/>
                  </a:cubicBezTo>
                  <a:cubicBezTo>
                    <a:pt x="1019818" y="1043921"/>
                    <a:pt x="1015806" y="1039909"/>
                    <a:pt x="1015806" y="1034957"/>
                  </a:cubicBezTo>
                  <a:cubicBezTo>
                    <a:pt x="1015806" y="1030007"/>
                    <a:pt x="1019818" y="1025995"/>
                    <a:pt x="1024767" y="1025995"/>
                  </a:cubicBezTo>
                  <a:close/>
                  <a:moveTo>
                    <a:pt x="856045" y="1025995"/>
                  </a:moveTo>
                  <a:cubicBezTo>
                    <a:pt x="860993" y="1025995"/>
                    <a:pt x="865005" y="1030007"/>
                    <a:pt x="865005" y="1034959"/>
                  </a:cubicBezTo>
                  <a:cubicBezTo>
                    <a:pt x="865005" y="1039909"/>
                    <a:pt x="860993" y="1043921"/>
                    <a:pt x="856045" y="1043921"/>
                  </a:cubicBezTo>
                  <a:cubicBezTo>
                    <a:pt x="851094" y="1043921"/>
                    <a:pt x="847085" y="1039909"/>
                    <a:pt x="847085" y="1034959"/>
                  </a:cubicBezTo>
                  <a:cubicBezTo>
                    <a:pt x="847085" y="1030007"/>
                    <a:pt x="851094" y="1025995"/>
                    <a:pt x="856045" y="1025995"/>
                  </a:cubicBezTo>
                  <a:close/>
                  <a:moveTo>
                    <a:pt x="687307" y="1025995"/>
                  </a:moveTo>
                  <a:cubicBezTo>
                    <a:pt x="692256" y="1025995"/>
                    <a:pt x="696267" y="1030009"/>
                    <a:pt x="696267" y="1034959"/>
                  </a:cubicBezTo>
                  <a:cubicBezTo>
                    <a:pt x="696267" y="1039909"/>
                    <a:pt x="692256" y="1043921"/>
                    <a:pt x="687307" y="1043921"/>
                  </a:cubicBezTo>
                  <a:cubicBezTo>
                    <a:pt x="682359" y="1043921"/>
                    <a:pt x="678349" y="1039909"/>
                    <a:pt x="678349" y="1034959"/>
                  </a:cubicBezTo>
                  <a:cubicBezTo>
                    <a:pt x="678349" y="1030009"/>
                    <a:pt x="682359" y="1025995"/>
                    <a:pt x="687307" y="1025995"/>
                  </a:cubicBezTo>
                  <a:close/>
                  <a:moveTo>
                    <a:pt x="518527" y="1025995"/>
                  </a:moveTo>
                  <a:cubicBezTo>
                    <a:pt x="523475" y="1025995"/>
                    <a:pt x="527487" y="1030009"/>
                    <a:pt x="527487" y="1034959"/>
                  </a:cubicBezTo>
                  <a:cubicBezTo>
                    <a:pt x="527487" y="1039909"/>
                    <a:pt x="523475" y="1043922"/>
                    <a:pt x="518527" y="1043922"/>
                  </a:cubicBezTo>
                  <a:cubicBezTo>
                    <a:pt x="513578" y="1043922"/>
                    <a:pt x="509566" y="1039909"/>
                    <a:pt x="509566" y="1034959"/>
                  </a:cubicBezTo>
                  <a:cubicBezTo>
                    <a:pt x="509566" y="1030009"/>
                    <a:pt x="513578" y="1025995"/>
                    <a:pt x="518527" y="1025995"/>
                  </a:cubicBezTo>
                  <a:close/>
                  <a:moveTo>
                    <a:pt x="179473" y="1025995"/>
                  </a:moveTo>
                  <a:cubicBezTo>
                    <a:pt x="184422" y="1025995"/>
                    <a:pt x="188434" y="1030009"/>
                    <a:pt x="188434" y="1034959"/>
                  </a:cubicBezTo>
                  <a:cubicBezTo>
                    <a:pt x="188434" y="1039909"/>
                    <a:pt x="184422" y="1043922"/>
                    <a:pt x="179473" y="1043922"/>
                  </a:cubicBezTo>
                  <a:cubicBezTo>
                    <a:pt x="174525" y="1043922"/>
                    <a:pt x="170513" y="1039909"/>
                    <a:pt x="170513" y="1034959"/>
                  </a:cubicBezTo>
                  <a:cubicBezTo>
                    <a:pt x="170513" y="1030009"/>
                    <a:pt x="174525" y="1025995"/>
                    <a:pt x="179473" y="1025995"/>
                  </a:cubicBezTo>
                  <a:close/>
                  <a:moveTo>
                    <a:pt x="9159" y="1025995"/>
                  </a:moveTo>
                  <a:cubicBezTo>
                    <a:pt x="14107" y="1025995"/>
                    <a:pt x="18117" y="1030009"/>
                    <a:pt x="18117" y="1034959"/>
                  </a:cubicBezTo>
                  <a:cubicBezTo>
                    <a:pt x="18117" y="1039909"/>
                    <a:pt x="14107" y="1043922"/>
                    <a:pt x="9159" y="1043922"/>
                  </a:cubicBezTo>
                  <a:cubicBezTo>
                    <a:pt x="4210" y="1043922"/>
                    <a:pt x="198" y="1039909"/>
                    <a:pt x="198" y="1034959"/>
                  </a:cubicBezTo>
                  <a:cubicBezTo>
                    <a:pt x="198" y="1030009"/>
                    <a:pt x="4210" y="1025995"/>
                    <a:pt x="9159" y="1025995"/>
                  </a:cubicBezTo>
                  <a:close/>
                  <a:moveTo>
                    <a:pt x="2374651" y="1025994"/>
                  </a:moveTo>
                  <a:cubicBezTo>
                    <a:pt x="2379620" y="1025994"/>
                    <a:pt x="2383671" y="1030006"/>
                    <a:pt x="2383671" y="1034956"/>
                  </a:cubicBezTo>
                  <a:cubicBezTo>
                    <a:pt x="2383671" y="1039906"/>
                    <a:pt x="2379620" y="1043920"/>
                    <a:pt x="2374651" y="1043920"/>
                  </a:cubicBezTo>
                  <a:cubicBezTo>
                    <a:pt x="2369697" y="1043920"/>
                    <a:pt x="2365688" y="1039906"/>
                    <a:pt x="2365688" y="1034956"/>
                  </a:cubicBezTo>
                  <a:cubicBezTo>
                    <a:pt x="2365688" y="1030006"/>
                    <a:pt x="2369697" y="1025994"/>
                    <a:pt x="2374651" y="1025994"/>
                  </a:cubicBezTo>
                  <a:close/>
                  <a:moveTo>
                    <a:pt x="2205959" y="1025994"/>
                  </a:moveTo>
                  <a:cubicBezTo>
                    <a:pt x="2210909" y="1025994"/>
                    <a:pt x="2214915" y="1030006"/>
                    <a:pt x="2214915" y="1034956"/>
                  </a:cubicBezTo>
                  <a:cubicBezTo>
                    <a:pt x="2214915" y="1039907"/>
                    <a:pt x="2210909" y="1043920"/>
                    <a:pt x="2205959" y="1043920"/>
                  </a:cubicBezTo>
                  <a:cubicBezTo>
                    <a:pt x="2200982" y="1043920"/>
                    <a:pt x="2196960" y="1039907"/>
                    <a:pt x="2196960" y="1034956"/>
                  </a:cubicBezTo>
                  <a:cubicBezTo>
                    <a:pt x="2196960" y="1030006"/>
                    <a:pt x="2200982" y="1025994"/>
                    <a:pt x="2205959" y="1025994"/>
                  </a:cubicBezTo>
                  <a:close/>
                  <a:moveTo>
                    <a:pt x="2037217" y="1025994"/>
                  </a:moveTo>
                  <a:cubicBezTo>
                    <a:pt x="2042176" y="1025994"/>
                    <a:pt x="2046155" y="1030006"/>
                    <a:pt x="2046155" y="1034957"/>
                  </a:cubicBezTo>
                  <a:cubicBezTo>
                    <a:pt x="2046155" y="1039907"/>
                    <a:pt x="2042176" y="1043920"/>
                    <a:pt x="2037217" y="1043920"/>
                  </a:cubicBezTo>
                  <a:cubicBezTo>
                    <a:pt x="2032280" y="1043920"/>
                    <a:pt x="2028283" y="1039907"/>
                    <a:pt x="2028283" y="1034957"/>
                  </a:cubicBezTo>
                  <a:cubicBezTo>
                    <a:pt x="2028283" y="1030006"/>
                    <a:pt x="2032280" y="1025994"/>
                    <a:pt x="2037217" y="1025994"/>
                  </a:cubicBezTo>
                  <a:close/>
                  <a:moveTo>
                    <a:pt x="1868520" y="1025994"/>
                  </a:moveTo>
                  <a:cubicBezTo>
                    <a:pt x="1873454" y="1025994"/>
                    <a:pt x="1877462" y="1030006"/>
                    <a:pt x="1877462" y="1034957"/>
                  </a:cubicBezTo>
                  <a:cubicBezTo>
                    <a:pt x="1877462" y="1039907"/>
                    <a:pt x="1873454" y="1043920"/>
                    <a:pt x="1868520" y="1043920"/>
                  </a:cubicBezTo>
                  <a:cubicBezTo>
                    <a:pt x="1863557" y="1043920"/>
                    <a:pt x="1859539" y="1039907"/>
                    <a:pt x="1859539" y="1034957"/>
                  </a:cubicBezTo>
                  <a:cubicBezTo>
                    <a:pt x="1859539" y="1030006"/>
                    <a:pt x="1863557" y="1025994"/>
                    <a:pt x="1868520" y="1025994"/>
                  </a:cubicBezTo>
                  <a:close/>
                  <a:moveTo>
                    <a:pt x="1699763" y="1025994"/>
                  </a:moveTo>
                  <a:cubicBezTo>
                    <a:pt x="1704718" y="1025994"/>
                    <a:pt x="1708735" y="1030007"/>
                    <a:pt x="1708735" y="1034957"/>
                  </a:cubicBezTo>
                  <a:cubicBezTo>
                    <a:pt x="1708735" y="1039907"/>
                    <a:pt x="1704718" y="1043920"/>
                    <a:pt x="1699763" y="1043920"/>
                  </a:cubicBezTo>
                  <a:cubicBezTo>
                    <a:pt x="1694807" y="1043920"/>
                    <a:pt x="1690793" y="1039907"/>
                    <a:pt x="1690793" y="1034957"/>
                  </a:cubicBezTo>
                  <a:cubicBezTo>
                    <a:pt x="1690793" y="1030007"/>
                    <a:pt x="1694807" y="1025994"/>
                    <a:pt x="1699763" y="1025994"/>
                  </a:cubicBezTo>
                  <a:close/>
                  <a:moveTo>
                    <a:pt x="1531022" y="1025994"/>
                  </a:moveTo>
                  <a:cubicBezTo>
                    <a:pt x="1535972" y="1025994"/>
                    <a:pt x="1539984" y="1030007"/>
                    <a:pt x="1539984" y="1034957"/>
                  </a:cubicBezTo>
                  <a:cubicBezTo>
                    <a:pt x="1539984" y="1039907"/>
                    <a:pt x="1535972" y="1043921"/>
                    <a:pt x="1531022" y="1043921"/>
                  </a:cubicBezTo>
                  <a:cubicBezTo>
                    <a:pt x="1526071" y="1043921"/>
                    <a:pt x="1522059" y="1039907"/>
                    <a:pt x="1522059" y="1034957"/>
                  </a:cubicBezTo>
                  <a:cubicBezTo>
                    <a:pt x="1522059" y="1030007"/>
                    <a:pt x="1526071" y="1025994"/>
                    <a:pt x="1531022" y="1025994"/>
                  </a:cubicBezTo>
                  <a:close/>
                  <a:moveTo>
                    <a:pt x="1362267" y="1025994"/>
                  </a:moveTo>
                  <a:cubicBezTo>
                    <a:pt x="1367222" y="1025994"/>
                    <a:pt x="1371229" y="1030007"/>
                    <a:pt x="1371229" y="1034957"/>
                  </a:cubicBezTo>
                  <a:cubicBezTo>
                    <a:pt x="1371229" y="1039907"/>
                    <a:pt x="1367222" y="1043921"/>
                    <a:pt x="1362267" y="1043921"/>
                  </a:cubicBezTo>
                  <a:cubicBezTo>
                    <a:pt x="1357318" y="1043921"/>
                    <a:pt x="1353306" y="1039907"/>
                    <a:pt x="1353306" y="1034957"/>
                  </a:cubicBezTo>
                  <a:cubicBezTo>
                    <a:pt x="1353306" y="1030007"/>
                    <a:pt x="1357318" y="1025994"/>
                    <a:pt x="1362267" y="1025994"/>
                  </a:cubicBezTo>
                  <a:close/>
                  <a:moveTo>
                    <a:pt x="3555688" y="1025993"/>
                  </a:moveTo>
                  <a:cubicBezTo>
                    <a:pt x="3560637" y="1025993"/>
                    <a:pt x="3564649" y="1030005"/>
                    <a:pt x="3564649" y="1034955"/>
                  </a:cubicBezTo>
                  <a:cubicBezTo>
                    <a:pt x="3564649" y="1039905"/>
                    <a:pt x="3560637" y="1043918"/>
                    <a:pt x="3555688" y="1043918"/>
                  </a:cubicBezTo>
                  <a:cubicBezTo>
                    <a:pt x="3550740" y="1043918"/>
                    <a:pt x="3546728" y="1039905"/>
                    <a:pt x="3546728" y="1034955"/>
                  </a:cubicBezTo>
                  <a:cubicBezTo>
                    <a:pt x="3546728" y="1030005"/>
                    <a:pt x="3550740" y="1025993"/>
                    <a:pt x="3555688" y="1025993"/>
                  </a:cubicBezTo>
                  <a:close/>
                  <a:moveTo>
                    <a:pt x="3387070" y="1025993"/>
                  </a:moveTo>
                  <a:cubicBezTo>
                    <a:pt x="3392040" y="1025993"/>
                    <a:pt x="3396052" y="1030005"/>
                    <a:pt x="3396052" y="1034955"/>
                  </a:cubicBezTo>
                  <a:cubicBezTo>
                    <a:pt x="3396052" y="1039905"/>
                    <a:pt x="3392040" y="1043918"/>
                    <a:pt x="3387070" y="1043918"/>
                  </a:cubicBezTo>
                  <a:cubicBezTo>
                    <a:pt x="3382077" y="1043918"/>
                    <a:pt x="3378059" y="1039905"/>
                    <a:pt x="3378059" y="1034955"/>
                  </a:cubicBezTo>
                  <a:cubicBezTo>
                    <a:pt x="3378059" y="1030005"/>
                    <a:pt x="3382077" y="1025993"/>
                    <a:pt x="3387070" y="1025993"/>
                  </a:cubicBezTo>
                  <a:close/>
                  <a:moveTo>
                    <a:pt x="3218317" y="1025993"/>
                  </a:moveTo>
                  <a:cubicBezTo>
                    <a:pt x="3223290" y="1025993"/>
                    <a:pt x="3227293" y="1030005"/>
                    <a:pt x="3227293" y="1034955"/>
                  </a:cubicBezTo>
                  <a:cubicBezTo>
                    <a:pt x="3227293" y="1039906"/>
                    <a:pt x="3223290" y="1043918"/>
                    <a:pt x="3218317" y="1043918"/>
                  </a:cubicBezTo>
                  <a:cubicBezTo>
                    <a:pt x="3213355" y="1043918"/>
                    <a:pt x="3209347" y="1039906"/>
                    <a:pt x="3209347" y="1034955"/>
                  </a:cubicBezTo>
                  <a:cubicBezTo>
                    <a:pt x="3209347" y="1030005"/>
                    <a:pt x="3213355" y="1025993"/>
                    <a:pt x="3218317" y="1025993"/>
                  </a:cubicBezTo>
                  <a:close/>
                  <a:moveTo>
                    <a:pt x="3049624" y="1025993"/>
                  </a:moveTo>
                  <a:cubicBezTo>
                    <a:pt x="3054572" y="1025993"/>
                    <a:pt x="3058581" y="1030005"/>
                    <a:pt x="3058581" y="1034956"/>
                  </a:cubicBezTo>
                  <a:cubicBezTo>
                    <a:pt x="3058581" y="1039906"/>
                    <a:pt x="3054572" y="1043918"/>
                    <a:pt x="3049624" y="1043918"/>
                  </a:cubicBezTo>
                  <a:cubicBezTo>
                    <a:pt x="3044672" y="1043918"/>
                    <a:pt x="3040654" y="1039906"/>
                    <a:pt x="3040654" y="1034956"/>
                  </a:cubicBezTo>
                  <a:cubicBezTo>
                    <a:pt x="3040654" y="1030005"/>
                    <a:pt x="3044672" y="1025993"/>
                    <a:pt x="3049624" y="1025993"/>
                  </a:cubicBezTo>
                  <a:close/>
                  <a:moveTo>
                    <a:pt x="2880909" y="1025993"/>
                  </a:moveTo>
                  <a:cubicBezTo>
                    <a:pt x="2885853" y="1025993"/>
                    <a:pt x="2889864" y="1030006"/>
                    <a:pt x="2889864" y="1034956"/>
                  </a:cubicBezTo>
                  <a:cubicBezTo>
                    <a:pt x="2889864" y="1039906"/>
                    <a:pt x="2885853" y="1043918"/>
                    <a:pt x="2880909" y="1043918"/>
                  </a:cubicBezTo>
                  <a:cubicBezTo>
                    <a:pt x="2875962" y="1043918"/>
                    <a:pt x="2871952" y="1039906"/>
                    <a:pt x="2871952" y="1034956"/>
                  </a:cubicBezTo>
                  <a:cubicBezTo>
                    <a:pt x="2871952" y="1030006"/>
                    <a:pt x="2875962" y="1025993"/>
                    <a:pt x="2880909" y="1025993"/>
                  </a:cubicBezTo>
                  <a:close/>
                  <a:moveTo>
                    <a:pt x="2712132" y="1025993"/>
                  </a:moveTo>
                  <a:cubicBezTo>
                    <a:pt x="2717106" y="1025993"/>
                    <a:pt x="2721113" y="1030006"/>
                    <a:pt x="2721113" y="1034956"/>
                  </a:cubicBezTo>
                  <a:cubicBezTo>
                    <a:pt x="2721113" y="1039906"/>
                    <a:pt x="2717106" y="1043920"/>
                    <a:pt x="2712132" y="1043920"/>
                  </a:cubicBezTo>
                  <a:cubicBezTo>
                    <a:pt x="2707203" y="1043920"/>
                    <a:pt x="2703180" y="1039906"/>
                    <a:pt x="2703180" y="1034956"/>
                  </a:cubicBezTo>
                  <a:cubicBezTo>
                    <a:pt x="2703180" y="1030006"/>
                    <a:pt x="2707203" y="1025993"/>
                    <a:pt x="2712132" y="1025993"/>
                  </a:cubicBezTo>
                  <a:close/>
                  <a:moveTo>
                    <a:pt x="2543463" y="1025993"/>
                  </a:moveTo>
                  <a:cubicBezTo>
                    <a:pt x="2548418" y="1025993"/>
                    <a:pt x="2552428" y="1030006"/>
                    <a:pt x="2552428" y="1034956"/>
                  </a:cubicBezTo>
                  <a:cubicBezTo>
                    <a:pt x="2552428" y="1039906"/>
                    <a:pt x="2548418" y="1043920"/>
                    <a:pt x="2543463" y="1043920"/>
                  </a:cubicBezTo>
                  <a:cubicBezTo>
                    <a:pt x="2538508" y="1043920"/>
                    <a:pt x="2534487" y="1039906"/>
                    <a:pt x="2534487" y="1034956"/>
                  </a:cubicBezTo>
                  <a:cubicBezTo>
                    <a:pt x="2534487" y="1030006"/>
                    <a:pt x="2538508" y="1025993"/>
                    <a:pt x="2543463" y="1025993"/>
                  </a:cubicBezTo>
                  <a:close/>
                  <a:moveTo>
                    <a:pt x="4568137" y="1025991"/>
                  </a:moveTo>
                  <a:cubicBezTo>
                    <a:pt x="4573086" y="1025991"/>
                    <a:pt x="4577098" y="1030003"/>
                    <a:pt x="4577098" y="1034953"/>
                  </a:cubicBezTo>
                  <a:cubicBezTo>
                    <a:pt x="4577098" y="1039903"/>
                    <a:pt x="4573086" y="1043917"/>
                    <a:pt x="4568137" y="1043917"/>
                  </a:cubicBezTo>
                  <a:cubicBezTo>
                    <a:pt x="4563188" y="1043917"/>
                    <a:pt x="4559177" y="1039903"/>
                    <a:pt x="4559177" y="1034953"/>
                  </a:cubicBezTo>
                  <a:cubicBezTo>
                    <a:pt x="4559177" y="1030003"/>
                    <a:pt x="4563188" y="1025991"/>
                    <a:pt x="4568137" y="1025991"/>
                  </a:cubicBezTo>
                  <a:close/>
                  <a:moveTo>
                    <a:pt x="4399396" y="1025991"/>
                  </a:moveTo>
                  <a:cubicBezTo>
                    <a:pt x="4404345" y="1025991"/>
                    <a:pt x="4408357" y="1030003"/>
                    <a:pt x="4408357" y="1034953"/>
                  </a:cubicBezTo>
                  <a:cubicBezTo>
                    <a:pt x="4408357" y="1039905"/>
                    <a:pt x="4404345" y="1043917"/>
                    <a:pt x="4399396" y="1043917"/>
                  </a:cubicBezTo>
                  <a:cubicBezTo>
                    <a:pt x="4394447" y="1043917"/>
                    <a:pt x="4390436" y="1039905"/>
                    <a:pt x="4390436" y="1034953"/>
                  </a:cubicBezTo>
                  <a:cubicBezTo>
                    <a:pt x="4390436" y="1030003"/>
                    <a:pt x="4394447" y="1025991"/>
                    <a:pt x="4399396" y="1025991"/>
                  </a:cubicBezTo>
                  <a:close/>
                  <a:moveTo>
                    <a:pt x="4230654" y="1025991"/>
                  </a:moveTo>
                  <a:cubicBezTo>
                    <a:pt x="4235603" y="1025991"/>
                    <a:pt x="4239615" y="1030003"/>
                    <a:pt x="4239615" y="1034955"/>
                  </a:cubicBezTo>
                  <a:cubicBezTo>
                    <a:pt x="4239615" y="1039905"/>
                    <a:pt x="4235603" y="1043917"/>
                    <a:pt x="4230654" y="1043917"/>
                  </a:cubicBezTo>
                  <a:cubicBezTo>
                    <a:pt x="4225705" y="1043917"/>
                    <a:pt x="4221694" y="1039905"/>
                    <a:pt x="4221694" y="1034955"/>
                  </a:cubicBezTo>
                  <a:cubicBezTo>
                    <a:pt x="4221694" y="1030003"/>
                    <a:pt x="4225705" y="1025991"/>
                    <a:pt x="4230654" y="1025991"/>
                  </a:cubicBezTo>
                  <a:close/>
                  <a:moveTo>
                    <a:pt x="4061912" y="1025991"/>
                  </a:moveTo>
                  <a:cubicBezTo>
                    <a:pt x="4066861" y="1025991"/>
                    <a:pt x="4070873" y="1030005"/>
                    <a:pt x="4070873" y="1034955"/>
                  </a:cubicBezTo>
                  <a:cubicBezTo>
                    <a:pt x="4070873" y="1039905"/>
                    <a:pt x="4066861" y="1043917"/>
                    <a:pt x="4061912" y="1043917"/>
                  </a:cubicBezTo>
                  <a:cubicBezTo>
                    <a:pt x="4056963" y="1043917"/>
                    <a:pt x="4052952" y="1039905"/>
                    <a:pt x="4052952" y="1034955"/>
                  </a:cubicBezTo>
                  <a:cubicBezTo>
                    <a:pt x="4052952" y="1030005"/>
                    <a:pt x="4056963" y="1025991"/>
                    <a:pt x="4061912" y="1025991"/>
                  </a:cubicBezTo>
                  <a:close/>
                  <a:moveTo>
                    <a:pt x="3893170" y="1025991"/>
                  </a:moveTo>
                  <a:cubicBezTo>
                    <a:pt x="3898119" y="1025991"/>
                    <a:pt x="3902131" y="1030005"/>
                    <a:pt x="3902131" y="1034955"/>
                  </a:cubicBezTo>
                  <a:cubicBezTo>
                    <a:pt x="3902131" y="1039905"/>
                    <a:pt x="3898119" y="1043918"/>
                    <a:pt x="3893170" y="1043918"/>
                  </a:cubicBezTo>
                  <a:cubicBezTo>
                    <a:pt x="3888221" y="1043918"/>
                    <a:pt x="3884210" y="1039905"/>
                    <a:pt x="3884210" y="1034955"/>
                  </a:cubicBezTo>
                  <a:cubicBezTo>
                    <a:pt x="3884210" y="1030005"/>
                    <a:pt x="3888221" y="1025991"/>
                    <a:pt x="3893170" y="1025991"/>
                  </a:cubicBezTo>
                  <a:close/>
                  <a:moveTo>
                    <a:pt x="3724429" y="1025991"/>
                  </a:moveTo>
                  <a:cubicBezTo>
                    <a:pt x="3729378" y="1025991"/>
                    <a:pt x="3733390" y="1030005"/>
                    <a:pt x="3733390" y="1034955"/>
                  </a:cubicBezTo>
                  <a:cubicBezTo>
                    <a:pt x="3733390" y="1039905"/>
                    <a:pt x="3729378" y="1043918"/>
                    <a:pt x="3724429" y="1043918"/>
                  </a:cubicBezTo>
                  <a:cubicBezTo>
                    <a:pt x="3719481" y="1043918"/>
                    <a:pt x="3715469" y="1039905"/>
                    <a:pt x="3715469" y="1034955"/>
                  </a:cubicBezTo>
                  <a:cubicBezTo>
                    <a:pt x="3715469" y="1030005"/>
                    <a:pt x="3719481" y="1025991"/>
                    <a:pt x="3724429" y="1025991"/>
                  </a:cubicBezTo>
                  <a:close/>
                  <a:moveTo>
                    <a:pt x="5749328" y="1025990"/>
                  </a:moveTo>
                  <a:cubicBezTo>
                    <a:pt x="5754277" y="1025990"/>
                    <a:pt x="5758289" y="1030002"/>
                    <a:pt x="5758289" y="1034952"/>
                  </a:cubicBezTo>
                  <a:cubicBezTo>
                    <a:pt x="5758289" y="1039902"/>
                    <a:pt x="5754277" y="1043915"/>
                    <a:pt x="5749328" y="1043915"/>
                  </a:cubicBezTo>
                  <a:cubicBezTo>
                    <a:pt x="5744379" y="1043915"/>
                    <a:pt x="5740368" y="1039902"/>
                    <a:pt x="5740368" y="1034952"/>
                  </a:cubicBezTo>
                  <a:cubicBezTo>
                    <a:pt x="5740368" y="1030002"/>
                    <a:pt x="5744379" y="1025990"/>
                    <a:pt x="5749328" y="1025990"/>
                  </a:cubicBezTo>
                  <a:close/>
                  <a:moveTo>
                    <a:pt x="5580586" y="1025990"/>
                  </a:moveTo>
                  <a:cubicBezTo>
                    <a:pt x="5585535" y="1025990"/>
                    <a:pt x="5589547" y="1030002"/>
                    <a:pt x="5589547" y="1034952"/>
                  </a:cubicBezTo>
                  <a:cubicBezTo>
                    <a:pt x="5589547" y="1039903"/>
                    <a:pt x="5585535" y="1043915"/>
                    <a:pt x="5580586" y="1043915"/>
                  </a:cubicBezTo>
                  <a:cubicBezTo>
                    <a:pt x="5575637" y="1043915"/>
                    <a:pt x="5571626" y="1039903"/>
                    <a:pt x="5571626" y="1034952"/>
                  </a:cubicBezTo>
                  <a:cubicBezTo>
                    <a:pt x="5571626" y="1030002"/>
                    <a:pt x="5575637" y="1025990"/>
                    <a:pt x="5580586" y="1025990"/>
                  </a:cubicBezTo>
                  <a:close/>
                  <a:moveTo>
                    <a:pt x="5411845" y="1025990"/>
                  </a:moveTo>
                  <a:cubicBezTo>
                    <a:pt x="5416794" y="1025990"/>
                    <a:pt x="5420806" y="1030002"/>
                    <a:pt x="5420806" y="1034953"/>
                  </a:cubicBezTo>
                  <a:cubicBezTo>
                    <a:pt x="5420806" y="1039903"/>
                    <a:pt x="5416794" y="1043915"/>
                    <a:pt x="5411845" y="1043915"/>
                  </a:cubicBezTo>
                  <a:cubicBezTo>
                    <a:pt x="5406896" y="1043915"/>
                    <a:pt x="5402885" y="1039903"/>
                    <a:pt x="5402885" y="1034953"/>
                  </a:cubicBezTo>
                  <a:cubicBezTo>
                    <a:pt x="5402885" y="1030002"/>
                    <a:pt x="5406896" y="1025990"/>
                    <a:pt x="5411845" y="1025990"/>
                  </a:cubicBezTo>
                  <a:close/>
                  <a:moveTo>
                    <a:pt x="5243103" y="1025990"/>
                  </a:moveTo>
                  <a:cubicBezTo>
                    <a:pt x="5248052" y="1025990"/>
                    <a:pt x="5252064" y="1030003"/>
                    <a:pt x="5252064" y="1034953"/>
                  </a:cubicBezTo>
                  <a:cubicBezTo>
                    <a:pt x="5252064" y="1039903"/>
                    <a:pt x="5248052" y="1043915"/>
                    <a:pt x="5243103" y="1043915"/>
                  </a:cubicBezTo>
                  <a:cubicBezTo>
                    <a:pt x="5238154" y="1043915"/>
                    <a:pt x="5234143" y="1039903"/>
                    <a:pt x="5234143" y="1034953"/>
                  </a:cubicBezTo>
                  <a:cubicBezTo>
                    <a:pt x="5234143" y="1030003"/>
                    <a:pt x="5238154" y="1025990"/>
                    <a:pt x="5243103" y="1025990"/>
                  </a:cubicBezTo>
                  <a:close/>
                  <a:moveTo>
                    <a:pt x="5074362" y="1025990"/>
                  </a:moveTo>
                  <a:cubicBezTo>
                    <a:pt x="5079311" y="1025990"/>
                    <a:pt x="5083323" y="1030003"/>
                    <a:pt x="5083323" y="1034953"/>
                  </a:cubicBezTo>
                  <a:cubicBezTo>
                    <a:pt x="5083323" y="1039903"/>
                    <a:pt x="5079311" y="1043915"/>
                    <a:pt x="5074362" y="1043915"/>
                  </a:cubicBezTo>
                  <a:cubicBezTo>
                    <a:pt x="5069413" y="1043915"/>
                    <a:pt x="5065402" y="1039903"/>
                    <a:pt x="5065402" y="1034953"/>
                  </a:cubicBezTo>
                  <a:cubicBezTo>
                    <a:pt x="5065402" y="1030003"/>
                    <a:pt x="5069413" y="1025990"/>
                    <a:pt x="5074362" y="1025990"/>
                  </a:cubicBezTo>
                  <a:close/>
                  <a:moveTo>
                    <a:pt x="4905620" y="1025990"/>
                  </a:moveTo>
                  <a:cubicBezTo>
                    <a:pt x="4910569" y="1025990"/>
                    <a:pt x="4914581" y="1030003"/>
                    <a:pt x="4914581" y="1034953"/>
                  </a:cubicBezTo>
                  <a:cubicBezTo>
                    <a:pt x="4914581" y="1039903"/>
                    <a:pt x="4910569" y="1043917"/>
                    <a:pt x="4905620" y="1043917"/>
                  </a:cubicBezTo>
                  <a:cubicBezTo>
                    <a:pt x="4900671" y="1043917"/>
                    <a:pt x="4896660" y="1039903"/>
                    <a:pt x="4896660" y="1034953"/>
                  </a:cubicBezTo>
                  <a:cubicBezTo>
                    <a:pt x="4896660" y="1030003"/>
                    <a:pt x="4900671" y="1025990"/>
                    <a:pt x="4905620" y="1025990"/>
                  </a:cubicBezTo>
                  <a:close/>
                  <a:moveTo>
                    <a:pt x="4736878" y="1025990"/>
                  </a:moveTo>
                  <a:cubicBezTo>
                    <a:pt x="4741827" y="1025990"/>
                    <a:pt x="4745839" y="1030003"/>
                    <a:pt x="4745839" y="1034953"/>
                  </a:cubicBezTo>
                  <a:cubicBezTo>
                    <a:pt x="4745839" y="1039903"/>
                    <a:pt x="4741827" y="1043917"/>
                    <a:pt x="4736878" y="1043917"/>
                  </a:cubicBezTo>
                  <a:cubicBezTo>
                    <a:pt x="4731929" y="1043917"/>
                    <a:pt x="4727918" y="1039903"/>
                    <a:pt x="4727918" y="1034953"/>
                  </a:cubicBezTo>
                  <a:cubicBezTo>
                    <a:pt x="4727918" y="1030003"/>
                    <a:pt x="4731929" y="1025990"/>
                    <a:pt x="4736878" y="1025990"/>
                  </a:cubicBezTo>
                  <a:close/>
                  <a:moveTo>
                    <a:pt x="6933679" y="1025988"/>
                  </a:moveTo>
                  <a:cubicBezTo>
                    <a:pt x="6938628" y="1025988"/>
                    <a:pt x="6942639" y="1030001"/>
                    <a:pt x="6942639" y="1034951"/>
                  </a:cubicBezTo>
                  <a:cubicBezTo>
                    <a:pt x="6942639" y="1039901"/>
                    <a:pt x="6938628" y="1043914"/>
                    <a:pt x="6933679" y="1043914"/>
                  </a:cubicBezTo>
                  <a:cubicBezTo>
                    <a:pt x="6928730" y="1043914"/>
                    <a:pt x="6924718" y="1039901"/>
                    <a:pt x="6924718" y="1034951"/>
                  </a:cubicBezTo>
                  <a:cubicBezTo>
                    <a:pt x="6924718" y="1030001"/>
                    <a:pt x="6928730" y="1025988"/>
                    <a:pt x="6933679" y="1025988"/>
                  </a:cubicBezTo>
                  <a:close/>
                  <a:moveTo>
                    <a:pt x="6763357" y="1025988"/>
                  </a:moveTo>
                  <a:cubicBezTo>
                    <a:pt x="6768306" y="1025988"/>
                    <a:pt x="6772318" y="1030001"/>
                    <a:pt x="6772318" y="1034951"/>
                  </a:cubicBezTo>
                  <a:cubicBezTo>
                    <a:pt x="6772318" y="1039902"/>
                    <a:pt x="6768306" y="1043914"/>
                    <a:pt x="6763357" y="1043914"/>
                  </a:cubicBezTo>
                  <a:cubicBezTo>
                    <a:pt x="6758408" y="1043914"/>
                    <a:pt x="6754397" y="1039902"/>
                    <a:pt x="6754397" y="1034951"/>
                  </a:cubicBezTo>
                  <a:cubicBezTo>
                    <a:pt x="6754397" y="1030001"/>
                    <a:pt x="6758408" y="1025988"/>
                    <a:pt x="6763357" y="1025988"/>
                  </a:cubicBezTo>
                  <a:close/>
                  <a:moveTo>
                    <a:pt x="6593035" y="1025988"/>
                  </a:moveTo>
                  <a:cubicBezTo>
                    <a:pt x="6597984" y="1025988"/>
                    <a:pt x="6601996" y="1030001"/>
                    <a:pt x="6601996" y="1034951"/>
                  </a:cubicBezTo>
                  <a:cubicBezTo>
                    <a:pt x="6601996" y="1039902"/>
                    <a:pt x="6597984" y="1043914"/>
                    <a:pt x="6593035" y="1043914"/>
                  </a:cubicBezTo>
                  <a:cubicBezTo>
                    <a:pt x="6588086" y="1043914"/>
                    <a:pt x="6584075" y="1039902"/>
                    <a:pt x="6584075" y="1034951"/>
                  </a:cubicBezTo>
                  <a:cubicBezTo>
                    <a:pt x="6584075" y="1030001"/>
                    <a:pt x="6588086" y="1025988"/>
                    <a:pt x="6593035" y="1025988"/>
                  </a:cubicBezTo>
                  <a:close/>
                  <a:moveTo>
                    <a:pt x="6424294" y="1025988"/>
                  </a:moveTo>
                  <a:cubicBezTo>
                    <a:pt x="6429243" y="1025988"/>
                    <a:pt x="6433255" y="1030001"/>
                    <a:pt x="6433255" y="1034952"/>
                  </a:cubicBezTo>
                  <a:cubicBezTo>
                    <a:pt x="6433255" y="1039902"/>
                    <a:pt x="6429243" y="1043914"/>
                    <a:pt x="6424294" y="1043914"/>
                  </a:cubicBezTo>
                  <a:cubicBezTo>
                    <a:pt x="6419345" y="1043914"/>
                    <a:pt x="6415334" y="1039902"/>
                    <a:pt x="6415334" y="1034952"/>
                  </a:cubicBezTo>
                  <a:cubicBezTo>
                    <a:pt x="6415334" y="1030001"/>
                    <a:pt x="6419345" y="1025988"/>
                    <a:pt x="6424294" y="1025988"/>
                  </a:cubicBezTo>
                  <a:close/>
                  <a:moveTo>
                    <a:pt x="6255553" y="1025988"/>
                  </a:moveTo>
                  <a:cubicBezTo>
                    <a:pt x="6260502" y="1025988"/>
                    <a:pt x="6264514" y="1030002"/>
                    <a:pt x="6264514" y="1034952"/>
                  </a:cubicBezTo>
                  <a:cubicBezTo>
                    <a:pt x="6264514" y="1039902"/>
                    <a:pt x="6260502" y="1043914"/>
                    <a:pt x="6255553" y="1043914"/>
                  </a:cubicBezTo>
                  <a:cubicBezTo>
                    <a:pt x="6250604" y="1043914"/>
                    <a:pt x="6246593" y="1039902"/>
                    <a:pt x="6246593" y="1034952"/>
                  </a:cubicBezTo>
                  <a:cubicBezTo>
                    <a:pt x="6246593" y="1030002"/>
                    <a:pt x="6250604" y="1025988"/>
                    <a:pt x="6255553" y="1025988"/>
                  </a:cubicBezTo>
                  <a:close/>
                  <a:moveTo>
                    <a:pt x="6086811" y="1025988"/>
                  </a:moveTo>
                  <a:cubicBezTo>
                    <a:pt x="6091760" y="1025988"/>
                    <a:pt x="6095772" y="1030002"/>
                    <a:pt x="6095772" y="1034952"/>
                  </a:cubicBezTo>
                  <a:cubicBezTo>
                    <a:pt x="6095772" y="1039902"/>
                    <a:pt x="6091760" y="1043915"/>
                    <a:pt x="6086811" y="1043915"/>
                  </a:cubicBezTo>
                  <a:cubicBezTo>
                    <a:pt x="6081862" y="1043915"/>
                    <a:pt x="6077851" y="1039902"/>
                    <a:pt x="6077851" y="1034952"/>
                  </a:cubicBezTo>
                  <a:cubicBezTo>
                    <a:pt x="6077851" y="1030002"/>
                    <a:pt x="6081862" y="1025988"/>
                    <a:pt x="6086811" y="1025988"/>
                  </a:cubicBezTo>
                  <a:close/>
                  <a:moveTo>
                    <a:pt x="5918069" y="1025988"/>
                  </a:moveTo>
                  <a:cubicBezTo>
                    <a:pt x="5923018" y="1025988"/>
                    <a:pt x="5927030" y="1030002"/>
                    <a:pt x="5927030" y="1034952"/>
                  </a:cubicBezTo>
                  <a:cubicBezTo>
                    <a:pt x="5927030" y="1039902"/>
                    <a:pt x="5923018" y="1043915"/>
                    <a:pt x="5918069" y="1043915"/>
                  </a:cubicBezTo>
                  <a:cubicBezTo>
                    <a:pt x="5913120" y="1043915"/>
                    <a:pt x="5909109" y="1039902"/>
                    <a:pt x="5909109" y="1034952"/>
                  </a:cubicBezTo>
                  <a:cubicBezTo>
                    <a:pt x="5909109" y="1030002"/>
                    <a:pt x="5913120" y="1025988"/>
                    <a:pt x="5918069" y="1025988"/>
                  </a:cubicBezTo>
                  <a:close/>
                  <a:moveTo>
                    <a:pt x="687312" y="854972"/>
                  </a:moveTo>
                  <a:cubicBezTo>
                    <a:pt x="692260" y="854972"/>
                    <a:pt x="696272" y="858985"/>
                    <a:pt x="696272" y="863935"/>
                  </a:cubicBezTo>
                  <a:cubicBezTo>
                    <a:pt x="696272" y="868885"/>
                    <a:pt x="692260" y="872898"/>
                    <a:pt x="687312" y="872898"/>
                  </a:cubicBezTo>
                  <a:cubicBezTo>
                    <a:pt x="682363" y="872898"/>
                    <a:pt x="678354" y="868885"/>
                    <a:pt x="678354" y="863935"/>
                  </a:cubicBezTo>
                  <a:cubicBezTo>
                    <a:pt x="678354" y="858985"/>
                    <a:pt x="682363" y="854972"/>
                    <a:pt x="687312" y="854972"/>
                  </a:cubicBezTo>
                  <a:close/>
                  <a:moveTo>
                    <a:pt x="518530" y="854972"/>
                  </a:moveTo>
                  <a:cubicBezTo>
                    <a:pt x="523479" y="854972"/>
                    <a:pt x="527491" y="858985"/>
                    <a:pt x="527491" y="863935"/>
                  </a:cubicBezTo>
                  <a:cubicBezTo>
                    <a:pt x="527491" y="868886"/>
                    <a:pt x="523479" y="872898"/>
                    <a:pt x="518530" y="872898"/>
                  </a:cubicBezTo>
                  <a:cubicBezTo>
                    <a:pt x="513582" y="872898"/>
                    <a:pt x="509570" y="868886"/>
                    <a:pt x="509570" y="863935"/>
                  </a:cubicBezTo>
                  <a:cubicBezTo>
                    <a:pt x="509570" y="858985"/>
                    <a:pt x="513582" y="854972"/>
                    <a:pt x="518530" y="854972"/>
                  </a:cubicBezTo>
                  <a:close/>
                  <a:moveTo>
                    <a:pt x="349793" y="854972"/>
                  </a:moveTo>
                  <a:cubicBezTo>
                    <a:pt x="354742" y="854972"/>
                    <a:pt x="358754" y="858986"/>
                    <a:pt x="358754" y="863936"/>
                  </a:cubicBezTo>
                  <a:cubicBezTo>
                    <a:pt x="358754" y="868886"/>
                    <a:pt x="354742" y="872898"/>
                    <a:pt x="349793" y="872898"/>
                  </a:cubicBezTo>
                  <a:cubicBezTo>
                    <a:pt x="344846" y="872898"/>
                    <a:pt x="340834" y="868886"/>
                    <a:pt x="340834" y="863936"/>
                  </a:cubicBezTo>
                  <a:cubicBezTo>
                    <a:pt x="340834" y="858986"/>
                    <a:pt x="344846" y="854972"/>
                    <a:pt x="349793" y="854972"/>
                  </a:cubicBezTo>
                  <a:close/>
                  <a:moveTo>
                    <a:pt x="179477" y="854972"/>
                  </a:moveTo>
                  <a:cubicBezTo>
                    <a:pt x="184426" y="854972"/>
                    <a:pt x="188438" y="858985"/>
                    <a:pt x="188438" y="863936"/>
                  </a:cubicBezTo>
                  <a:cubicBezTo>
                    <a:pt x="188438" y="868886"/>
                    <a:pt x="184426" y="872898"/>
                    <a:pt x="179477" y="872898"/>
                  </a:cubicBezTo>
                  <a:cubicBezTo>
                    <a:pt x="174529" y="872898"/>
                    <a:pt x="170517" y="868886"/>
                    <a:pt x="170517" y="863936"/>
                  </a:cubicBezTo>
                  <a:cubicBezTo>
                    <a:pt x="170517" y="858985"/>
                    <a:pt x="174529" y="854972"/>
                    <a:pt x="179477" y="854972"/>
                  </a:cubicBezTo>
                  <a:close/>
                  <a:moveTo>
                    <a:pt x="9163" y="854972"/>
                  </a:moveTo>
                  <a:cubicBezTo>
                    <a:pt x="14111" y="854972"/>
                    <a:pt x="18122" y="858985"/>
                    <a:pt x="18122" y="863936"/>
                  </a:cubicBezTo>
                  <a:cubicBezTo>
                    <a:pt x="18122" y="868886"/>
                    <a:pt x="14111" y="872898"/>
                    <a:pt x="9163" y="872898"/>
                  </a:cubicBezTo>
                  <a:cubicBezTo>
                    <a:pt x="4214" y="872898"/>
                    <a:pt x="203" y="868886"/>
                    <a:pt x="203" y="863936"/>
                  </a:cubicBezTo>
                  <a:cubicBezTo>
                    <a:pt x="203" y="858985"/>
                    <a:pt x="4214" y="854972"/>
                    <a:pt x="9163" y="854972"/>
                  </a:cubicBezTo>
                  <a:close/>
                  <a:moveTo>
                    <a:pt x="1868524" y="854971"/>
                  </a:moveTo>
                  <a:cubicBezTo>
                    <a:pt x="1873458" y="854971"/>
                    <a:pt x="1877467" y="858983"/>
                    <a:pt x="1877467" y="863933"/>
                  </a:cubicBezTo>
                  <a:cubicBezTo>
                    <a:pt x="1877467" y="868885"/>
                    <a:pt x="1873458" y="872897"/>
                    <a:pt x="1868524" y="872897"/>
                  </a:cubicBezTo>
                  <a:cubicBezTo>
                    <a:pt x="1863563" y="872897"/>
                    <a:pt x="1859543" y="868885"/>
                    <a:pt x="1859543" y="863933"/>
                  </a:cubicBezTo>
                  <a:cubicBezTo>
                    <a:pt x="1859543" y="858983"/>
                    <a:pt x="1863563" y="854971"/>
                    <a:pt x="1868524" y="854971"/>
                  </a:cubicBezTo>
                  <a:close/>
                  <a:moveTo>
                    <a:pt x="1699768" y="854971"/>
                  </a:moveTo>
                  <a:cubicBezTo>
                    <a:pt x="1704723" y="854971"/>
                    <a:pt x="1708740" y="858983"/>
                    <a:pt x="1708740" y="863933"/>
                  </a:cubicBezTo>
                  <a:cubicBezTo>
                    <a:pt x="1708740" y="868885"/>
                    <a:pt x="1704723" y="872897"/>
                    <a:pt x="1699768" y="872897"/>
                  </a:cubicBezTo>
                  <a:cubicBezTo>
                    <a:pt x="1694811" y="872897"/>
                    <a:pt x="1690797" y="868885"/>
                    <a:pt x="1690797" y="863933"/>
                  </a:cubicBezTo>
                  <a:cubicBezTo>
                    <a:pt x="1690797" y="858983"/>
                    <a:pt x="1694811" y="854971"/>
                    <a:pt x="1699768" y="854971"/>
                  </a:cubicBezTo>
                  <a:close/>
                  <a:moveTo>
                    <a:pt x="1531027" y="854971"/>
                  </a:moveTo>
                  <a:cubicBezTo>
                    <a:pt x="1535977" y="854971"/>
                    <a:pt x="1539989" y="858983"/>
                    <a:pt x="1539989" y="863935"/>
                  </a:cubicBezTo>
                  <a:cubicBezTo>
                    <a:pt x="1539989" y="868885"/>
                    <a:pt x="1535977" y="872897"/>
                    <a:pt x="1531027" y="872897"/>
                  </a:cubicBezTo>
                  <a:cubicBezTo>
                    <a:pt x="1526076" y="872897"/>
                    <a:pt x="1522064" y="868885"/>
                    <a:pt x="1522064" y="863935"/>
                  </a:cubicBezTo>
                  <a:cubicBezTo>
                    <a:pt x="1522064" y="858983"/>
                    <a:pt x="1526076" y="854971"/>
                    <a:pt x="1531027" y="854971"/>
                  </a:cubicBezTo>
                  <a:close/>
                  <a:moveTo>
                    <a:pt x="1362271" y="854971"/>
                  </a:moveTo>
                  <a:cubicBezTo>
                    <a:pt x="1367226" y="854971"/>
                    <a:pt x="1371234" y="858985"/>
                    <a:pt x="1371234" y="863935"/>
                  </a:cubicBezTo>
                  <a:cubicBezTo>
                    <a:pt x="1371234" y="868885"/>
                    <a:pt x="1367226" y="872897"/>
                    <a:pt x="1362271" y="872897"/>
                  </a:cubicBezTo>
                  <a:cubicBezTo>
                    <a:pt x="1357322" y="872897"/>
                    <a:pt x="1353310" y="868885"/>
                    <a:pt x="1353310" y="863935"/>
                  </a:cubicBezTo>
                  <a:cubicBezTo>
                    <a:pt x="1353310" y="858985"/>
                    <a:pt x="1357322" y="854971"/>
                    <a:pt x="1362271" y="854971"/>
                  </a:cubicBezTo>
                  <a:close/>
                  <a:moveTo>
                    <a:pt x="1193529" y="854971"/>
                  </a:moveTo>
                  <a:cubicBezTo>
                    <a:pt x="1198477" y="854971"/>
                    <a:pt x="1202489" y="858985"/>
                    <a:pt x="1202489" y="863935"/>
                  </a:cubicBezTo>
                  <a:cubicBezTo>
                    <a:pt x="1202489" y="868885"/>
                    <a:pt x="1198477" y="872898"/>
                    <a:pt x="1193529" y="872898"/>
                  </a:cubicBezTo>
                  <a:cubicBezTo>
                    <a:pt x="1188582" y="872898"/>
                    <a:pt x="1184572" y="868885"/>
                    <a:pt x="1184572" y="863935"/>
                  </a:cubicBezTo>
                  <a:cubicBezTo>
                    <a:pt x="1184572" y="858985"/>
                    <a:pt x="1188582" y="854971"/>
                    <a:pt x="1193529" y="854971"/>
                  </a:cubicBezTo>
                  <a:close/>
                  <a:moveTo>
                    <a:pt x="1024771" y="854971"/>
                  </a:moveTo>
                  <a:cubicBezTo>
                    <a:pt x="1029723" y="854971"/>
                    <a:pt x="1033739" y="858985"/>
                    <a:pt x="1033739" y="863935"/>
                  </a:cubicBezTo>
                  <a:cubicBezTo>
                    <a:pt x="1033739" y="868885"/>
                    <a:pt x="1029723" y="872898"/>
                    <a:pt x="1024771" y="872898"/>
                  </a:cubicBezTo>
                  <a:cubicBezTo>
                    <a:pt x="1019822" y="872898"/>
                    <a:pt x="1015811" y="868885"/>
                    <a:pt x="1015811" y="863935"/>
                  </a:cubicBezTo>
                  <a:cubicBezTo>
                    <a:pt x="1015811" y="858985"/>
                    <a:pt x="1019822" y="854971"/>
                    <a:pt x="1024771" y="854971"/>
                  </a:cubicBezTo>
                  <a:close/>
                  <a:moveTo>
                    <a:pt x="856050" y="854971"/>
                  </a:moveTo>
                  <a:cubicBezTo>
                    <a:pt x="860997" y="854971"/>
                    <a:pt x="865010" y="858985"/>
                    <a:pt x="865010" y="863935"/>
                  </a:cubicBezTo>
                  <a:cubicBezTo>
                    <a:pt x="865010" y="868885"/>
                    <a:pt x="860997" y="872898"/>
                    <a:pt x="856050" y="872898"/>
                  </a:cubicBezTo>
                  <a:cubicBezTo>
                    <a:pt x="851099" y="872898"/>
                    <a:pt x="847090" y="868885"/>
                    <a:pt x="847090" y="863935"/>
                  </a:cubicBezTo>
                  <a:cubicBezTo>
                    <a:pt x="847090" y="858985"/>
                    <a:pt x="851099" y="854971"/>
                    <a:pt x="856050" y="854971"/>
                  </a:cubicBezTo>
                  <a:close/>
                  <a:moveTo>
                    <a:pt x="3218320" y="854970"/>
                  </a:moveTo>
                  <a:cubicBezTo>
                    <a:pt x="3223293" y="854970"/>
                    <a:pt x="3227296" y="858982"/>
                    <a:pt x="3227296" y="863932"/>
                  </a:cubicBezTo>
                  <a:cubicBezTo>
                    <a:pt x="3227296" y="868882"/>
                    <a:pt x="3223293" y="872895"/>
                    <a:pt x="3218320" y="872895"/>
                  </a:cubicBezTo>
                  <a:cubicBezTo>
                    <a:pt x="3213357" y="872895"/>
                    <a:pt x="3209350" y="868882"/>
                    <a:pt x="3209350" y="863932"/>
                  </a:cubicBezTo>
                  <a:cubicBezTo>
                    <a:pt x="3209350" y="858982"/>
                    <a:pt x="3213357" y="854970"/>
                    <a:pt x="3218320" y="854970"/>
                  </a:cubicBezTo>
                  <a:close/>
                  <a:moveTo>
                    <a:pt x="3049627" y="854970"/>
                  </a:moveTo>
                  <a:cubicBezTo>
                    <a:pt x="3054575" y="854970"/>
                    <a:pt x="3058584" y="858982"/>
                    <a:pt x="3058584" y="863932"/>
                  </a:cubicBezTo>
                  <a:cubicBezTo>
                    <a:pt x="3058584" y="868883"/>
                    <a:pt x="3054575" y="872895"/>
                    <a:pt x="3049627" y="872895"/>
                  </a:cubicBezTo>
                  <a:cubicBezTo>
                    <a:pt x="3044675" y="872895"/>
                    <a:pt x="3040657" y="868883"/>
                    <a:pt x="3040657" y="863932"/>
                  </a:cubicBezTo>
                  <a:cubicBezTo>
                    <a:pt x="3040657" y="858982"/>
                    <a:pt x="3044675" y="854970"/>
                    <a:pt x="3049627" y="854970"/>
                  </a:cubicBezTo>
                  <a:close/>
                  <a:moveTo>
                    <a:pt x="2880913" y="854970"/>
                  </a:moveTo>
                  <a:cubicBezTo>
                    <a:pt x="2885856" y="854970"/>
                    <a:pt x="2889868" y="858982"/>
                    <a:pt x="2889868" y="863933"/>
                  </a:cubicBezTo>
                  <a:cubicBezTo>
                    <a:pt x="2889868" y="868883"/>
                    <a:pt x="2885856" y="872895"/>
                    <a:pt x="2880913" y="872895"/>
                  </a:cubicBezTo>
                  <a:cubicBezTo>
                    <a:pt x="2875966" y="872895"/>
                    <a:pt x="2871956" y="868883"/>
                    <a:pt x="2871956" y="863933"/>
                  </a:cubicBezTo>
                  <a:cubicBezTo>
                    <a:pt x="2871956" y="858982"/>
                    <a:pt x="2875966" y="854970"/>
                    <a:pt x="2880913" y="854970"/>
                  </a:cubicBezTo>
                  <a:close/>
                  <a:moveTo>
                    <a:pt x="2712135" y="854970"/>
                  </a:moveTo>
                  <a:cubicBezTo>
                    <a:pt x="2717109" y="854970"/>
                    <a:pt x="2721116" y="858982"/>
                    <a:pt x="2721116" y="863933"/>
                  </a:cubicBezTo>
                  <a:cubicBezTo>
                    <a:pt x="2721116" y="868883"/>
                    <a:pt x="2717109" y="872895"/>
                    <a:pt x="2712135" y="872895"/>
                  </a:cubicBezTo>
                  <a:cubicBezTo>
                    <a:pt x="2707207" y="872895"/>
                    <a:pt x="2703184" y="868883"/>
                    <a:pt x="2703184" y="863933"/>
                  </a:cubicBezTo>
                  <a:cubicBezTo>
                    <a:pt x="2703184" y="858982"/>
                    <a:pt x="2707207" y="854970"/>
                    <a:pt x="2712135" y="854970"/>
                  </a:cubicBezTo>
                  <a:close/>
                  <a:moveTo>
                    <a:pt x="2543468" y="854970"/>
                  </a:moveTo>
                  <a:cubicBezTo>
                    <a:pt x="2548423" y="854970"/>
                    <a:pt x="2552432" y="858983"/>
                    <a:pt x="2552432" y="863933"/>
                  </a:cubicBezTo>
                  <a:cubicBezTo>
                    <a:pt x="2552432" y="868883"/>
                    <a:pt x="2548423" y="872897"/>
                    <a:pt x="2543468" y="872897"/>
                  </a:cubicBezTo>
                  <a:cubicBezTo>
                    <a:pt x="2538513" y="872897"/>
                    <a:pt x="2534492" y="868883"/>
                    <a:pt x="2534492" y="863933"/>
                  </a:cubicBezTo>
                  <a:cubicBezTo>
                    <a:pt x="2534492" y="858983"/>
                    <a:pt x="2538513" y="854970"/>
                    <a:pt x="2543468" y="854970"/>
                  </a:cubicBezTo>
                  <a:close/>
                  <a:moveTo>
                    <a:pt x="2374654" y="854970"/>
                  </a:moveTo>
                  <a:cubicBezTo>
                    <a:pt x="2379623" y="854970"/>
                    <a:pt x="2383676" y="858983"/>
                    <a:pt x="2383676" y="863933"/>
                  </a:cubicBezTo>
                  <a:cubicBezTo>
                    <a:pt x="2383676" y="868883"/>
                    <a:pt x="2379623" y="872897"/>
                    <a:pt x="2374654" y="872897"/>
                  </a:cubicBezTo>
                  <a:cubicBezTo>
                    <a:pt x="2369700" y="872897"/>
                    <a:pt x="2365691" y="868883"/>
                    <a:pt x="2365691" y="863933"/>
                  </a:cubicBezTo>
                  <a:cubicBezTo>
                    <a:pt x="2365691" y="858983"/>
                    <a:pt x="2369700" y="854970"/>
                    <a:pt x="2374654" y="854970"/>
                  </a:cubicBezTo>
                  <a:close/>
                  <a:moveTo>
                    <a:pt x="2205964" y="854970"/>
                  </a:moveTo>
                  <a:cubicBezTo>
                    <a:pt x="2210914" y="854970"/>
                    <a:pt x="2214919" y="858983"/>
                    <a:pt x="2214919" y="863933"/>
                  </a:cubicBezTo>
                  <a:cubicBezTo>
                    <a:pt x="2214919" y="868883"/>
                    <a:pt x="2210914" y="872897"/>
                    <a:pt x="2205964" y="872897"/>
                  </a:cubicBezTo>
                  <a:cubicBezTo>
                    <a:pt x="2200986" y="872897"/>
                    <a:pt x="2196964" y="868883"/>
                    <a:pt x="2196964" y="863933"/>
                  </a:cubicBezTo>
                  <a:cubicBezTo>
                    <a:pt x="2196964" y="858983"/>
                    <a:pt x="2200986" y="854970"/>
                    <a:pt x="2205964" y="854970"/>
                  </a:cubicBezTo>
                  <a:close/>
                  <a:moveTo>
                    <a:pt x="2037223" y="854970"/>
                  </a:moveTo>
                  <a:cubicBezTo>
                    <a:pt x="2042181" y="854970"/>
                    <a:pt x="2046158" y="858983"/>
                    <a:pt x="2046158" y="863933"/>
                  </a:cubicBezTo>
                  <a:cubicBezTo>
                    <a:pt x="2046158" y="868883"/>
                    <a:pt x="2042181" y="872897"/>
                    <a:pt x="2037223" y="872897"/>
                  </a:cubicBezTo>
                  <a:cubicBezTo>
                    <a:pt x="2032283" y="872897"/>
                    <a:pt x="2028287" y="868883"/>
                    <a:pt x="2028287" y="863933"/>
                  </a:cubicBezTo>
                  <a:cubicBezTo>
                    <a:pt x="2028287" y="858983"/>
                    <a:pt x="2032283" y="854970"/>
                    <a:pt x="2037223" y="854970"/>
                  </a:cubicBezTo>
                  <a:close/>
                  <a:moveTo>
                    <a:pt x="4568137" y="854968"/>
                  </a:moveTo>
                  <a:cubicBezTo>
                    <a:pt x="4573086" y="854968"/>
                    <a:pt x="4577098" y="858981"/>
                    <a:pt x="4577098" y="863931"/>
                  </a:cubicBezTo>
                  <a:cubicBezTo>
                    <a:pt x="4577098" y="868880"/>
                    <a:pt x="4573086" y="872894"/>
                    <a:pt x="4568137" y="872894"/>
                  </a:cubicBezTo>
                  <a:cubicBezTo>
                    <a:pt x="4563188" y="872894"/>
                    <a:pt x="4559177" y="868880"/>
                    <a:pt x="4559177" y="863931"/>
                  </a:cubicBezTo>
                  <a:cubicBezTo>
                    <a:pt x="4559177" y="858981"/>
                    <a:pt x="4563188" y="854968"/>
                    <a:pt x="4568137" y="854968"/>
                  </a:cubicBezTo>
                  <a:close/>
                  <a:moveTo>
                    <a:pt x="4399396" y="854968"/>
                  </a:moveTo>
                  <a:cubicBezTo>
                    <a:pt x="4404345" y="854968"/>
                    <a:pt x="4408357" y="858981"/>
                    <a:pt x="4408357" y="863931"/>
                  </a:cubicBezTo>
                  <a:cubicBezTo>
                    <a:pt x="4408357" y="868882"/>
                    <a:pt x="4404345" y="872894"/>
                    <a:pt x="4399396" y="872894"/>
                  </a:cubicBezTo>
                  <a:cubicBezTo>
                    <a:pt x="4394447" y="872894"/>
                    <a:pt x="4390436" y="868882"/>
                    <a:pt x="4390436" y="863931"/>
                  </a:cubicBezTo>
                  <a:cubicBezTo>
                    <a:pt x="4390436" y="858981"/>
                    <a:pt x="4394447" y="854968"/>
                    <a:pt x="4399396" y="854968"/>
                  </a:cubicBezTo>
                  <a:close/>
                  <a:moveTo>
                    <a:pt x="4230654" y="854968"/>
                  </a:moveTo>
                  <a:cubicBezTo>
                    <a:pt x="4235603" y="854968"/>
                    <a:pt x="4239615" y="858981"/>
                    <a:pt x="4239615" y="863932"/>
                  </a:cubicBezTo>
                  <a:cubicBezTo>
                    <a:pt x="4239615" y="868882"/>
                    <a:pt x="4235603" y="872894"/>
                    <a:pt x="4230654" y="872894"/>
                  </a:cubicBezTo>
                  <a:cubicBezTo>
                    <a:pt x="4225705" y="872894"/>
                    <a:pt x="4221694" y="868882"/>
                    <a:pt x="4221694" y="863932"/>
                  </a:cubicBezTo>
                  <a:cubicBezTo>
                    <a:pt x="4221694" y="858981"/>
                    <a:pt x="4225705" y="854968"/>
                    <a:pt x="4230654" y="854968"/>
                  </a:cubicBezTo>
                  <a:close/>
                  <a:moveTo>
                    <a:pt x="4061912" y="854968"/>
                  </a:moveTo>
                  <a:cubicBezTo>
                    <a:pt x="4066861" y="854968"/>
                    <a:pt x="4070873" y="858981"/>
                    <a:pt x="4070873" y="863932"/>
                  </a:cubicBezTo>
                  <a:cubicBezTo>
                    <a:pt x="4070873" y="868882"/>
                    <a:pt x="4066861" y="872894"/>
                    <a:pt x="4061912" y="872894"/>
                  </a:cubicBezTo>
                  <a:cubicBezTo>
                    <a:pt x="4056963" y="872894"/>
                    <a:pt x="4052952" y="868882"/>
                    <a:pt x="4052952" y="863932"/>
                  </a:cubicBezTo>
                  <a:cubicBezTo>
                    <a:pt x="4052952" y="858981"/>
                    <a:pt x="4056963" y="854968"/>
                    <a:pt x="4061912" y="854968"/>
                  </a:cubicBezTo>
                  <a:close/>
                  <a:moveTo>
                    <a:pt x="3893170" y="854968"/>
                  </a:moveTo>
                  <a:cubicBezTo>
                    <a:pt x="3898119" y="854968"/>
                    <a:pt x="3902131" y="858982"/>
                    <a:pt x="3902131" y="863932"/>
                  </a:cubicBezTo>
                  <a:cubicBezTo>
                    <a:pt x="3902131" y="868882"/>
                    <a:pt x="3898119" y="872894"/>
                    <a:pt x="3893170" y="872894"/>
                  </a:cubicBezTo>
                  <a:cubicBezTo>
                    <a:pt x="3888221" y="872894"/>
                    <a:pt x="3884210" y="868882"/>
                    <a:pt x="3884210" y="863932"/>
                  </a:cubicBezTo>
                  <a:cubicBezTo>
                    <a:pt x="3884210" y="858982"/>
                    <a:pt x="3888221" y="854968"/>
                    <a:pt x="3893170" y="854968"/>
                  </a:cubicBezTo>
                  <a:close/>
                  <a:moveTo>
                    <a:pt x="3724429" y="854968"/>
                  </a:moveTo>
                  <a:cubicBezTo>
                    <a:pt x="3729378" y="854968"/>
                    <a:pt x="3733390" y="858982"/>
                    <a:pt x="3733390" y="863932"/>
                  </a:cubicBezTo>
                  <a:cubicBezTo>
                    <a:pt x="3733390" y="868882"/>
                    <a:pt x="3729378" y="872895"/>
                    <a:pt x="3724429" y="872895"/>
                  </a:cubicBezTo>
                  <a:cubicBezTo>
                    <a:pt x="3719481" y="872895"/>
                    <a:pt x="3715469" y="868882"/>
                    <a:pt x="3715469" y="863932"/>
                  </a:cubicBezTo>
                  <a:cubicBezTo>
                    <a:pt x="3715469" y="858982"/>
                    <a:pt x="3719481" y="854968"/>
                    <a:pt x="3724429" y="854968"/>
                  </a:cubicBezTo>
                  <a:close/>
                  <a:moveTo>
                    <a:pt x="3555688" y="854968"/>
                  </a:moveTo>
                  <a:cubicBezTo>
                    <a:pt x="3560637" y="854968"/>
                    <a:pt x="3564649" y="858982"/>
                    <a:pt x="3564649" y="863932"/>
                  </a:cubicBezTo>
                  <a:cubicBezTo>
                    <a:pt x="3564649" y="868882"/>
                    <a:pt x="3560637" y="872895"/>
                    <a:pt x="3555688" y="872895"/>
                  </a:cubicBezTo>
                  <a:cubicBezTo>
                    <a:pt x="3550740" y="872895"/>
                    <a:pt x="3546728" y="868882"/>
                    <a:pt x="3546728" y="863932"/>
                  </a:cubicBezTo>
                  <a:cubicBezTo>
                    <a:pt x="3546728" y="858982"/>
                    <a:pt x="3550740" y="854968"/>
                    <a:pt x="3555688" y="854968"/>
                  </a:cubicBezTo>
                  <a:close/>
                  <a:moveTo>
                    <a:pt x="3387071" y="854968"/>
                  </a:moveTo>
                  <a:cubicBezTo>
                    <a:pt x="3392043" y="854968"/>
                    <a:pt x="3396055" y="858982"/>
                    <a:pt x="3396055" y="863932"/>
                  </a:cubicBezTo>
                  <a:cubicBezTo>
                    <a:pt x="3396055" y="868882"/>
                    <a:pt x="3392043" y="872895"/>
                    <a:pt x="3387071" y="872895"/>
                  </a:cubicBezTo>
                  <a:cubicBezTo>
                    <a:pt x="3382080" y="872895"/>
                    <a:pt x="3378060" y="868882"/>
                    <a:pt x="3378060" y="863932"/>
                  </a:cubicBezTo>
                  <a:cubicBezTo>
                    <a:pt x="3378060" y="858982"/>
                    <a:pt x="3382080" y="854968"/>
                    <a:pt x="3387071" y="854968"/>
                  </a:cubicBezTo>
                  <a:close/>
                  <a:moveTo>
                    <a:pt x="5749328" y="854967"/>
                  </a:moveTo>
                  <a:cubicBezTo>
                    <a:pt x="5754277" y="854967"/>
                    <a:pt x="5758289" y="858979"/>
                    <a:pt x="5758289" y="863929"/>
                  </a:cubicBezTo>
                  <a:cubicBezTo>
                    <a:pt x="5758289" y="868879"/>
                    <a:pt x="5754277" y="872893"/>
                    <a:pt x="5749328" y="872893"/>
                  </a:cubicBezTo>
                  <a:cubicBezTo>
                    <a:pt x="5744379" y="872893"/>
                    <a:pt x="5740368" y="868879"/>
                    <a:pt x="5740368" y="863929"/>
                  </a:cubicBezTo>
                  <a:cubicBezTo>
                    <a:pt x="5740368" y="858979"/>
                    <a:pt x="5744379" y="854967"/>
                    <a:pt x="5749328" y="854967"/>
                  </a:cubicBezTo>
                  <a:close/>
                  <a:moveTo>
                    <a:pt x="5580586" y="854967"/>
                  </a:moveTo>
                  <a:cubicBezTo>
                    <a:pt x="5585535" y="854967"/>
                    <a:pt x="5589547" y="858979"/>
                    <a:pt x="5589547" y="863929"/>
                  </a:cubicBezTo>
                  <a:cubicBezTo>
                    <a:pt x="5589547" y="868880"/>
                    <a:pt x="5585535" y="872893"/>
                    <a:pt x="5580586" y="872893"/>
                  </a:cubicBezTo>
                  <a:cubicBezTo>
                    <a:pt x="5575637" y="872893"/>
                    <a:pt x="5571626" y="868880"/>
                    <a:pt x="5571626" y="863929"/>
                  </a:cubicBezTo>
                  <a:cubicBezTo>
                    <a:pt x="5571626" y="858979"/>
                    <a:pt x="5575637" y="854967"/>
                    <a:pt x="5580586" y="854967"/>
                  </a:cubicBezTo>
                  <a:close/>
                  <a:moveTo>
                    <a:pt x="5411845" y="854967"/>
                  </a:moveTo>
                  <a:cubicBezTo>
                    <a:pt x="5416794" y="854967"/>
                    <a:pt x="5420806" y="858979"/>
                    <a:pt x="5420806" y="863931"/>
                  </a:cubicBezTo>
                  <a:cubicBezTo>
                    <a:pt x="5420806" y="868880"/>
                    <a:pt x="5416794" y="872893"/>
                    <a:pt x="5411845" y="872893"/>
                  </a:cubicBezTo>
                  <a:cubicBezTo>
                    <a:pt x="5406896" y="872893"/>
                    <a:pt x="5402885" y="868880"/>
                    <a:pt x="5402885" y="863931"/>
                  </a:cubicBezTo>
                  <a:cubicBezTo>
                    <a:pt x="5402885" y="858979"/>
                    <a:pt x="5406896" y="854967"/>
                    <a:pt x="5411845" y="854967"/>
                  </a:cubicBezTo>
                  <a:close/>
                  <a:moveTo>
                    <a:pt x="5243103" y="854967"/>
                  </a:moveTo>
                  <a:cubicBezTo>
                    <a:pt x="5248052" y="854967"/>
                    <a:pt x="5252064" y="858981"/>
                    <a:pt x="5252064" y="863931"/>
                  </a:cubicBezTo>
                  <a:cubicBezTo>
                    <a:pt x="5252064" y="868880"/>
                    <a:pt x="5248052" y="872893"/>
                    <a:pt x="5243103" y="872893"/>
                  </a:cubicBezTo>
                  <a:cubicBezTo>
                    <a:pt x="5238154" y="872893"/>
                    <a:pt x="5234143" y="868880"/>
                    <a:pt x="5234143" y="863931"/>
                  </a:cubicBezTo>
                  <a:cubicBezTo>
                    <a:pt x="5234143" y="858981"/>
                    <a:pt x="5238154" y="854967"/>
                    <a:pt x="5243103" y="854967"/>
                  </a:cubicBezTo>
                  <a:close/>
                  <a:moveTo>
                    <a:pt x="5074362" y="854967"/>
                  </a:moveTo>
                  <a:cubicBezTo>
                    <a:pt x="5079311" y="854967"/>
                    <a:pt x="5083323" y="858981"/>
                    <a:pt x="5083323" y="863931"/>
                  </a:cubicBezTo>
                  <a:cubicBezTo>
                    <a:pt x="5083323" y="868880"/>
                    <a:pt x="5079311" y="872894"/>
                    <a:pt x="5074362" y="872894"/>
                  </a:cubicBezTo>
                  <a:cubicBezTo>
                    <a:pt x="5069413" y="872894"/>
                    <a:pt x="5065402" y="868880"/>
                    <a:pt x="5065402" y="863931"/>
                  </a:cubicBezTo>
                  <a:cubicBezTo>
                    <a:pt x="5065402" y="858981"/>
                    <a:pt x="5069413" y="854967"/>
                    <a:pt x="5074362" y="854967"/>
                  </a:cubicBezTo>
                  <a:close/>
                  <a:moveTo>
                    <a:pt x="4905620" y="854967"/>
                  </a:moveTo>
                  <a:cubicBezTo>
                    <a:pt x="4910569" y="854967"/>
                    <a:pt x="4914581" y="858981"/>
                    <a:pt x="4914581" y="863931"/>
                  </a:cubicBezTo>
                  <a:cubicBezTo>
                    <a:pt x="4914581" y="868880"/>
                    <a:pt x="4910569" y="872894"/>
                    <a:pt x="4905620" y="872894"/>
                  </a:cubicBezTo>
                  <a:cubicBezTo>
                    <a:pt x="4900671" y="872894"/>
                    <a:pt x="4896660" y="868880"/>
                    <a:pt x="4896660" y="863931"/>
                  </a:cubicBezTo>
                  <a:cubicBezTo>
                    <a:pt x="4896660" y="858981"/>
                    <a:pt x="4900671" y="854967"/>
                    <a:pt x="4905620" y="854967"/>
                  </a:cubicBezTo>
                  <a:close/>
                  <a:moveTo>
                    <a:pt x="4736878" y="854967"/>
                  </a:moveTo>
                  <a:cubicBezTo>
                    <a:pt x="4741827" y="854967"/>
                    <a:pt x="4745839" y="858981"/>
                    <a:pt x="4745839" y="863931"/>
                  </a:cubicBezTo>
                  <a:cubicBezTo>
                    <a:pt x="4745839" y="868880"/>
                    <a:pt x="4741827" y="872894"/>
                    <a:pt x="4736878" y="872894"/>
                  </a:cubicBezTo>
                  <a:cubicBezTo>
                    <a:pt x="4731929" y="872894"/>
                    <a:pt x="4727918" y="868880"/>
                    <a:pt x="4727918" y="863931"/>
                  </a:cubicBezTo>
                  <a:cubicBezTo>
                    <a:pt x="4727918" y="858981"/>
                    <a:pt x="4731929" y="854967"/>
                    <a:pt x="4736878" y="854967"/>
                  </a:cubicBezTo>
                  <a:close/>
                  <a:moveTo>
                    <a:pt x="6933679" y="854966"/>
                  </a:moveTo>
                  <a:cubicBezTo>
                    <a:pt x="6938628" y="854966"/>
                    <a:pt x="6942639" y="858978"/>
                    <a:pt x="6942639" y="863928"/>
                  </a:cubicBezTo>
                  <a:cubicBezTo>
                    <a:pt x="6942639" y="868879"/>
                    <a:pt x="6938628" y="872891"/>
                    <a:pt x="6933679" y="872891"/>
                  </a:cubicBezTo>
                  <a:cubicBezTo>
                    <a:pt x="6928730" y="872891"/>
                    <a:pt x="6924718" y="868879"/>
                    <a:pt x="6924718" y="863928"/>
                  </a:cubicBezTo>
                  <a:cubicBezTo>
                    <a:pt x="6924718" y="858978"/>
                    <a:pt x="6928730" y="854966"/>
                    <a:pt x="6933679" y="854966"/>
                  </a:cubicBezTo>
                  <a:close/>
                  <a:moveTo>
                    <a:pt x="6763357" y="854966"/>
                  </a:moveTo>
                  <a:cubicBezTo>
                    <a:pt x="6768306" y="854966"/>
                    <a:pt x="6772318" y="858978"/>
                    <a:pt x="6772318" y="863929"/>
                  </a:cubicBezTo>
                  <a:cubicBezTo>
                    <a:pt x="6772318" y="868879"/>
                    <a:pt x="6768306" y="872891"/>
                    <a:pt x="6763357" y="872891"/>
                  </a:cubicBezTo>
                  <a:cubicBezTo>
                    <a:pt x="6758408" y="872891"/>
                    <a:pt x="6754397" y="868879"/>
                    <a:pt x="6754397" y="863929"/>
                  </a:cubicBezTo>
                  <a:cubicBezTo>
                    <a:pt x="6754397" y="858978"/>
                    <a:pt x="6758408" y="854966"/>
                    <a:pt x="6763357" y="854966"/>
                  </a:cubicBezTo>
                  <a:close/>
                  <a:moveTo>
                    <a:pt x="6593035" y="854966"/>
                  </a:moveTo>
                  <a:cubicBezTo>
                    <a:pt x="6597984" y="854966"/>
                    <a:pt x="6601996" y="858978"/>
                    <a:pt x="6601996" y="863929"/>
                  </a:cubicBezTo>
                  <a:cubicBezTo>
                    <a:pt x="6601996" y="868879"/>
                    <a:pt x="6597984" y="872891"/>
                    <a:pt x="6593035" y="872891"/>
                  </a:cubicBezTo>
                  <a:cubicBezTo>
                    <a:pt x="6588086" y="872891"/>
                    <a:pt x="6584075" y="868879"/>
                    <a:pt x="6584075" y="863929"/>
                  </a:cubicBezTo>
                  <a:cubicBezTo>
                    <a:pt x="6584075" y="858978"/>
                    <a:pt x="6588086" y="854966"/>
                    <a:pt x="6593035" y="854966"/>
                  </a:cubicBezTo>
                  <a:close/>
                  <a:moveTo>
                    <a:pt x="6424294" y="854966"/>
                  </a:moveTo>
                  <a:cubicBezTo>
                    <a:pt x="6429243" y="854966"/>
                    <a:pt x="6433255" y="858979"/>
                    <a:pt x="6433255" y="863929"/>
                  </a:cubicBezTo>
                  <a:cubicBezTo>
                    <a:pt x="6433255" y="868879"/>
                    <a:pt x="6429243" y="872891"/>
                    <a:pt x="6424294" y="872891"/>
                  </a:cubicBezTo>
                  <a:cubicBezTo>
                    <a:pt x="6419345" y="872891"/>
                    <a:pt x="6415334" y="868879"/>
                    <a:pt x="6415334" y="863929"/>
                  </a:cubicBezTo>
                  <a:cubicBezTo>
                    <a:pt x="6415334" y="858979"/>
                    <a:pt x="6419345" y="854966"/>
                    <a:pt x="6424294" y="854966"/>
                  </a:cubicBezTo>
                  <a:close/>
                  <a:moveTo>
                    <a:pt x="6255553" y="854966"/>
                  </a:moveTo>
                  <a:cubicBezTo>
                    <a:pt x="6260502" y="854966"/>
                    <a:pt x="6264514" y="858979"/>
                    <a:pt x="6264514" y="863929"/>
                  </a:cubicBezTo>
                  <a:cubicBezTo>
                    <a:pt x="6264514" y="868879"/>
                    <a:pt x="6260502" y="872893"/>
                    <a:pt x="6255553" y="872893"/>
                  </a:cubicBezTo>
                  <a:cubicBezTo>
                    <a:pt x="6250604" y="872893"/>
                    <a:pt x="6246593" y="868879"/>
                    <a:pt x="6246593" y="863929"/>
                  </a:cubicBezTo>
                  <a:cubicBezTo>
                    <a:pt x="6246593" y="858979"/>
                    <a:pt x="6250604" y="854966"/>
                    <a:pt x="6255553" y="854966"/>
                  </a:cubicBezTo>
                  <a:close/>
                  <a:moveTo>
                    <a:pt x="6086811" y="854966"/>
                  </a:moveTo>
                  <a:cubicBezTo>
                    <a:pt x="6091760" y="854966"/>
                    <a:pt x="6095772" y="858979"/>
                    <a:pt x="6095772" y="863929"/>
                  </a:cubicBezTo>
                  <a:cubicBezTo>
                    <a:pt x="6095772" y="868879"/>
                    <a:pt x="6091760" y="872893"/>
                    <a:pt x="6086811" y="872893"/>
                  </a:cubicBezTo>
                  <a:cubicBezTo>
                    <a:pt x="6081862" y="872893"/>
                    <a:pt x="6077851" y="868879"/>
                    <a:pt x="6077851" y="863929"/>
                  </a:cubicBezTo>
                  <a:cubicBezTo>
                    <a:pt x="6077851" y="858979"/>
                    <a:pt x="6081862" y="854966"/>
                    <a:pt x="6086811" y="854966"/>
                  </a:cubicBezTo>
                  <a:close/>
                  <a:moveTo>
                    <a:pt x="5918069" y="854966"/>
                  </a:moveTo>
                  <a:cubicBezTo>
                    <a:pt x="5923018" y="854966"/>
                    <a:pt x="5927030" y="858979"/>
                    <a:pt x="5927030" y="863929"/>
                  </a:cubicBezTo>
                  <a:cubicBezTo>
                    <a:pt x="5927030" y="868879"/>
                    <a:pt x="5923018" y="872893"/>
                    <a:pt x="5918069" y="872893"/>
                  </a:cubicBezTo>
                  <a:cubicBezTo>
                    <a:pt x="5913120" y="872893"/>
                    <a:pt x="5909109" y="868879"/>
                    <a:pt x="5909109" y="863929"/>
                  </a:cubicBezTo>
                  <a:cubicBezTo>
                    <a:pt x="5909109" y="858979"/>
                    <a:pt x="5913120" y="854966"/>
                    <a:pt x="5918069" y="854966"/>
                  </a:cubicBezTo>
                  <a:close/>
                  <a:moveTo>
                    <a:pt x="349797" y="683948"/>
                  </a:moveTo>
                  <a:cubicBezTo>
                    <a:pt x="354746" y="683948"/>
                    <a:pt x="358758" y="687961"/>
                    <a:pt x="358758" y="692912"/>
                  </a:cubicBezTo>
                  <a:cubicBezTo>
                    <a:pt x="358758" y="697862"/>
                    <a:pt x="354746" y="701874"/>
                    <a:pt x="349797" y="701874"/>
                  </a:cubicBezTo>
                  <a:cubicBezTo>
                    <a:pt x="344850" y="701874"/>
                    <a:pt x="340838" y="697862"/>
                    <a:pt x="340838" y="692912"/>
                  </a:cubicBezTo>
                  <a:cubicBezTo>
                    <a:pt x="340838" y="687961"/>
                    <a:pt x="344850" y="683948"/>
                    <a:pt x="349797" y="683948"/>
                  </a:cubicBezTo>
                  <a:close/>
                  <a:moveTo>
                    <a:pt x="179481" y="683948"/>
                  </a:moveTo>
                  <a:cubicBezTo>
                    <a:pt x="184430" y="683948"/>
                    <a:pt x="188442" y="687961"/>
                    <a:pt x="188442" y="692911"/>
                  </a:cubicBezTo>
                  <a:cubicBezTo>
                    <a:pt x="188442" y="697862"/>
                    <a:pt x="184430" y="701874"/>
                    <a:pt x="179481" y="701874"/>
                  </a:cubicBezTo>
                  <a:cubicBezTo>
                    <a:pt x="174533" y="701874"/>
                    <a:pt x="170521" y="697862"/>
                    <a:pt x="170521" y="692911"/>
                  </a:cubicBezTo>
                  <a:cubicBezTo>
                    <a:pt x="170521" y="687961"/>
                    <a:pt x="174533" y="683948"/>
                    <a:pt x="179481" y="683948"/>
                  </a:cubicBezTo>
                  <a:close/>
                  <a:moveTo>
                    <a:pt x="9167" y="683948"/>
                  </a:moveTo>
                  <a:cubicBezTo>
                    <a:pt x="14115" y="683948"/>
                    <a:pt x="18126" y="687961"/>
                    <a:pt x="18126" y="692911"/>
                  </a:cubicBezTo>
                  <a:cubicBezTo>
                    <a:pt x="18126" y="697862"/>
                    <a:pt x="14115" y="701874"/>
                    <a:pt x="9167" y="701874"/>
                  </a:cubicBezTo>
                  <a:cubicBezTo>
                    <a:pt x="4218" y="701874"/>
                    <a:pt x="207" y="697862"/>
                    <a:pt x="207" y="692911"/>
                  </a:cubicBezTo>
                  <a:cubicBezTo>
                    <a:pt x="207" y="687961"/>
                    <a:pt x="4218" y="683948"/>
                    <a:pt x="9167" y="683948"/>
                  </a:cubicBezTo>
                  <a:close/>
                  <a:moveTo>
                    <a:pt x="1868529" y="683947"/>
                  </a:moveTo>
                  <a:cubicBezTo>
                    <a:pt x="1873463" y="683947"/>
                    <a:pt x="1877471" y="687959"/>
                    <a:pt x="1877471" y="692909"/>
                  </a:cubicBezTo>
                  <a:cubicBezTo>
                    <a:pt x="1877471" y="697859"/>
                    <a:pt x="1873463" y="701873"/>
                    <a:pt x="1868529" y="701873"/>
                  </a:cubicBezTo>
                  <a:cubicBezTo>
                    <a:pt x="1863568" y="701873"/>
                    <a:pt x="1859548" y="697859"/>
                    <a:pt x="1859548" y="692909"/>
                  </a:cubicBezTo>
                  <a:cubicBezTo>
                    <a:pt x="1859548" y="687959"/>
                    <a:pt x="1863568" y="683947"/>
                    <a:pt x="1868529" y="683947"/>
                  </a:cubicBezTo>
                  <a:close/>
                  <a:moveTo>
                    <a:pt x="1699772" y="683947"/>
                  </a:moveTo>
                  <a:cubicBezTo>
                    <a:pt x="1704728" y="683947"/>
                    <a:pt x="1708744" y="687959"/>
                    <a:pt x="1708744" y="692909"/>
                  </a:cubicBezTo>
                  <a:cubicBezTo>
                    <a:pt x="1708744" y="697860"/>
                    <a:pt x="1704728" y="701873"/>
                    <a:pt x="1699772" y="701873"/>
                  </a:cubicBezTo>
                  <a:cubicBezTo>
                    <a:pt x="1694817" y="701873"/>
                    <a:pt x="1690802" y="697860"/>
                    <a:pt x="1690802" y="692909"/>
                  </a:cubicBezTo>
                  <a:cubicBezTo>
                    <a:pt x="1690802" y="687959"/>
                    <a:pt x="1694817" y="683947"/>
                    <a:pt x="1699772" y="683947"/>
                  </a:cubicBezTo>
                  <a:close/>
                  <a:moveTo>
                    <a:pt x="1531031" y="683947"/>
                  </a:moveTo>
                  <a:cubicBezTo>
                    <a:pt x="1535982" y="683947"/>
                    <a:pt x="1539994" y="687959"/>
                    <a:pt x="1539994" y="692909"/>
                  </a:cubicBezTo>
                  <a:cubicBezTo>
                    <a:pt x="1539994" y="697860"/>
                    <a:pt x="1535982" y="701873"/>
                    <a:pt x="1531031" y="701873"/>
                  </a:cubicBezTo>
                  <a:cubicBezTo>
                    <a:pt x="1526081" y="701873"/>
                    <a:pt x="1522069" y="697860"/>
                    <a:pt x="1522069" y="692909"/>
                  </a:cubicBezTo>
                  <a:cubicBezTo>
                    <a:pt x="1522069" y="687959"/>
                    <a:pt x="1526081" y="683947"/>
                    <a:pt x="1531031" y="683947"/>
                  </a:cubicBezTo>
                  <a:close/>
                  <a:moveTo>
                    <a:pt x="1362276" y="683947"/>
                  </a:moveTo>
                  <a:cubicBezTo>
                    <a:pt x="1367231" y="683947"/>
                    <a:pt x="1371239" y="687959"/>
                    <a:pt x="1371239" y="692911"/>
                  </a:cubicBezTo>
                  <a:cubicBezTo>
                    <a:pt x="1371239" y="697860"/>
                    <a:pt x="1367231" y="701873"/>
                    <a:pt x="1362276" y="701873"/>
                  </a:cubicBezTo>
                  <a:cubicBezTo>
                    <a:pt x="1357327" y="701873"/>
                    <a:pt x="1353315" y="697860"/>
                    <a:pt x="1353315" y="692911"/>
                  </a:cubicBezTo>
                  <a:cubicBezTo>
                    <a:pt x="1353315" y="687959"/>
                    <a:pt x="1357327" y="683947"/>
                    <a:pt x="1362276" y="683947"/>
                  </a:cubicBezTo>
                  <a:close/>
                  <a:moveTo>
                    <a:pt x="1193534" y="683947"/>
                  </a:moveTo>
                  <a:cubicBezTo>
                    <a:pt x="1198481" y="683947"/>
                    <a:pt x="1202494" y="687959"/>
                    <a:pt x="1202494" y="692911"/>
                  </a:cubicBezTo>
                  <a:cubicBezTo>
                    <a:pt x="1202494" y="697860"/>
                    <a:pt x="1198481" y="701873"/>
                    <a:pt x="1193534" y="701873"/>
                  </a:cubicBezTo>
                  <a:cubicBezTo>
                    <a:pt x="1188587" y="701873"/>
                    <a:pt x="1184577" y="697860"/>
                    <a:pt x="1184577" y="692911"/>
                  </a:cubicBezTo>
                  <a:cubicBezTo>
                    <a:pt x="1184577" y="687959"/>
                    <a:pt x="1188587" y="683947"/>
                    <a:pt x="1193534" y="683947"/>
                  </a:cubicBezTo>
                  <a:close/>
                  <a:moveTo>
                    <a:pt x="1024774" y="683947"/>
                  </a:moveTo>
                  <a:cubicBezTo>
                    <a:pt x="1029726" y="683947"/>
                    <a:pt x="1033743" y="687961"/>
                    <a:pt x="1033743" y="692911"/>
                  </a:cubicBezTo>
                  <a:cubicBezTo>
                    <a:pt x="1033743" y="697860"/>
                    <a:pt x="1029726" y="701874"/>
                    <a:pt x="1024774" y="701874"/>
                  </a:cubicBezTo>
                  <a:cubicBezTo>
                    <a:pt x="1019826" y="701874"/>
                    <a:pt x="1015814" y="697860"/>
                    <a:pt x="1015814" y="692911"/>
                  </a:cubicBezTo>
                  <a:cubicBezTo>
                    <a:pt x="1015814" y="687961"/>
                    <a:pt x="1019826" y="683947"/>
                    <a:pt x="1024774" y="683947"/>
                  </a:cubicBezTo>
                  <a:close/>
                  <a:moveTo>
                    <a:pt x="856054" y="683947"/>
                  </a:moveTo>
                  <a:cubicBezTo>
                    <a:pt x="861002" y="683947"/>
                    <a:pt x="865014" y="687961"/>
                    <a:pt x="865014" y="692911"/>
                  </a:cubicBezTo>
                  <a:cubicBezTo>
                    <a:pt x="865014" y="697860"/>
                    <a:pt x="861002" y="701874"/>
                    <a:pt x="856054" y="701874"/>
                  </a:cubicBezTo>
                  <a:cubicBezTo>
                    <a:pt x="851103" y="701874"/>
                    <a:pt x="847094" y="697860"/>
                    <a:pt x="847094" y="692911"/>
                  </a:cubicBezTo>
                  <a:cubicBezTo>
                    <a:pt x="847094" y="687961"/>
                    <a:pt x="851103" y="683947"/>
                    <a:pt x="856054" y="683947"/>
                  </a:cubicBezTo>
                  <a:close/>
                  <a:moveTo>
                    <a:pt x="687317" y="683947"/>
                  </a:moveTo>
                  <a:cubicBezTo>
                    <a:pt x="692265" y="683947"/>
                    <a:pt x="696277" y="687961"/>
                    <a:pt x="696277" y="692911"/>
                  </a:cubicBezTo>
                  <a:cubicBezTo>
                    <a:pt x="696277" y="697860"/>
                    <a:pt x="692265" y="701874"/>
                    <a:pt x="687317" y="701874"/>
                  </a:cubicBezTo>
                  <a:cubicBezTo>
                    <a:pt x="682368" y="701874"/>
                    <a:pt x="678358" y="697860"/>
                    <a:pt x="678358" y="692911"/>
                  </a:cubicBezTo>
                  <a:cubicBezTo>
                    <a:pt x="678358" y="687961"/>
                    <a:pt x="682368" y="683947"/>
                    <a:pt x="687317" y="683947"/>
                  </a:cubicBezTo>
                  <a:close/>
                  <a:moveTo>
                    <a:pt x="518534" y="683947"/>
                  </a:moveTo>
                  <a:cubicBezTo>
                    <a:pt x="523483" y="683947"/>
                    <a:pt x="527495" y="687961"/>
                    <a:pt x="527495" y="692911"/>
                  </a:cubicBezTo>
                  <a:cubicBezTo>
                    <a:pt x="527495" y="697860"/>
                    <a:pt x="523483" y="701874"/>
                    <a:pt x="518534" y="701874"/>
                  </a:cubicBezTo>
                  <a:cubicBezTo>
                    <a:pt x="513586" y="701874"/>
                    <a:pt x="509574" y="697860"/>
                    <a:pt x="509574" y="692911"/>
                  </a:cubicBezTo>
                  <a:cubicBezTo>
                    <a:pt x="509574" y="687961"/>
                    <a:pt x="513586" y="683947"/>
                    <a:pt x="518534" y="683947"/>
                  </a:cubicBezTo>
                  <a:close/>
                  <a:moveTo>
                    <a:pt x="3218323" y="683946"/>
                  </a:moveTo>
                  <a:cubicBezTo>
                    <a:pt x="3223296" y="683946"/>
                    <a:pt x="3227299" y="687958"/>
                    <a:pt x="3227299" y="692908"/>
                  </a:cubicBezTo>
                  <a:cubicBezTo>
                    <a:pt x="3227299" y="697859"/>
                    <a:pt x="3223296" y="701871"/>
                    <a:pt x="3218323" y="701871"/>
                  </a:cubicBezTo>
                  <a:cubicBezTo>
                    <a:pt x="3213359" y="701871"/>
                    <a:pt x="3209353" y="697859"/>
                    <a:pt x="3209353" y="692908"/>
                  </a:cubicBezTo>
                  <a:cubicBezTo>
                    <a:pt x="3209353" y="687958"/>
                    <a:pt x="3213359" y="683946"/>
                    <a:pt x="3218323" y="683946"/>
                  </a:cubicBezTo>
                  <a:close/>
                  <a:moveTo>
                    <a:pt x="3049630" y="683946"/>
                  </a:moveTo>
                  <a:cubicBezTo>
                    <a:pt x="3054578" y="683946"/>
                    <a:pt x="3058587" y="687958"/>
                    <a:pt x="3058587" y="692908"/>
                  </a:cubicBezTo>
                  <a:cubicBezTo>
                    <a:pt x="3058587" y="697859"/>
                    <a:pt x="3054578" y="701871"/>
                    <a:pt x="3049630" y="701871"/>
                  </a:cubicBezTo>
                  <a:cubicBezTo>
                    <a:pt x="3044678" y="701871"/>
                    <a:pt x="3040660" y="697859"/>
                    <a:pt x="3040660" y="692908"/>
                  </a:cubicBezTo>
                  <a:cubicBezTo>
                    <a:pt x="3040660" y="687958"/>
                    <a:pt x="3044678" y="683946"/>
                    <a:pt x="3049630" y="683946"/>
                  </a:cubicBezTo>
                  <a:close/>
                  <a:moveTo>
                    <a:pt x="2880917" y="683946"/>
                  </a:moveTo>
                  <a:cubicBezTo>
                    <a:pt x="2885860" y="683946"/>
                    <a:pt x="2889872" y="687958"/>
                    <a:pt x="2889872" y="692909"/>
                  </a:cubicBezTo>
                  <a:cubicBezTo>
                    <a:pt x="2889872" y="697859"/>
                    <a:pt x="2885860" y="701871"/>
                    <a:pt x="2880917" y="701871"/>
                  </a:cubicBezTo>
                  <a:cubicBezTo>
                    <a:pt x="2875970" y="701871"/>
                    <a:pt x="2871960" y="697859"/>
                    <a:pt x="2871960" y="692909"/>
                  </a:cubicBezTo>
                  <a:cubicBezTo>
                    <a:pt x="2871960" y="687958"/>
                    <a:pt x="2875970" y="683946"/>
                    <a:pt x="2880917" y="683946"/>
                  </a:cubicBezTo>
                  <a:close/>
                  <a:moveTo>
                    <a:pt x="2712138" y="683946"/>
                  </a:moveTo>
                  <a:cubicBezTo>
                    <a:pt x="2717113" y="683946"/>
                    <a:pt x="2721120" y="687958"/>
                    <a:pt x="2721120" y="692909"/>
                  </a:cubicBezTo>
                  <a:cubicBezTo>
                    <a:pt x="2721120" y="697859"/>
                    <a:pt x="2717113" y="701871"/>
                    <a:pt x="2712138" y="701871"/>
                  </a:cubicBezTo>
                  <a:cubicBezTo>
                    <a:pt x="2707212" y="701871"/>
                    <a:pt x="2703188" y="697859"/>
                    <a:pt x="2703188" y="692909"/>
                  </a:cubicBezTo>
                  <a:cubicBezTo>
                    <a:pt x="2703188" y="687958"/>
                    <a:pt x="2707212" y="683946"/>
                    <a:pt x="2712138" y="683946"/>
                  </a:cubicBezTo>
                  <a:close/>
                  <a:moveTo>
                    <a:pt x="2543472" y="683946"/>
                  </a:moveTo>
                  <a:cubicBezTo>
                    <a:pt x="2548427" y="683946"/>
                    <a:pt x="2552437" y="687959"/>
                    <a:pt x="2552437" y="692909"/>
                  </a:cubicBezTo>
                  <a:cubicBezTo>
                    <a:pt x="2552437" y="697859"/>
                    <a:pt x="2548427" y="701873"/>
                    <a:pt x="2543472" y="701873"/>
                  </a:cubicBezTo>
                  <a:cubicBezTo>
                    <a:pt x="2538517" y="701873"/>
                    <a:pt x="2534496" y="697859"/>
                    <a:pt x="2534496" y="692909"/>
                  </a:cubicBezTo>
                  <a:cubicBezTo>
                    <a:pt x="2534496" y="687959"/>
                    <a:pt x="2538517" y="683946"/>
                    <a:pt x="2543472" y="683946"/>
                  </a:cubicBezTo>
                  <a:close/>
                  <a:moveTo>
                    <a:pt x="2374657" y="683946"/>
                  </a:moveTo>
                  <a:cubicBezTo>
                    <a:pt x="2379626" y="683946"/>
                    <a:pt x="2383680" y="687959"/>
                    <a:pt x="2383680" y="692909"/>
                  </a:cubicBezTo>
                  <a:cubicBezTo>
                    <a:pt x="2383680" y="697859"/>
                    <a:pt x="2379626" y="701873"/>
                    <a:pt x="2374657" y="701873"/>
                  </a:cubicBezTo>
                  <a:cubicBezTo>
                    <a:pt x="2369703" y="701873"/>
                    <a:pt x="2365694" y="697859"/>
                    <a:pt x="2365694" y="692909"/>
                  </a:cubicBezTo>
                  <a:cubicBezTo>
                    <a:pt x="2365694" y="687959"/>
                    <a:pt x="2369703" y="683946"/>
                    <a:pt x="2374657" y="683946"/>
                  </a:cubicBezTo>
                  <a:close/>
                  <a:moveTo>
                    <a:pt x="2205968" y="683946"/>
                  </a:moveTo>
                  <a:cubicBezTo>
                    <a:pt x="2210918" y="683946"/>
                    <a:pt x="2214923" y="687959"/>
                    <a:pt x="2214923" y="692909"/>
                  </a:cubicBezTo>
                  <a:cubicBezTo>
                    <a:pt x="2214923" y="697859"/>
                    <a:pt x="2210918" y="701873"/>
                    <a:pt x="2205968" y="701873"/>
                  </a:cubicBezTo>
                  <a:cubicBezTo>
                    <a:pt x="2200991" y="701873"/>
                    <a:pt x="2196969" y="697859"/>
                    <a:pt x="2196969" y="692909"/>
                  </a:cubicBezTo>
                  <a:cubicBezTo>
                    <a:pt x="2196969" y="687959"/>
                    <a:pt x="2200991" y="683946"/>
                    <a:pt x="2205968" y="683946"/>
                  </a:cubicBezTo>
                  <a:close/>
                  <a:moveTo>
                    <a:pt x="2037227" y="683946"/>
                  </a:moveTo>
                  <a:cubicBezTo>
                    <a:pt x="2042185" y="683946"/>
                    <a:pt x="2046161" y="687959"/>
                    <a:pt x="2046161" y="692909"/>
                  </a:cubicBezTo>
                  <a:cubicBezTo>
                    <a:pt x="2046161" y="697859"/>
                    <a:pt x="2042185" y="701873"/>
                    <a:pt x="2037227" y="701873"/>
                  </a:cubicBezTo>
                  <a:cubicBezTo>
                    <a:pt x="2032287" y="701873"/>
                    <a:pt x="2028292" y="697859"/>
                    <a:pt x="2028292" y="692909"/>
                  </a:cubicBezTo>
                  <a:cubicBezTo>
                    <a:pt x="2028292" y="687959"/>
                    <a:pt x="2032287" y="683946"/>
                    <a:pt x="2037227" y="683946"/>
                  </a:cubicBezTo>
                  <a:close/>
                  <a:moveTo>
                    <a:pt x="4736878" y="683944"/>
                  </a:moveTo>
                  <a:cubicBezTo>
                    <a:pt x="4741827" y="683944"/>
                    <a:pt x="4745839" y="687957"/>
                    <a:pt x="4745839" y="692906"/>
                  </a:cubicBezTo>
                  <a:cubicBezTo>
                    <a:pt x="4745839" y="697858"/>
                    <a:pt x="4741827" y="701870"/>
                    <a:pt x="4736878" y="701870"/>
                  </a:cubicBezTo>
                  <a:cubicBezTo>
                    <a:pt x="4731929" y="701870"/>
                    <a:pt x="4727918" y="697858"/>
                    <a:pt x="4727918" y="692906"/>
                  </a:cubicBezTo>
                  <a:cubicBezTo>
                    <a:pt x="4727918" y="687957"/>
                    <a:pt x="4731929" y="683944"/>
                    <a:pt x="4736878" y="683944"/>
                  </a:cubicBezTo>
                  <a:close/>
                  <a:moveTo>
                    <a:pt x="4568137" y="683944"/>
                  </a:moveTo>
                  <a:cubicBezTo>
                    <a:pt x="4573086" y="683944"/>
                    <a:pt x="4577098" y="687957"/>
                    <a:pt x="4577098" y="692906"/>
                  </a:cubicBezTo>
                  <a:cubicBezTo>
                    <a:pt x="4577098" y="697858"/>
                    <a:pt x="4573086" y="701870"/>
                    <a:pt x="4568137" y="701870"/>
                  </a:cubicBezTo>
                  <a:cubicBezTo>
                    <a:pt x="4563188" y="701870"/>
                    <a:pt x="4559177" y="697858"/>
                    <a:pt x="4559177" y="692906"/>
                  </a:cubicBezTo>
                  <a:cubicBezTo>
                    <a:pt x="4559177" y="687957"/>
                    <a:pt x="4563188" y="683944"/>
                    <a:pt x="4568137" y="683944"/>
                  </a:cubicBezTo>
                  <a:close/>
                  <a:moveTo>
                    <a:pt x="4399396" y="683944"/>
                  </a:moveTo>
                  <a:cubicBezTo>
                    <a:pt x="4404345" y="683944"/>
                    <a:pt x="4408357" y="687957"/>
                    <a:pt x="4408357" y="692908"/>
                  </a:cubicBezTo>
                  <a:cubicBezTo>
                    <a:pt x="4408357" y="697858"/>
                    <a:pt x="4404345" y="701870"/>
                    <a:pt x="4399396" y="701870"/>
                  </a:cubicBezTo>
                  <a:cubicBezTo>
                    <a:pt x="4394447" y="701870"/>
                    <a:pt x="4390436" y="697858"/>
                    <a:pt x="4390436" y="692908"/>
                  </a:cubicBezTo>
                  <a:cubicBezTo>
                    <a:pt x="4390436" y="687957"/>
                    <a:pt x="4394447" y="683944"/>
                    <a:pt x="4399396" y="683944"/>
                  </a:cubicBezTo>
                  <a:close/>
                  <a:moveTo>
                    <a:pt x="4230654" y="683944"/>
                  </a:moveTo>
                  <a:cubicBezTo>
                    <a:pt x="4235603" y="683944"/>
                    <a:pt x="4239615" y="687957"/>
                    <a:pt x="4239615" y="692908"/>
                  </a:cubicBezTo>
                  <a:cubicBezTo>
                    <a:pt x="4239615" y="697858"/>
                    <a:pt x="4235603" y="701870"/>
                    <a:pt x="4230654" y="701870"/>
                  </a:cubicBezTo>
                  <a:cubicBezTo>
                    <a:pt x="4225705" y="701870"/>
                    <a:pt x="4221694" y="697858"/>
                    <a:pt x="4221694" y="692908"/>
                  </a:cubicBezTo>
                  <a:cubicBezTo>
                    <a:pt x="4221694" y="687957"/>
                    <a:pt x="4225705" y="683944"/>
                    <a:pt x="4230654" y="683944"/>
                  </a:cubicBezTo>
                  <a:close/>
                  <a:moveTo>
                    <a:pt x="4061912" y="683944"/>
                  </a:moveTo>
                  <a:cubicBezTo>
                    <a:pt x="4066861" y="683944"/>
                    <a:pt x="4070873" y="687958"/>
                    <a:pt x="4070873" y="692908"/>
                  </a:cubicBezTo>
                  <a:cubicBezTo>
                    <a:pt x="4070873" y="697858"/>
                    <a:pt x="4066861" y="701871"/>
                    <a:pt x="4061912" y="701871"/>
                  </a:cubicBezTo>
                  <a:cubicBezTo>
                    <a:pt x="4056963" y="701871"/>
                    <a:pt x="4052952" y="697858"/>
                    <a:pt x="4052952" y="692908"/>
                  </a:cubicBezTo>
                  <a:cubicBezTo>
                    <a:pt x="4052952" y="687958"/>
                    <a:pt x="4056963" y="683944"/>
                    <a:pt x="4061912" y="683944"/>
                  </a:cubicBezTo>
                  <a:close/>
                  <a:moveTo>
                    <a:pt x="3893170" y="683944"/>
                  </a:moveTo>
                  <a:cubicBezTo>
                    <a:pt x="3898119" y="683944"/>
                    <a:pt x="3902131" y="687958"/>
                    <a:pt x="3902131" y="692908"/>
                  </a:cubicBezTo>
                  <a:cubicBezTo>
                    <a:pt x="3902131" y="697858"/>
                    <a:pt x="3898119" y="701871"/>
                    <a:pt x="3893170" y="701871"/>
                  </a:cubicBezTo>
                  <a:cubicBezTo>
                    <a:pt x="3888221" y="701871"/>
                    <a:pt x="3884210" y="697858"/>
                    <a:pt x="3884210" y="692908"/>
                  </a:cubicBezTo>
                  <a:cubicBezTo>
                    <a:pt x="3884210" y="687958"/>
                    <a:pt x="3888221" y="683944"/>
                    <a:pt x="3893170" y="683944"/>
                  </a:cubicBezTo>
                  <a:close/>
                  <a:moveTo>
                    <a:pt x="3724429" y="683944"/>
                  </a:moveTo>
                  <a:cubicBezTo>
                    <a:pt x="3729378" y="683944"/>
                    <a:pt x="3733390" y="687958"/>
                    <a:pt x="3733390" y="692908"/>
                  </a:cubicBezTo>
                  <a:cubicBezTo>
                    <a:pt x="3733390" y="697858"/>
                    <a:pt x="3729378" y="701871"/>
                    <a:pt x="3724429" y="701871"/>
                  </a:cubicBezTo>
                  <a:cubicBezTo>
                    <a:pt x="3719481" y="701871"/>
                    <a:pt x="3715469" y="697858"/>
                    <a:pt x="3715469" y="692908"/>
                  </a:cubicBezTo>
                  <a:cubicBezTo>
                    <a:pt x="3715469" y="687958"/>
                    <a:pt x="3719481" y="683944"/>
                    <a:pt x="3724429" y="683944"/>
                  </a:cubicBezTo>
                  <a:close/>
                  <a:moveTo>
                    <a:pt x="3555688" y="683944"/>
                  </a:moveTo>
                  <a:cubicBezTo>
                    <a:pt x="3560637" y="683944"/>
                    <a:pt x="3564649" y="687958"/>
                    <a:pt x="3564649" y="692908"/>
                  </a:cubicBezTo>
                  <a:cubicBezTo>
                    <a:pt x="3564649" y="697858"/>
                    <a:pt x="3560637" y="701871"/>
                    <a:pt x="3555688" y="701871"/>
                  </a:cubicBezTo>
                  <a:cubicBezTo>
                    <a:pt x="3550740" y="701871"/>
                    <a:pt x="3546728" y="697858"/>
                    <a:pt x="3546728" y="692908"/>
                  </a:cubicBezTo>
                  <a:cubicBezTo>
                    <a:pt x="3546728" y="687958"/>
                    <a:pt x="3550740" y="683944"/>
                    <a:pt x="3555688" y="683944"/>
                  </a:cubicBezTo>
                  <a:close/>
                  <a:moveTo>
                    <a:pt x="3387073" y="683944"/>
                  </a:moveTo>
                  <a:cubicBezTo>
                    <a:pt x="3392046" y="683944"/>
                    <a:pt x="3396058" y="687958"/>
                    <a:pt x="3396058" y="692908"/>
                  </a:cubicBezTo>
                  <a:cubicBezTo>
                    <a:pt x="3396058" y="697858"/>
                    <a:pt x="3392046" y="701871"/>
                    <a:pt x="3387073" y="701871"/>
                  </a:cubicBezTo>
                  <a:cubicBezTo>
                    <a:pt x="3382083" y="701871"/>
                    <a:pt x="3378062" y="697858"/>
                    <a:pt x="3378062" y="692908"/>
                  </a:cubicBezTo>
                  <a:cubicBezTo>
                    <a:pt x="3378062" y="687958"/>
                    <a:pt x="3382083" y="683944"/>
                    <a:pt x="3387073" y="683944"/>
                  </a:cubicBezTo>
                  <a:close/>
                  <a:moveTo>
                    <a:pt x="6255553" y="683943"/>
                  </a:moveTo>
                  <a:cubicBezTo>
                    <a:pt x="6260502" y="683943"/>
                    <a:pt x="6264514" y="687955"/>
                    <a:pt x="6264514" y="692905"/>
                  </a:cubicBezTo>
                  <a:cubicBezTo>
                    <a:pt x="6264514" y="697856"/>
                    <a:pt x="6260502" y="701869"/>
                    <a:pt x="6255553" y="701869"/>
                  </a:cubicBezTo>
                  <a:cubicBezTo>
                    <a:pt x="6250604" y="701869"/>
                    <a:pt x="6246593" y="697856"/>
                    <a:pt x="6246593" y="692905"/>
                  </a:cubicBezTo>
                  <a:cubicBezTo>
                    <a:pt x="6246593" y="687955"/>
                    <a:pt x="6250604" y="683943"/>
                    <a:pt x="6255553" y="683943"/>
                  </a:cubicBezTo>
                  <a:close/>
                  <a:moveTo>
                    <a:pt x="6086811" y="683943"/>
                  </a:moveTo>
                  <a:cubicBezTo>
                    <a:pt x="6091760" y="683943"/>
                    <a:pt x="6095772" y="687955"/>
                    <a:pt x="6095772" y="692905"/>
                  </a:cubicBezTo>
                  <a:cubicBezTo>
                    <a:pt x="6095772" y="697856"/>
                    <a:pt x="6091760" y="701869"/>
                    <a:pt x="6086811" y="701869"/>
                  </a:cubicBezTo>
                  <a:cubicBezTo>
                    <a:pt x="6081862" y="701869"/>
                    <a:pt x="6077851" y="697856"/>
                    <a:pt x="6077851" y="692905"/>
                  </a:cubicBezTo>
                  <a:cubicBezTo>
                    <a:pt x="6077851" y="687955"/>
                    <a:pt x="6081862" y="683943"/>
                    <a:pt x="6086811" y="683943"/>
                  </a:cubicBezTo>
                  <a:close/>
                  <a:moveTo>
                    <a:pt x="5918069" y="683943"/>
                  </a:moveTo>
                  <a:cubicBezTo>
                    <a:pt x="5923018" y="683943"/>
                    <a:pt x="5927030" y="687955"/>
                    <a:pt x="5927030" y="692906"/>
                  </a:cubicBezTo>
                  <a:cubicBezTo>
                    <a:pt x="5927030" y="697856"/>
                    <a:pt x="5923018" y="701869"/>
                    <a:pt x="5918069" y="701869"/>
                  </a:cubicBezTo>
                  <a:cubicBezTo>
                    <a:pt x="5913120" y="701869"/>
                    <a:pt x="5909109" y="697856"/>
                    <a:pt x="5909109" y="692906"/>
                  </a:cubicBezTo>
                  <a:cubicBezTo>
                    <a:pt x="5909109" y="687955"/>
                    <a:pt x="5913120" y="683943"/>
                    <a:pt x="5918069" y="683943"/>
                  </a:cubicBezTo>
                  <a:close/>
                  <a:moveTo>
                    <a:pt x="5749328" y="683943"/>
                  </a:moveTo>
                  <a:cubicBezTo>
                    <a:pt x="5754277" y="683943"/>
                    <a:pt x="5758289" y="687955"/>
                    <a:pt x="5758289" y="692906"/>
                  </a:cubicBezTo>
                  <a:cubicBezTo>
                    <a:pt x="5758289" y="697856"/>
                    <a:pt x="5754277" y="701869"/>
                    <a:pt x="5749328" y="701869"/>
                  </a:cubicBezTo>
                  <a:cubicBezTo>
                    <a:pt x="5744379" y="701869"/>
                    <a:pt x="5740368" y="697856"/>
                    <a:pt x="5740368" y="692906"/>
                  </a:cubicBezTo>
                  <a:cubicBezTo>
                    <a:pt x="5740368" y="687955"/>
                    <a:pt x="5744379" y="683943"/>
                    <a:pt x="5749328" y="683943"/>
                  </a:cubicBezTo>
                  <a:close/>
                  <a:moveTo>
                    <a:pt x="5580586" y="683943"/>
                  </a:moveTo>
                  <a:cubicBezTo>
                    <a:pt x="5585535" y="683943"/>
                    <a:pt x="5589547" y="687957"/>
                    <a:pt x="5589547" y="692906"/>
                  </a:cubicBezTo>
                  <a:cubicBezTo>
                    <a:pt x="5589547" y="697856"/>
                    <a:pt x="5585535" y="701869"/>
                    <a:pt x="5580586" y="701869"/>
                  </a:cubicBezTo>
                  <a:cubicBezTo>
                    <a:pt x="5575637" y="701869"/>
                    <a:pt x="5571626" y="697856"/>
                    <a:pt x="5571626" y="692906"/>
                  </a:cubicBezTo>
                  <a:cubicBezTo>
                    <a:pt x="5571626" y="687957"/>
                    <a:pt x="5575637" y="683943"/>
                    <a:pt x="5580586" y="683943"/>
                  </a:cubicBezTo>
                  <a:close/>
                  <a:moveTo>
                    <a:pt x="5411845" y="683943"/>
                  </a:moveTo>
                  <a:cubicBezTo>
                    <a:pt x="5416794" y="683943"/>
                    <a:pt x="5420806" y="687957"/>
                    <a:pt x="5420806" y="692906"/>
                  </a:cubicBezTo>
                  <a:cubicBezTo>
                    <a:pt x="5420806" y="697856"/>
                    <a:pt x="5416794" y="701870"/>
                    <a:pt x="5411845" y="701870"/>
                  </a:cubicBezTo>
                  <a:cubicBezTo>
                    <a:pt x="5406896" y="701870"/>
                    <a:pt x="5402885" y="697856"/>
                    <a:pt x="5402885" y="692906"/>
                  </a:cubicBezTo>
                  <a:cubicBezTo>
                    <a:pt x="5402885" y="687957"/>
                    <a:pt x="5406896" y="683943"/>
                    <a:pt x="5411845" y="683943"/>
                  </a:cubicBezTo>
                  <a:close/>
                  <a:moveTo>
                    <a:pt x="5243103" y="683943"/>
                  </a:moveTo>
                  <a:cubicBezTo>
                    <a:pt x="5248052" y="683943"/>
                    <a:pt x="5252064" y="687957"/>
                    <a:pt x="5252064" y="692906"/>
                  </a:cubicBezTo>
                  <a:cubicBezTo>
                    <a:pt x="5252064" y="697856"/>
                    <a:pt x="5248052" y="701870"/>
                    <a:pt x="5243103" y="701870"/>
                  </a:cubicBezTo>
                  <a:cubicBezTo>
                    <a:pt x="5238154" y="701870"/>
                    <a:pt x="5234143" y="697856"/>
                    <a:pt x="5234143" y="692906"/>
                  </a:cubicBezTo>
                  <a:cubicBezTo>
                    <a:pt x="5234143" y="687957"/>
                    <a:pt x="5238154" y="683943"/>
                    <a:pt x="5243103" y="683943"/>
                  </a:cubicBezTo>
                  <a:close/>
                  <a:moveTo>
                    <a:pt x="5074362" y="683943"/>
                  </a:moveTo>
                  <a:cubicBezTo>
                    <a:pt x="5079311" y="683943"/>
                    <a:pt x="5083323" y="687957"/>
                    <a:pt x="5083323" y="692906"/>
                  </a:cubicBezTo>
                  <a:cubicBezTo>
                    <a:pt x="5083323" y="697856"/>
                    <a:pt x="5079311" y="701870"/>
                    <a:pt x="5074362" y="701870"/>
                  </a:cubicBezTo>
                  <a:cubicBezTo>
                    <a:pt x="5069413" y="701870"/>
                    <a:pt x="5065402" y="697856"/>
                    <a:pt x="5065402" y="692906"/>
                  </a:cubicBezTo>
                  <a:cubicBezTo>
                    <a:pt x="5065402" y="687957"/>
                    <a:pt x="5069413" y="683943"/>
                    <a:pt x="5074362" y="683943"/>
                  </a:cubicBezTo>
                  <a:close/>
                  <a:moveTo>
                    <a:pt x="4905620" y="683943"/>
                  </a:moveTo>
                  <a:cubicBezTo>
                    <a:pt x="4910569" y="683943"/>
                    <a:pt x="4914581" y="687957"/>
                    <a:pt x="4914581" y="692906"/>
                  </a:cubicBezTo>
                  <a:cubicBezTo>
                    <a:pt x="4914581" y="697856"/>
                    <a:pt x="4910569" y="701870"/>
                    <a:pt x="4905620" y="701870"/>
                  </a:cubicBezTo>
                  <a:cubicBezTo>
                    <a:pt x="4900671" y="701870"/>
                    <a:pt x="4896660" y="697856"/>
                    <a:pt x="4896660" y="692906"/>
                  </a:cubicBezTo>
                  <a:cubicBezTo>
                    <a:pt x="4896660" y="687957"/>
                    <a:pt x="4900671" y="683943"/>
                    <a:pt x="4905620" y="683943"/>
                  </a:cubicBezTo>
                  <a:close/>
                  <a:moveTo>
                    <a:pt x="6933679" y="683942"/>
                  </a:moveTo>
                  <a:cubicBezTo>
                    <a:pt x="6938628" y="683942"/>
                    <a:pt x="6942639" y="687955"/>
                    <a:pt x="6942639" y="692905"/>
                  </a:cubicBezTo>
                  <a:cubicBezTo>
                    <a:pt x="6942639" y="697855"/>
                    <a:pt x="6938628" y="701869"/>
                    <a:pt x="6933679" y="701869"/>
                  </a:cubicBezTo>
                  <a:cubicBezTo>
                    <a:pt x="6928730" y="701869"/>
                    <a:pt x="6924718" y="697855"/>
                    <a:pt x="6924718" y="692905"/>
                  </a:cubicBezTo>
                  <a:cubicBezTo>
                    <a:pt x="6924718" y="687955"/>
                    <a:pt x="6928730" y="683942"/>
                    <a:pt x="6933679" y="683942"/>
                  </a:cubicBezTo>
                  <a:close/>
                  <a:moveTo>
                    <a:pt x="6763357" y="683942"/>
                  </a:moveTo>
                  <a:cubicBezTo>
                    <a:pt x="6768306" y="683942"/>
                    <a:pt x="6772318" y="687955"/>
                    <a:pt x="6772318" y="692905"/>
                  </a:cubicBezTo>
                  <a:cubicBezTo>
                    <a:pt x="6772318" y="697855"/>
                    <a:pt x="6768306" y="701869"/>
                    <a:pt x="6763357" y="701869"/>
                  </a:cubicBezTo>
                  <a:cubicBezTo>
                    <a:pt x="6758408" y="701869"/>
                    <a:pt x="6754397" y="697855"/>
                    <a:pt x="6754397" y="692905"/>
                  </a:cubicBezTo>
                  <a:cubicBezTo>
                    <a:pt x="6754397" y="687955"/>
                    <a:pt x="6758408" y="683942"/>
                    <a:pt x="6763357" y="683942"/>
                  </a:cubicBezTo>
                  <a:close/>
                  <a:moveTo>
                    <a:pt x="6593035" y="683942"/>
                  </a:moveTo>
                  <a:cubicBezTo>
                    <a:pt x="6597984" y="683942"/>
                    <a:pt x="6601996" y="687955"/>
                    <a:pt x="6601996" y="692905"/>
                  </a:cubicBezTo>
                  <a:cubicBezTo>
                    <a:pt x="6601996" y="697855"/>
                    <a:pt x="6597984" y="701869"/>
                    <a:pt x="6593035" y="701869"/>
                  </a:cubicBezTo>
                  <a:cubicBezTo>
                    <a:pt x="6588086" y="701869"/>
                    <a:pt x="6584075" y="697855"/>
                    <a:pt x="6584075" y="692905"/>
                  </a:cubicBezTo>
                  <a:cubicBezTo>
                    <a:pt x="6584075" y="687955"/>
                    <a:pt x="6588086" y="683942"/>
                    <a:pt x="6593035" y="683942"/>
                  </a:cubicBezTo>
                  <a:close/>
                  <a:moveTo>
                    <a:pt x="6424294" y="683942"/>
                  </a:moveTo>
                  <a:cubicBezTo>
                    <a:pt x="6429243" y="683942"/>
                    <a:pt x="6433255" y="687955"/>
                    <a:pt x="6433255" y="692905"/>
                  </a:cubicBezTo>
                  <a:cubicBezTo>
                    <a:pt x="6433255" y="697855"/>
                    <a:pt x="6429243" y="701869"/>
                    <a:pt x="6424294" y="701869"/>
                  </a:cubicBezTo>
                  <a:cubicBezTo>
                    <a:pt x="6419345" y="701869"/>
                    <a:pt x="6415334" y="697855"/>
                    <a:pt x="6415334" y="692905"/>
                  </a:cubicBezTo>
                  <a:cubicBezTo>
                    <a:pt x="6415334" y="687955"/>
                    <a:pt x="6419345" y="683942"/>
                    <a:pt x="6424294" y="683942"/>
                  </a:cubicBezTo>
                  <a:close/>
                  <a:moveTo>
                    <a:pt x="349801" y="512916"/>
                  </a:moveTo>
                  <a:cubicBezTo>
                    <a:pt x="354750" y="512916"/>
                    <a:pt x="358762" y="516928"/>
                    <a:pt x="358762" y="521876"/>
                  </a:cubicBezTo>
                  <a:cubicBezTo>
                    <a:pt x="358762" y="526825"/>
                    <a:pt x="354750" y="530837"/>
                    <a:pt x="349801" y="530837"/>
                  </a:cubicBezTo>
                  <a:cubicBezTo>
                    <a:pt x="344854" y="530837"/>
                    <a:pt x="340842" y="526825"/>
                    <a:pt x="340842" y="521876"/>
                  </a:cubicBezTo>
                  <a:cubicBezTo>
                    <a:pt x="340842" y="516928"/>
                    <a:pt x="344854" y="512916"/>
                    <a:pt x="349801" y="512916"/>
                  </a:cubicBezTo>
                  <a:close/>
                  <a:moveTo>
                    <a:pt x="179485" y="512916"/>
                  </a:moveTo>
                  <a:cubicBezTo>
                    <a:pt x="184434" y="512916"/>
                    <a:pt x="188446" y="516928"/>
                    <a:pt x="188446" y="521876"/>
                  </a:cubicBezTo>
                  <a:cubicBezTo>
                    <a:pt x="188446" y="526825"/>
                    <a:pt x="184434" y="530837"/>
                    <a:pt x="179485" y="530837"/>
                  </a:cubicBezTo>
                  <a:cubicBezTo>
                    <a:pt x="174537" y="530837"/>
                    <a:pt x="170525" y="526825"/>
                    <a:pt x="170525" y="521876"/>
                  </a:cubicBezTo>
                  <a:cubicBezTo>
                    <a:pt x="170525" y="516928"/>
                    <a:pt x="174537" y="512916"/>
                    <a:pt x="179485" y="512916"/>
                  </a:cubicBezTo>
                  <a:close/>
                  <a:moveTo>
                    <a:pt x="9171" y="512916"/>
                  </a:moveTo>
                  <a:cubicBezTo>
                    <a:pt x="14119" y="512916"/>
                    <a:pt x="18130" y="516928"/>
                    <a:pt x="18130" y="521876"/>
                  </a:cubicBezTo>
                  <a:cubicBezTo>
                    <a:pt x="18130" y="526825"/>
                    <a:pt x="14119" y="530837"/>
                    <a:pt x="9171" y="530837"/>
                  </a:cubicBezTo>
                  <a:cubicBezTo>
                    <a:pt x="4223" y="530837"/>
                    <a:pt x="211" y="526825"/>
                    <a:pt x="211" y="521876"/>
                  </a:cubicBezTo>
                  <a:cubicBezTo>
                    <a:pt x="211" y="516928"/>
                    <a:pt x="4223" y="512916"/>
                    <a:pt x="9171" y="512916"/>
                  </a:cubicBezTo>
                  <a:close/>
                  <a:moveTo>
                    <a:pt x="687321" y="512916"/>
                  </a:moveTo>
                  <a:cubicBezTo>
                    <a:pt x="692270" y="512916"/>
                    <a:pt x="696281" y="516927"/>
                    <a:pt x="696281" y="521876"/>
                  </a:cubicBezTo>
                  <a:cubicBezTo>
                    <a:pt x="696281" y="526825"/>
                    <a:pt x="692270" y="530836"/>
                    <a:pt x="687321" y="530836"/>
                  </a:cubicBezTo>
                  <a:cubicBezTo>
                    <a:pt x="682373" y="530836"/>
                    <a:pt x="678363" y="526825"/>
                    <a:pt x="678363" y="521876"/>
                  </a:cubicBezTo>
                  <a:cubicBezTo>
                    <a:pt x="678363" y="516927"/>
                    <a:pt x="682373" y="512916"/>
                    <a:pt x="687321" y="512916"/>
                  </a:cubicBezTo>
                  <a:close/>
                  <a:moveTo>
                    <a:pt x="518538" y="512916"/>
                  </a:moveTo>
                  <a:cubicBezTo>
                    <a:pt x="523487" y="512916"/>
                    <a:pt x="527498" y="516928"/>
                    <a:pt x="527498" y="521876"/>
                  </a:cubicBezTo>
                  <a:cubicBezTo>
                    <a:pt x="527498" y="526825"/>
                    <a:pt x="523487" y="530836"/>
                    <a:pt x="518538" y="530836"/>
                  </a:cubicBezTo>
                  <a:cubicBezTo>
                    <a:pt x="513589" y="530836"/>
                    <a:pt x="509578" y="526825"/>
                    <a:pt x="509578" y="521876"/>
                  </a:cubicBezTo>
                  <a:cubicBezTo>
                    <a:pt x="509578" y="516928"/>
                    <a:pt x="513589" y="512916"/>
                    <a:pt x="518538" y="512916"/>
                  </a:cubicBezTo>
                  <a:close/>
                  <a:moveTo>
                    <a:pt x="856059" y="512916"/>
                  </a:moveTo>
                  <a:cubicBezTo>
                    <a:pt x="861007" y="512916"/>
                    <a:pt x="865019" y="516927"/>
                    <a:pt x="865019" y="521876"/>
                  </a:cubicBezTo>
                  <a:cubicBezTo>
                    <a:pt x="865019" y="526825"/>
                    <a:pt x="861007" y="530836"/>
                    <a:pt x="856059" y="530836"/>
                  </a:cubicBezTo>
                  <a:cubicBezTo>
                    <a:pt x="851108" y="530836"/>
                    <a:pt x="847099" y="526825"/>
                    <a:pt x="847099" y="521876"/>
                  </a:cubicBezTo>
                  <a:cubicBezTo>
                    <a:pt x="847099" y="516927"/>
                    <a:pt x="851108" y="512916"/>
                    <a:pt x="856059" y="512916"/>
                  </a:cubicBezTo>
                  <a:close/>
                  <a:moveTo>
                    <a:pt x="1024779" y="512916"/>
                  </a:moveTo>
                  <a:cubicBezTo>
                    <a:pt x="1029730" y="512916"/>
                    <a:pt x="1033748" y="516927"/>
                    <a:pt x="1033748" y="521876"/>
                  </a:cubicBezTo>
                  <a:cubicBezTo>
                    <a:pt x="1033748" y="526824"/>
                    <a:pt x="1029730" y="530836"/>
                    <a:pt x="1024779" y="530836"/>
                  </a:cubicBezTo>
                  <a:cubicBezTo>
                    <a:pt x="1019830" y="530836"/>
                    <a:pt x="1015819" y="526824"/>
                    <a:pt x="1015819" y="521876"/>
                  </a:cubicBezTo>
                  <a:cubicBezTo>
                    <a:pt x="1015819" y="516927"/>
                    <a:pt x="1019830" y="512916"/>
                    <a:pt x="1024779" y="512916"/>
                  </a:cubicBezTo>
                  <a:close/>
                  <a:moveTo>
                    <a:pt x="1193538" y="512915"/>
                  </a:moveTo>
                  <a:cubicBezTo>
                    <a:pt x="1198486" y="512915"/>
                    <a:pt x="1202498" y="516927"/>
                    <a:pt x="1202498" y="521876"/>
                  </a:cubicBezTo>
                  <a:cubicBezTo>
                    <a:pt x="1202498" y="526824"/>
                    <a:pt x="1198486" y="530836"/>
                    <a:pt x="1193538" y="530836"/>
                  </a:cubicBezTo>
                  <a:cubicBezTo>
                    <a:pt x="1188591" y="530836"/>
                    <a:pt x="1184581" y="526824"/>
                    <a:pt x="1184581" y="521876"/>
                  </a:cubicBezTo>
                  <a:cubicBezTo>
                    <a:pt x="1184581" y="516927"/>
                    <a:pt x="1188591" y="512915"/>
                    <a:pt x="1193538" y="512915"/>
                  </a:cubicBezTo>
                  <a:close/>
                  <a:moveTo>
                    <a:pt x="1362280" y="512915"/>
                  </a:moveTo>
                  <a:cubicBezTo>
                    <a:pt x="1367235" y="512915"/>
                    <a:pt x="1371243" y="516927"/>
                    <a:pt x="1371243" y="521876"/>
                  </a:cubicBezTo>
                  <a:cubicBezTo>
                    <a:pt x="1371243" y="526824"/>
                    <a:pt x="1367235" y="530836"/>
                    <a:pt x="1362280" y="530836"/>
                  </a:cubicBezTo>
                  <a:cubicBezTo>
                    <a:pt x="1357331" y="530836"/>
                    <a:pt x="1353319" y="526824"/>
                    <a:pt x="1353319" y="521876"/>
                  </a:cubicBezTo>
                  <a:cubicBezTo>
                    <a:pt x="1353319" y="516927"/>
                    <a:pt x="1357331" y="512915"/>
                    <a:pt x="1362280" y="512915"/>
                  </a:cubicBezTo>
                  <a:close/>
                  <a:moveTo>
                    <a:pt x="1531036" y="512915"/>
                  </a:moveTo>
                  <a:cubicBezTo>
                    <a:pt x="1535987" y="512915"/>
                    <a:pt x="1539999" y="516927"/>
                    <a:pt x="1539999" y="521875"/>
                  </a:cubicBezTo>
                  <a:cubicBezTo>
                    <a:pt x="1539999" y="526824"/>
                    <a:pt x="1535987" y="530836"/>
                    <a:pt x="1531036" y="530836"/>
                  </a:cubicBezTo>
                  <a:cubicBezTo>
                    <a:pt x="1526085" y="530836"/>
                    <a:pt x="1522073" y="526824"/>
                    <a:pt x="1522073" y="521875"/>
                  </a:cubicBezTo>
                  <a:cubicBezTo>
                    <a:pt x="1522073" y="516927"/>
                    <a:pt x="1526085" y="512915"/>
                    <a:pt x="1531036" y="512915"/>
                  </a:cubicBezTo>
                  <a:close/>
                  <a:moveTo>
                    <a:pt x="1699777" y="512915"/>
                  </a:moveTo>
                  <a:cubicBezTo>
                    <a:pt x="1704733" y="512915"/>
                    <a:pt x="1708750" y="516927"/>
                    <a:pt x="1708750" y="521875"/>
                  </a:cubicBezTo>
                  <a:cubicBezTo>
                    <a:pt x="1708750" y="526824"/>
                    <a:pt x="1704733" y="530836"/>
                    <a:pt x="1699777" y="530836"/>
                  </a:cubicBezTo>
                  <a:cubicBezTo>
                    <a:pt x="1694822" y="530836"/>
                    <a:pt x="1690806" y="526824"/>
                    <a:pt x="1690806" y="521875"/>
                  </a:cubicBezTo>
                  <a:cubicBezTo>
                    <a:pt x="1690806" y="516927"/>
                    <a:pt x="1694822" y="512915"/>
                    <a:pt x="1699777" y="512915"/>
                  </a:cubicBezTo>
                  <a:close/>
                  <a:moveTo>
                    <a:pt x="1868534" y="512915"/>
                  </a:moveTo>
                  <a:cubicBezTo>
                    <a:pt x="1873467" y="512915"/>
                    <a:pt x="1877477" y="516927"/>
                    <a:pt x="1877477" y="521875"/>
                  </a:cubicBezTo>
                  <a:cubicBezTo>
                    <a:pt x="1877477" y="526824"/>
                    <a:pt x="1873467" y="530835"/>
                    <a:pt x="1868534" y="530835"/>
                  </a:cubicBezTo>
                  <a:cubicBezTo>
                    <a:pt x="1863572" y="530835"/>
                    <a:pt x="1859552" y="526824"/>
                    <a:pt x="1859552" y="521875"/>
                  </a:cubicBezTo>
                  <a:cubicBezTo>
                    <a:pt x="1859552" y="516927"/>
                    <a:pt x="1863572" y="512915"/>
                    <a:pt x="1868534" y="512915"/>
                  </a:cubicBezTo>
                  <a:close/>
                  <a:moveTo>
                    <a:pt x="2037232" y="512915"/>
                  </a:moveTo>
                  <a:cubicBezTo>
                    <a:pt x="2042189" y="512915"/>
                    <a:pt x="2046164" y="516926"/>
                    <a:pt x="2046164" y="521875"/>
                  </a:cubicBezTo>
                  <a:cubicBezTo>
                    <a:pt x="2046164" y="526824"/>
                    <a:pt x="2042189" y="530835"/>
                    <a:pt x="2037232" y="530835"/>
                  </a:cubicBezTo>
                  <a:cubicBezTo>
                    <a:pt x="2032291" y="530835"/>
                    <a:pt x="2028297" y="526824"/>
                    <a:pt x="2028297" y="521875"/>
                  </a:cubicBezTo>
                  <a:cubicBezTo>
                    <a:pt x="2028297" y="516926"/>
                    <a:pt x="2032291" y="512915"/>
                    <a:pt x="2037232" y="512915"/>
                  </a:cubicBezTo>
                  <a:close/>
                  <a:moveTo>
                    <a:pt x="2374660" y="512915"/>
                  </a:moveTo>
                  <a:cubicBezTo>
                    <a:pt x="2379629" y="512915"/>
                    <a:pt x="2383685" y="516926"/>
                    <a:pt x="2383685" y="521875"/>
                  </a:cubicBezTo>
                  <a:cubicBezTo>
                    <a:pt x="2383685" y="526823"/>
                    <a:pt x="2379629" y="530835"/>
                    <a:pt x="2374660" y="530835"/>
                  </a:cubicBezTo>
                  <a:cubicBezTo>
                    <a:pt x="2369706" y="530835"/>
                    <a:pt x="2365697" y="526823"/>
                    <a:pt x="2365697" y="521875"/>
                  </a:cubicBezTo>
                  <a:cubicBezTo>
                    <a:pt x="2365697" y="516926"/>
                    <a:pt x="2369706" y="512915"/>
                    <a:pt x="2374660" y="512915"/>
                  </a:cubicBezTo>
                  <a:close/>
                  <a:moveTo>
                    <a:pt x="2205973" y="512915"/>
                  </a:moveTo>
                  <a:cubicBezTo>
                    <a:pt x="2210922" y="512915"/>
                    <a:pt x="2214927" y="516926"/>
                    <a:pt x="2214927" y="521875"/>
                  </a:cubicBezTo>
                  <a:cubicBezTo>
                    <a:pt x="2214927" y="526823"/>
                    <a:pt x="2210922" y="530835"/>
                    <a:pt x="2205973" y="530835"/>
                  </a:cubicBezTo>
                  <a:cubicBezTo>
                    <a:pt x="2200994" y="530835"/>
                    <a:pt x="2196973" y="526823"/>
                    <a:pt x="2196973" y="521875"/>
                  </a:cubicBezTo>
                  <a:cubicBezTo>
                    <a:pt x="2196973" y="516926"/>
                    <a:pt x="2200994" y="512915"/>
                    <a:pt x="2205973" y="512915"/>
                  </a:cubicBezTo>
                  <a:close/>
                  <a:moveTo>
                    <a:pt x="2543477" y="512915"/>
                  </a:moveTo>
                  <a:cubicBezTo>
                    <a:pt x="2548432" y="512915"/>
                    <a:pt x="2552441" y="516926"/>
                    <a:pt x="2552441" y="521875"/>
                  </a:cubicBezTo>
                  <a:cubicBezTo>
                    <a:pt x="2552441" y="526823"/>
                    <a:pt x="2548432" y="530835"/>
                    <a:pt x="2543477" y="530835"/>
                  </a:cubicBezTo>
                  <a:cubicBezTo>
                    <a:pt x="2538522" y="530835"/>
                    <a:pt x="2534501" y="526823"/>
                    <a:pt x="2534501" y="521875"/>
                  </a:cubicBezTo>
                  <a:cubicBezTo>
                    <a:pt x="2534501" y="516926"/>
                    <a:pt x="2538522" y="512915"/>
                    <a:pt x="2543477" y="512915"/>
                  </a:cubicBezTo>
                  <a:close/>
                  <a:moveTo>
                    <a:pt x="2712141" y="512914"/>
                  </a:moveTo>
                  <a:cubicBezTo>
                    <a:pt x="2717117" y="512914"/>
                    <a:pt x="2721124" y="516926"/>
                    <a:pt x="2721124" y="521875"/>
                  </a:cubicBezTo>
                  <a:cubicBezTo>
                    <a:pt x="2721124" y="526823"/>
                    <a:pt x="2717117" y="530835"/>
                    <a:pt x="2712141" y="530835"/>
                  </a:cubicBezTo>
                  <a:cubicBezTo>
                    <a:pt x="2707216" y="530835"/>
                    <a:pt x="2703192" y="526823"/>
                    <a:pt x="2703192" y="521875"/>
                  </a:cubicBezTo>
                  <a:cubicBezTo>
                    <a:pt x="2703192" y="516926"/>
                    <a:pt x="2707216" y="512914"/>
                    <a:pt x="2712141" y="512914"/>
                  </a:cubicBezTo>
                  <a:close/>
                  <a:moveTo>
                    <a:pt x="2880921" y="512914"/>
                  </a:moveTo>
                  <a:cubicBezTo>
                    <a:pt x="2885863" y="512914"/>
                    <a:pt x="2889876" y="516926"/>
                    <a:pt x="2889876" y="521874"/>
                  </a:cubicBezTo>
                  <a:cubicBezTo>
                    <a:pt x="2889876" y="526823"/>
                    <a:pt x="2885863" y="530835"/>
                    <a:pt x="2880921" y="530835"/>
                  </a:cubicBezTo>
                  <a:cubicBezTo>
                    <a:pt x="2875973" y="530835"/>
                    <a:pt x="2871964" y="526823"/>
                    <a:pt x="2871964" y="521874"/>
                  </a:cubicBezTo>
                  <a:cubicBezTo>
                    <a:pt x="2871964" y="516926"/>
                    <a:pt x="2875973" y="512914"/>
                    <a:pt x="2880921" y="512914"/>
                  </a:cubicBezTo>
                  <a:close/>
                  <a:moveTo>
                    <a:pt x="3049633" y="512914"/>
                  </a:moveTo>
                  <a:cubicBezTo>
                    <a:pt x="3054581" y="512914"/>
                    <a:pt x="3058590" y="516926"/>
                    <a:pt x="3058590" y="521874"/>
                  </a:cubicBezTo>
                  <a:cubicBezTo>
                    <a:pt x="3058590" y="526823"/>
                    <a:pt x="3054581" y="530834"/>
                    <a:pt x="3049633" y="530834"/>
                  </a:cubicBezTo>
                  <a:cubicBezTo>
                    <a:pt x="3044681" y="530834"/>
                    <a:pt x="3040663" y="526823"/>
                    <a:pt x="3040663" y="521874"/>
                  </a:cubicBezTo>
                  <a:cubicBezTo>
                    <a:pt x="3040663" y="516926"/>
                    <a:pt x="3044681" y="512914"/>
                    <a:pt x="3049633" y="512914"/>
                  </a:cubicBezTo>
                  <a:close/>
                  <a:moveTo>
                    <a:pt x="3218326" y="512914"/>
                  </a:moveTo>
                  <a:cubicBezTo>
                    <a:pt x="3223299" y="512914"/>
                    <a:pt x="3227302" y="516926"/>
                    <a:pt x="3227302" y="521874"/>
                  </a:cubicBezTo>
                  <a:cubicBezTo>
                    <a:pt x="3227302" y="526823"/>
                    <a:pt x="3223299" y="530834"/>
                    <a:pt x="3218326" y="530834"/>
                  </a:cubicBezTo>
                  <a:cubicBezTo>
                    <a:pt x="3213361" y="530834"/>
                    <a:pt x="3209356" y="526823"/>
                    <a:pt x="3209356" y="521874"/>
                  </a:cubicBezTo>
                  <a:cubicBezTo>
                    <a:pt x="3209356" y="516926"/>
                    <a:pt x="3213361" y="512914"/>
                    <a:pt x="3218326" y="512914"/>
                  </a:cubicBezTo>
                  <a:close/>
                  <a:moveTo>
                    <a:pt x="3387076" y="512914"/>
                  </a:moveTo>
                  <a:cubicBezTo>
                    <a:pt x="3392049" y="512914"/>
                    <a:pt x="3396061" y="516926"/>
                    <a:pt x="3396061" y="521874"/>
                  </a:cubicBezTo>
                  <a:cubicBezTo>
                    <a:pt x="3396061" y="526823"/>
                    <a:pt x="3392049" y="530834"/>
                    <a:pt x="3387076" y="530834"/>
                  </a:cubicBezTo>
                  <a:cubicBezTo>
                    <a:pt x="3382086" y="530834"/>
                    <a:pt x="3378063" y="526823"/>
                    <a:pt x="3378063" y="521874"/>
                  </a:cubicBezTo>
                  <a:cubicBezTo>
                    <a:pt x="3378063" y="516926"/>
                    <a:pt x="3382086" y="512914"/>
                    <a:pt x="3387076" y="512914"/>
                  </a:cubicBezTo>
                  <a:close/>
                  <a:moveTo>
                    <a:pt x="3555688" y="512914"/>
                  </a:moveTo>
                  <a:cubicBezTo>
                    <a:pt x="3560637" y="512914"/>
                    <a:pt x="3564649" y="516925"/>
                    <a:pt x="3564649" y="521874"/>
                  </a:cubicBezTo>
                  <a:cubicBezTo>
                    <a:pt x="3564649" y="526823"/>
                    <a:pt x="3560637" y="530834"/>
                    <a:pt x="3555688" y="530834"/>
                  </a:cubicBezTo>
                  <a:cubicBezTo>
                    <a:pt x="3550740" y="530834"/>
                    <a:pt x="3546728" y="526823"/>
                    <a:pt x="3546728" y="521874"/>
                  </a:cubicBezTo>
                  <a:cubicBezTo>
                    <a:pt x="3546728" y="516925"/>
                    <a:pt x="3550740" y="512914"/>
                    <a:pt x="3555688" y="512914"/>
                  </a:cubicBezTo>
                  <a:close/>
                  <a:moveTo>
                    <a:pt x="3724429" y="512914"/>
                  </a:moveTo>
                  <a:cubicBezTo>
                    <a:pt x="3729378" y="512914"/>
                    <a:pt x="3733390" y="516925"/>
                    <a:pt x="3733390" y="521874"/>
                  </a:cubicBezTo>
                  <a:cubicBezTo>
                    <a:pt x="3733390" y="526822"/>
                    <a:pt x="3729378" y="530834"/>
                    <a:pt x="3724429" y="530834"/>
                  </a:cubicBezTo>
                  <a:cubicBezTo>
                    <a:pt x="3719481" y="530834"/>
                    <a:pt x="3715469" y="526822"/>
                    <a:pt x="3715469" y="521874"/>
                  </a:cubicBezTo>
                  <a:cubicBezTo>
                    <a:pt x="3715469" y="516925"/>
                    <a:pt x="3719481" y="512914"/>
                    <a:pt x="3724429" y="512914"/>
                  </a:cubicBezTo>
                  <a:close/>
                  <a:moveTo>
                    <a:pt x="3893170" y="512913"/>
                  </a:moveTo>
                  <a:cubicBezTo>
                    <a:pt x="3898119" y="512913"/>
                    <a:pt x="3902131" y="516925"/>
                    <a:pt x="3902131" y="521874"/>
                  </a:cubicBezTo>
                  <a:cubicBezTo>
                    <a:pt x="3902131" y="526822"/>
                    <a:pt x="3898119" y="530834"/>
                    <a:pt x="3893170" y="530834"/>
                  </a:cubicBezTo>
                  <a:cubicBezTo>
                    <a:pt x="3888221" y="530834"/>
                    <a:pt x="3884210" y="526822"/>
                    <a:pt x="3884210" y="521874"/>
                  </a:cubicBezTo>
                  <a:cubicBezTo>
                    <a:pt x="3884210" y="516925"/>
                    <a:pt x="3888221" y="512913"/>
                    <a:pt x="3893170" y="512913"/>
                  </a:cubicBezTo>
                  <a:close/>
                  <a:moveTo>
                    <a:pt x="4230654" y="512913"/>
                  </a:moveTo>
                  <a:cubicBezTo>
                    <a:pt x="4235603" y="512913"/>
                    <a:pt x="4239615" y="516925"/>
                    <a:pt x="4239615" y="521873"/>
                  </a:cubicBezTo>
                  <a:cubicBezTo>
                    <a:pt x="4239615" y="526822"/>
                    <a:pt x="4235603" y="530834"/>
                    <a:pt x="4230654" y="530834"/>
                  </a:cubicBezTo>
                  <a:cubicBezTo>
                    <a:pt x="4225705" y="530834"/>
                    <a:pt x="4221694" y="526822"/>
                    <a:pt x="4221694" y="521873"/>
                  </a:cubicBezTo>
                  <a:cubicBezTo>
                    <a:pt x="4221694" y="516925"/>
                    <a:pt x="4225705" y="512913"/>
                    <a:pt x="4230654" y="512913"/>
                  </a:cubicBezTo>
                  <a:close/>
                  <a:moveTo>
                    <a:pt x="4061912" y="512913"/>
                  </a:moveTo>
                  <a:cubicBezTo>
                    <a:pt x="4066861" y="512913"/>
                    <a:pt x="4070873" y="516925"/>
                    <a:pt x="4070873" y="521874"/>
                  </a:cubicBezTo>
                  <a:cubicBezTo>
                    <a:pt x="4070873" y="526822"/>
                    <a:pt x="4066861" y="530834"/>
                    <a:pt x="4061912" y="530834"/>
                  </a:cubicBezTo>
                  <a:cubicBezTo>
                    <a:pt x="4056963" y="530834"/>
                    <a:pt x="4052952" y="526822"/>
                    <a:pt x="4052952" y="521874"/>
                  </a:cubicBezTo>
                  <a:cubicBezTo>
                    <a:pt x="4052952" y="516925"/>
                    <a:pt x="4056963" y="512913"/>
                    <a:pt x="4061912" y="512913"/>
                  </a:cubicBezTo>
                  <a:close/>
                  <a:moveTo>
                    <a:pt x="4399396" y="512913"/>
                  </a:moveTo>
                  <a:cubicBezTo>
                    <a:pt x="4404345" y="512913"/>
                    <a:pt x="4408357" y="516925"/>
                    <a:pt x="4408357" y="521873"/>
                  </a:cubicBezTo>
                  <a:cubicBezTo>
                    <a:pt x="4408357" y="526822"/>
                    <a:pt x="4404345" y="530834"/>
                    <a:pt x="4399396" y="530834"/>
                  </a:cubicBezTo>
                  <a:cubicBezTo>
                    <a:pt x="4394447" y="530834"/>
                    <a:pt x="4390436" y="526822"/>
                    <a:pt x="4390436" y="521873"/>
                  </a:cubicBezTo>
                  <a:cubicBezTo>
                    <a:pt x="4390436" y="516925"/>
                    <a:pt x="4394447" y="512913"/>
                    <a:pt x="4399396" y="512913"/>
                  </a:cubicBezTo>
                  <a:close/>
                  <a:moveTo>
                    <a:pt x="4568137" y="512913"/>
                  </a:moveTo>
                  <a:cubicBezTo>
                    <a:pt x="4573086" y="512913"/>
                    <a:pt x="4577098" y="516925"/>
                    <a:pt x="4577098" y="521873"/>
                  </a:cubicBezTo>
                  <a:cubicBezTo>
                    <a:pt x="4577098" y="526822"/>
                    <a:pt x="4573086" y="530833"/>
                    <a:pt x="4568137" y="530833"/>
                  </a:cubicBezTo>
                  <a:cubicBezTo>
                    <a:pt x="4563188" y="530833"/>
                    <a:pt x="4559177" y="526822"/>
                    <a:pt x="4559177" y="521873"/>
                  </a:cubicBezTo>
                  <a:cubicBezTo>
                    <a:pt x="4559177" y="516925"/>
                    <a:pt x="4563188" y="512913"/>
                    <a:pt x="4568137" y="512913"/>
                  </a:cubicBezTo>
                  <a:close/>
                  <a:moveTo>
                    <a:pt x="4736878" y="512913"/>
                  </a:moveTo>
                  <a:cubicBezTo>
                    <a:pt x="4741827" y="512913"/>
                    <a:pt x="4745839" y="516924"/>
                    <a:pt x="4745839" y="521873"/>
                  </a:cubicBezTo>
                  <a:cubicBezTo>
                    <a:pt x="4745839" y="526822"/>
                    <a:pt x="4741827" y="530833"/>
                    <a:pt x="4736878" y="530833"/>
                  </a:cubicBezTo>
                  <a:cubicBezTo>
                    <a:pt x="4731929" y="530833"/>
                    <a:pt x="4727918" y="526822"/>
                    <a:pt x="4727918" y="521873"/>
                  </a:cubicBezTo>
                  <a:cubicBezTo>
                    <a:pt x="4727918" y="516924"/>
                    <a:pt x="4731929" y="512913"/>
                    <a:pt x="4736878" y="512913"/>
                  </a:cubicBezTo>
                  <a:close/>
                  <a:moveTo>
                    <a:pt x="4905620" y="512913"/>
                  </a:moveTo>
                  <a:cubicBezTo>
                    <a:pt x="4910569" y="512913"/>
                    <a:pt x="4914581" y="516924"/>
                    <a:pt x="4914581" y="521873"/>
                  </a:cubicBezTo>
                  <a:cubicBezTo>
                    <a:pt x="4914581" y="526822"/>
                    <a:pt x="4910569" y="530833"/>
                    <a:pt x="4905620" y="530833"/>
                  </a:cubicBezTo>
                  <a:cubicBezTo>
                    <a:pt x="4900671" y="530833"/>
                    <a:pt x="4896660" y="526822"/>
                    <a:pt x="4896660" y="521873"/>
                  </a:cubicBezTo>
                  <a:cubicBezTo>
                    <a:pt x="4896660" y="516924"/>
                    <a:pt x="4900671" y="512913"/>
                    <a:pt x="4905620" y="512913"/>
                  </a:cubicBezTo>
                  <a:close/>
                  <a:moveTo>
                    <a:pt x="5074362" y="512913"/>
                  </a:moveTo>
                  <a:cubicBezTo>
                    <a:pt x="5079311" y="512913"/>
                    <a:pt x="5083323" y="516924"/>
                    <a:pt x="5083323" y="521873"/>
                  </a:cubicBezTo>
                  <a:cubicBezTo>
                    <a:pt x="5083323" y="526821"/>
                    <a:pt x="5079311" y="530833"/>
                    <a:pt x="5074362" y="530833"/>
                  </a:cubicBezTo>
                  <a:cubicBezTo>
                    <a:pt x="5069413" y="530833"/>
                    <a:pt x="5065402" y="526821"/>
                    <a:pt x="5065402" y="521873"/>
                  </a:cubicBezTo>
                  <a:cubicBezTo>
                    <a:pt x="5065402" y="516924"/>
                    <a:pt x="5069413" y="512913"/>
                    <a:pt x="5074362" y="512913"/>
                  </a:cubicBezTo>
                  <a:close/>
                  <a:moveTo>
                    <a:pt x="5243103" y="512912"/>
                  </a:moveTo>
                  <a:cubicBezTo>
                    <a:pt x="5248052" y="512912"/>
                    <a:pt x="5252064" y="516924"/>
                    <a:pt x="5252064" y="521873"/>
                  </a:cubicBezTo>
                  <a:cubicBezTo>
                    <a:pt x="5252064" y="526821"/>
                    <a:pt x="5248052" y="530833"/>
                    <a:pt x="5243103" y="530833"/>
                  </a:cubicBezTo>
                  <a:cubicBezTo>
                    <a:pt x="5238154" y="530833"/>
                    <a:pt x="5234143" y="526821"/>
                    <a:pt x="5234143" y="521873"/>
                  </a:cubicBezTo>
                  <a:cubicBezTo>
                    <a:pt x="5234143" y="516924"/>
                    <a:pt x="5238154" y="512912"/>
                    <a:pt x="5243103" y="512912"/>
                  </a:cubicBezTo>
                  <a:close/>
                  <a:moveTo>
                    <a:pt x="5411845" y="512912"/>
                  </a:moveTo>
                  <a:cubicBezTo>
                    <a:pt x="5416794" y="512912"/>
                    <a:pt x="5420806" y="516924"/>
                    <a:pt x="5420806" y="521872"/>
                  </a:cubicBezTo>
                  <a:cubicBezTo>
                    <a:pt x="5420806" y="526821"/>
                    <a:pt x="5416794" y="530833"/>
                    <a:pt x="5411845" y="530833"/>
                  </a:cubicBezTo>
                  <a:cubicBezTo>
                    <a:pt x="5406896" y="530833"/>
                    <a:pt x="5402885" y="526821"/>
                    <a:pt x="5402885" y="521872"/>
                  </a:cubicBezTo>
                  <a:cubicBezTo>
                    <a:pt x="5402885" y="516924"/>
                    <a:pt x="5406896" y="512912"/>
                    <a:pt x="5411845" y="512912"/>
                  </a:cubicBezTo>
                  <a:close/>
                  <a:moveTo>
                    <a:pt x="5580586" y="512912"/>
                  </a:moveTo>
                  <a:cubicBezTo>
                    <a:pt x="5585535" y="512912"/>
                    <a:pt x="5589547" y="516924"/>
                    <a:pt x="5589547" y="521872"/>
                  </a:cubicBezTo>
                  <a:cubicBezTo>
                    <a:pt x="5589547" y="526821"/>
                    <a:pt x="5585535" y="530833"/>
                    <a:pt x="5580586" y="530833"/>
                  </a:cubicBezTo>
                  <a:cubicBezTo>
                    <a:pt x="5575637" y="530833"/>
                    <a:pt x="5571626" y="526821"/>
                    <a:pt x="5571626" y="521872"/>
                  </a:cubicBezTo>
                  <a:cubicBezTo>
                    <a:pt x="5571626" y="516924"/>
                    <a:pt x="5575637" y="512912"/>
                    <a:pt x="5580586" y="512912"/>
                  </a:cubicBezTo>
                  <a:close/>
                  <a:moveTo>
                    <a:pt x="5918069" y="512912"/>
                  </a:moveTo>
                  <a:cubicBezTo>
                    <a:pt x="5923018" y="512912"/>
                    <a:pt x="5927030" y="516924"/>
                    <a:pt x="5927030" y="521872"/>
                  </a:cubicBezTo>
                  <a:cubicBezTo>
                    <a:pt x="5927030" y="526821"/>
                    <a:pt x="5923018" y="530832"/>
                    <a:pt x="5918069" y="530832"/>
                  </a:cubicBezTo>
                  <a:cubicBezTo>
                    <a:pt x="5913120" y="530832"/>
                    <a:pt x="5909109" y="526821"/>
                    <a:pt x="5909109" y="521872"/>
                  </a:cubicBezTo>
                  <a:cubicBezTo>
                    <a:pt x="5909109" y="516924"/>
                    <a:pt x="5913120" y="512912"/>
                    <a:pt x="5918069" y="512912"/>
                  </a:cubicBezTo>
                  <a:close/>
                  <a:moveTo>
                    <a:pt x="5749328" y="512912"/>
                  </a:moveTo>
                  <a:cubicBezTo>
                    <a:pt x="5754277" y="512912"/>
                    <a:pt x="5758289" y="516924"/>
                    <a:pt x="5758289" y="521872"/>
                  </a:cubicBezTo>
                  <a:cubicBezTo>
                    <a:pt x="5758289" y="526821"/>
                    <a:pt x="5754277" y="530833"/>
                    <a:pt x="5749328" y="530833"/>
                  </a:cubicBezTo>
                  <a:cubicBezTo>
                    <a:pt x="5744379" y="530833"/>
                    <a:pt x="5740368" y="526821"/>
                    <a:pt x="5740368" y="521872"/>
                  </a:cubicBezTo>
                  <a:cubicBezTo>
                    <a:pt x="5740368" y="516924"/>
                    <a:pt x="5744379" y="512912"/>
                    <a:pt x="5749328" y="512912"/>
                  </a:cubicBezTo>
                  <a:close/>
                  <a:moveTo>
                    <a:pt x="6086811" y="512912"/>
                  </a:moveTo>
                  <a:cubicBezTo>
                    <a:pt x="6091760" y="512912"/>
                    <a:pt x="6095772" y="516923"/>
                    <a:pt x="6095772" y="521872"/>
                  </a:cubicBezTo>
                  <a:cubicBezTo>
                    <a:pt x="6095772" y="526821"/>
                    <a:pt x="6091760" y="530832"/>
                    <a:pt x="6086811" y="530832"/>
                  </a:cubicBezTo>
                  <a:cubicBezTo>
                    <a:pt x="6081862" y="530832"/>
                    <a:pt x="6077851" y="526821"/>
                    <a:pt x="6077851" y="521872"/>
                  </a:cubicBezTo>
                  <a:cubicBezTo>
                    <a:pt x="6077851" y="516923"/>
                    <a:pt x="6081862" y="512912"/>
                    <a:pt x="6086811" y="512912"/>
                  </a:cubicBezTo>
                  <a:close/>
                  <a:moveTo>
                    <a:pt x="6255553" y="512912"/>
                  </a:moveTo>
                  <a:cubicBezTo>
                    <a:pt x="6260502" y="512912"/>
                    <a:pt x="6264514" y="516923"/>
                    <a:pt x="6264514" y="521872"/>
                  </a:cubicBezTo>
                  <a:cubicBezTo>
                    <a:pt x="6264514" y="526821"/>
                    <a:pt x="6260502" y="530832"/>
                    <a:pt x="6255553" y="530832"/>
                  </a:cubicBezTo>
                  <a:cubicBezTo>
                    <a:pt x="6250604" y="530832"/>
                    <a:pt x="6246593" y="526821"/>
                    <a:pt x="6246593" y="521872"/>
                  </a:cubicBezTo>
                  <a:cubicBezTo>
                    <a:pt x="6246593" y="516923"/>
                    <a:pt x="6250604" y="512912"/>
                    <a:pt x="6255553" y="512912"/>
                  </a:cubicBezTo>
                  <a:close/>
                  <a:moveTo>
                    <a:pt x="6424294" y="512912"/>
                  </a:moveTo>
                  <a:cubicBezTo>
                    <a:pt x="6429243" y="512912"/>
                    <a:pt x="6433255" y="516923"/>
                    <a:pt x="6433255" y="521872"/>
                  </a:cubicBezTo>
                  <a:cubicBezTo>
                    <a:pt x="6433255" y="526820"/>
                    <a:pt x="6429243" y="530832"/>
                    <a:pt x="6424294" y="530832"/>
                  </a:cubicBezTo>
                  <a:cubicBezTo>
                    <a:pt x="6419345" y="530832"/>
                    <a:pt x="6415334" y="526820"/>
                    <a:pt x="6415334" y="521872"/>
                  </a:cubicBezTo>
                  <a:cubicBezTo>
                    <a:pt x="6415334" y="516923"/>
                    <a:pt x="6419345" y="512912"/>
                    <a:pt x="6424294" y="512912"/>
                  </a:cubicBezTo>
                  <a:close/>
                  <a:moveTo>
                    <a:pt x="6593035" y="512911"/>
                  </a:moveTo>
                  <a:cubicBezTo>
                    <a:pt x="6597984" y="512911"/>
                    <a:pt x="6601996" y="516923"/>
                    <a:pt x="6601996" y="521872"/>
                  </a:cubicBezTo>
                  <a:cubicBezTo>
                    <a:pt x="6601996" y="526820"/>
                    <a:pt x="6597984" y="530832"/>
                    <a:pt x="6593035" y="530832"/>
                  </a:cubicBezTo>
                  <a:cubicBezTo>
                    <a:pt x="6588086" y="530832"/>
                    <a:pt x="6584075" y="526820"/>
                    <a:pt x="6584075" y="521872"/>
                  </a:cubicBezTo>
                  <a:cubicBezTo>
                    <a:pt x="6584075" y="516923"/>
                    <a:pt x="6588086" y="512911"/>
                    <a:pt x="6593035" y="512911"/>
                  </a:cubicBezTo>
                  <a:close/>
                  <a:moveTo>
                    <a:pt x="6763357" y="512911"/>
                  </a:moveTo>
                  <a:cubicBezTo>
                    <a:pt x="6768306" y="512911"/>
                    <a:pt x="6772318" y="516923"/>
                    <a:pt x="6772318" y="521872"/>
                  </a:cubicBezTo>
                  <a:cubicBezTo>
                    <a:pt x="6772318" y="526820"/>
                    <a:pt x="6768306" y="530832"/>
                    <a:pt x="6763357" y="530832"/>
                  </a:cubicBezTo>
                  <a:cubicBezTo>
                    <a:pt x="6758408" y="530832"/>
                    <a:pt x="6754397" y="526820"/>
                    <a:pt x="6754397" y="521872"/>
                  </a:cubicBezTo>
                  <a:cubicBezTo>
                    <a:pt x="6754397" y="516923"/>
                    <a:pt x="6758408" y="512911"/>
                    <a:pt x="6763357" y="512911"/>
                  </a:cubicBezTo>
                  <a:close/>
                  <a:moveTo>
                    <a:pt x="6933679" y="512911"/>
                  </a:moveTo>
                  <a:cubicBezTo>
                    <a:pt x="6938628" y="512911"/>
                    <a:pt x="6942639" y="516923"/>
                    <a:pt x="6942639" y="521871"/>
                  </a:cubicBezTo>
                  <a:cubicBezTo>
                    <a:pt x="6942639" y="526820"/>
                    <a:pt x="6938628" y="530832"/>
                    <a:pt x="6933679" y="530832"/>
                  </a:cubicBezTo>
                  <a:cubicBezTo>
                    <a:pt x="6928730" y="530832"/>
                    <a:pt x="6924718" y="526820"/>
                    <a:pt x="6924718" y="521871"/>
                  </a:cubicBezTo>
                  <a:cubicBezTo>
                    <a:pt x="6924718" y="516923"/>
                    <a:pt x="6928730" y="512911"/>
                    <a:pt x="6933679" y="512911"/>
                  </a:cubicBezTo>
                  <a:close/>
                  <a:moveTo>
                    <a:pt x="349805" y="341946"/>
                  </a:moveTo>
                  <a:cubicBezTo>
                    <a:pt x="354754" y="341946"/>
                    <a:pt x="358766" y="345958"/>
                    <a:pt x="358766" y="350906"/>
                  </a:cubicBezTo>
                  <a:cubicBezTo>
                    <a:pt x="358766" y="355855"/>
                    <a:pt x="354754" y="359866"/>
                    <a:pt x="349805" y="359866"/>
                  </a:cubicBezTo>
                  <a:cubicBezTo>
                    <a:pt x="344858" y="359866"/>
                    <a:pt x="340846" y="355855"/>
                    <a:pt x="340846" y="350906"/>
                  </a:cubicBezTo>
                  <a:cubicBezTo>
                    <a:pt x="340846" y="345958"/>
                    <a:pt x="344858" y="341946"/>
                    <a:pt x="349805" y="341946"/>
                  </a:cubicBezTo>
                  <a:close/>
                  <a:moveTo>
                    <a:pt x="179489" y="341946"/>
                  </a:moveTo>
                  <a:cubicBezTo>
                    <a:pt x="184438" y="341946"/>
                    <a:pt x="188450" y="345957"/>
                    <a:pt x="188450" y="350906"/>
                  </a:cubicBezTo>
                  <a:cubicBezTo>
                    <a:pt x="188450" y="355855"/>
                    <a:pt x="184438" y="359866"/>
                    <a:pt x="179489" y="359866"/>
                  </a:cubicBezTo>
                  <a:cubicBezTo>
                    <a:pt x="174541" y="359866"/>
                    <a:pt x="170529" y="355855"/>
                    <a:pt x="170529" y="350906"/>
                  </a:cubicBezTo>
                  <a:cubicBezTo>
                    <a:pt x="170529" y="345957"/>
                    <a:pt x="174541" y="341946"/>
                    <a:pt x="179489" y="341946"/>
                  </a:cubicBezTo>
                  <a:close/>
                  <a:moveTo>
                    <a:pt x="9175" y="341946"/>
                  </a:moveTo>
                  <a:cubicBezTo>
                    <a:pt x="14123" y="341946"/>
                    <a:pt x="18134" y="345957"/>
                    <a:pt x="18134" y="350906"/>
                  </a:cubicBezTo>
                  <a:cubicBezTo>
                    <a:pt x="18134" y="355855"/>
                    <a:pt x="14123" y="359866"/>
                    <a:pt x="9175" y="359866"/>
                  </a:cubicBezTo>
                  <a:cubicBezTo>
                    <a:pt x="4227" y="359866"/>
                    <a:pt x="215" y="355855"/>
                    <a:pt x="215" y="350906"/>
                  </a:cubicBezTo>
                  <a:cubicBezTo>
                    <a:pt x="215" y="345957"/>
                    <a:pt x="4227" y="341946"/>
                    <a:pt x="9175" y="341946"/>
                  </a:cubicBezTo>
                  <a:close/>
                  <a:moveTo>
                    <a:pt x="518542" y="341946"/>
                  </a:moveTo>
                  <a:cubicBezTo>
                    <a:pt x="523491" y="341946"/>
                    <a:pt x="527502" y="345957"/>
                    <a:pt x="527502" y="350906"/>
                  </a:cubicBezTo>
                  <a:cubicBezTo>
                    <a:pt x="527502" y="355854"/>
                    <a:pt x="523491" y="359866"/>
                    <a:pt x="518542" y="359866"/>
                  </a:cubicBezTo>
                  <a:cubicBezTo>
                    <a:pt x="513593" y="359866"/>
                    <a:pt x="509581" y="355854"/>
                    <a:pt x="509581" y="350906"/>
                  </a:cubicBezTo>
                  <a:cubicBezTo>
                    <a:pt x="509581" y="345957"/>
                    <a:pt x="513593" y="341946"/>
                    <a:pt x="518542" y="341946"/>
                  </a:cubicBezTo>
                  <a:close/>
                  <a:moveTo>
                    <a:pt x="687326" y="341946"/>
                  </a:moveTo>
                  <a:cubicBezTo>
                    <a:pt x="692274" y="341946"/>
                    <a:pt x="696286" y="345957"/>
                    <a:pt x="696286" y="350906"/>
                  </a:cubicBezTo>
                  <a:cubicBezTo>
                    <a:pt x="696286" y="355854"/>
                    <a:pt x="692274" y="359866"/>
                    <a:pt x="687326" y="359866"/>
                  </a:cubicBezTo>
                  <a:cubicBezTo>
                    <a:pt x="682377" y="359866"/>
                    <a:pt x="678368" y="355854"/>
                    <a:pt x="678368" y="350906"/>
                  </a:cubicBezTo>
                  <a:cubicBezTo>
                    <a:pt x="678368" y="345957"/>
                    <a:pt x="682377" y="341946"/>
                    <a:pt x="687326" y="341946"/>
                  </a:cubicBezTo>
                  <a:close/>
                  <a:moveTo>
                    <a:pt x="856063" y="341945"/>
                  </a:moveTo>
                  <a:cubicBezTo>
                    <a:pt x="861011" y="341945"/>
                    <a:pt x="865023" y="345957"/>
                    <a:pt x="865023" y="350906"/>
                  </a:cubicBezTo>
                  <a:cubicBezTo>
                    <a:pt x="865023" y="355854"/>
                    <a:pt x="861011" y="359866"/>
                    <a:pt x="856063" y="359866"/>
                  </a:cubicBezTo>
                  <a:cubicBezTo>
                    <a:pt x="851112" y="359866"/>
                    <a:pt x="847104" y="355854"/>
                    <a:pt x="847104" y="350906"/>
                  </a:cubicBezTo>
                  <a:cubicBezTo>
                    <a:pt x="847104" y="345957"/>
                    <a:pt x="851112" y="341945"/>
                    <a:pt x="856063" y="341945"/>
                  </a:cubicBezTo>
                  <a:close/>
                  <a:moveTo>
                    <a:pt x="1024783" y="341945"/>
                  </a:moveTo>
                  <a:cubicBezTo>
                    <a:pt x="1029735" y="341945"/>
                    <a:pt x="1033752" y="345957"/>
                    <a:pt x="1033752" y="350905"/>
                  </a:cubicBezTo>
                  <a:cubicBezTo>
                    <a:pt x="1033752" y="355854"/>
                    <a:pt x="1029735" y="359866"/>
                    <a:pt x="1024783" y="359866"/>
                  </a:cubicBezTo>
                  <a:cubicBezTo>
                    <a:pt x="1019834" y="359866"/>
                    <a:pt x="1015823" y="355854"/>
                    <a:pt x="1015823" y="350905"/>
                  </a:cubicBezTo>
                  <a:cubicBezTo>
                    <a:pt x="1015823" y="345957"/>
                    <a:pt x="1019834" y="341945"/>
                    <a:pt x="1024783" y="341945"/>
                  </a:cubicBezTo>
                  <a:close/>
                  <a:moveTo>
                    <a:pt x="1193543" y="341945"/>
                  </a:moveTo>
                  <a:cubicBezTo>
                    <a:pt x="1198490" y="341945"/>
                    <a:pt x="1202503" y="345957"/>
                    <a:pt x="1202503" y="350905"/>
                  </a:cubicBezTo>
                  <a:cubicBezTo>
                    <a:pt x="1202503" y="355854"/>
                    <a:pt x="1198490" y="359865"/>
                    <a:pt x="1193543" y="359865"/>
                  </a:cubicBezTo>
                  <a:cubicBezTo>
                    <a:pt x="1188596" y="359865"/>
                    <a:pt x="1184586" y="355854"/>
                    <a:pt x="1184586" y="350905"/>
                  </a:cubicBezTo>
                  <a:cubicBezTo>
                    <a:pt x="1184586" y="345957"/>
                    <a:pt x="1188596" y="341945"/>
                    <a:pt x="1193543" y="341945"/>
                  </a:cubicBezTo>
                  <a:close/>
                  <a:moveTo>
                    <a:pt x="1362285" y="341945"/>
                  </a:moveTo>
                  <a:cubicBezTo>
                    <a:pt x="1367240" y="341945"/>
                    <a:pt x="1371248" y="345957"/>
                    <a:pt x="1371248" y="350905"/>
                  </a:cubicBezTo>
                  <a:cubicBezTo>
                    <a:pt x="1371248" y="355854"/>
                    <a:pt x="1367240" y="359865"/>
                    <a:pt x="1362285" y="359865"/>
                  </a:cubicBezTo>
                  <a:cubicBezTo>
                    <a:pt x="1357335" y="359865"/>
                    <a:pt x="1353324" y="355854"/>
                    <a:pt x="1353324" y="350905"/>
                  </a:cubicBezTo>
                  <a:cubicBezTo>
                    <a:pt x="1353324" y="345957"/>
                    <a:pt x="1357335" y="341945"/>
                    <a:pt x="1362285" y="341945"/>
                  </a:cubicBezTo>
                  <a:close/>
                  <a:moveTo>
                    <a:pt x="1531041" y="341945"/>
                  </a:moveTo>
                  <a:cubicBezTo>
                    <a:pt x="1535992" y="341945"/>
                    <a:pt x="1540003" y="345957"/>
                    <a:pt x="1540003" y="350905"/>
                  </a:cubicBezTo>
                  <a:cubicBezTo>
                    <a:pt x="1540003" y="355854"/>
                    <a:pt x="1535992" y="359865"/>
                    <a:pt x="1531041" y="359865"/>
                  </a:cubicBezTo>
                  <a:cubicBezTo>
                    <a:pt x="1526090" y="359865"/>
                    <a:pt x="1522078" y="355854"/>
                    <a:pt x="1522078" y="350905"/>
                  </a:cubicBezTo>
                  <a:cubicBezTo>
                    <a:pt x="1522078" y="345957"/>
                    <a:pt x="1526090" y="341945"/>
                    <a:pt x="1531041" y="341945"/>
                  </a:cubicBezTo>
                  <a:close/>
                  <a:moveTo>
                    <a:pt x="1699781" y="341945"/>
                  </a:moveTo>
                  <a:cubicBezTo>
                    <a:pt x="1704738" y="341945"/>
                    <a:pt x="1708755" y="345956"/>
                    <a:pt x="1708755" y="350905"/>
                  </a:cubicBezTo>
                  <a:cubicBezTo>
                    <a:pt x="1708755" y="355854"/>
                    <a:pt x="1704738" y="359865"/>
                    <a:pt x="1699781" y="359865"/>
                  </a:cubicBezTo>
                  <a:cubicBezTo>
                    <a:pt x="1694826" y="359865"/>
                    <a:pt x="1690811" y="355854"/>
                    <a:pt x="1690811" y="350905"/>
                  </a:cubicBezTo>
                  <a:cubicBezTo>
                    <a:pt x="1690811" y="345956"/>
                    <a:pt x="1694826" y="341945"/>
                    <a:pt x="1699781" y="341945"/>
                  </a:cubicBezTo>
                  <a:close/>
                  <a:moveTo>
                    <a:pt x="1868539" y="341945"/>
                  </a:moveTo>
                  <a:cubicBezTo>
                    <a:pt x="1873472" y="341945"/>
                    <a:pt x="1877481" y="345956"/>
                    <a:pt x="1877481" y="350905"/>
                  </a:cubicBezTo>
                  <a:cubicBezTo>
                    <a:pt x="1877481" y="355853"/>
                    <a:pt x="1873472" y="359865"/>
                    <a:pt x="1868539" y="359865"/>
                  </a:cubicBezTo>
                  <a:cubicBezTo>
                    <a:pt x="1863577" y="359865"/>
                    <a:pt x="1859557" y="355853"/>
                    <a:pt x="1859557" y="350905"/>
                  </a:cubicBezTo>
                  <a:cubicBezTo>
                    <a:pt x="1859557" y="345956"/>
                    <a:pt x="1863577" y="341945"/>
                    <a:pt x="1868539" y="341945"/>
                  </a:cubicBezTo>
                  <a:close/>
                  <a:moveTo>
                    <a:pt x="2037237" y="341944"/>
                  </a:moveTo>
                  <a:cubicBezTo>
                    <a:pt x="2042194" y="341944"/>
                    <a:pt x="2046167" y="345956"/>
                    <a:pt x="2046167" y="350905"/>
                  </a:cubicBezTo>
                  <a:cubicBezTo>
                    <a:pt x="2046167" y="355853"/>
                    <a:pt x="2042194" y="359865"/>
                    <a:pt x="2037237" y="359865"/>
                  </a:cubicBezTo>
                  <a:cubicBezTo>
                    <a:pt x="2032294" y="359865"/>
                    <a:pt x="2028303" y="355853"/>
                    <a:pt x="2028303" y="350905"/>
                  </a:cubicBezTo>
                  <a:cubicBezTo>
                    <a:pt x="2028303" y="345956"/>
                    <a:pt x="2032294" y="341944"/>
                    <a:pt x="2037237" y="341944"/>
                  </a:cubicBezTo>
                  <a:close/>
                  <a:moveTo>
                    <a:pt x="2374663" y="341944"/>
                  </a:moveTo>
                  <a:cubicBezTo>
                    <a:pt x="2379632" y="341944"/>
                    <a:pt x="2383689" y="345956"/>
                    <a:pt x="2383689" y="350904"/>
                  </a:cubicBezTo>
                  <a:cubicBezTo>
                    <a:pt x="2383689" y="355853"/>
                    <a:pt x="2379632" y="359865"/>
                    <a:pt x="2374663" y="359865"/>
                  </a:cubicBezTo>
                  <a:cubicBezTo>
                    <a:pt x="2369709" y="359865"/>
                    <a:pt x="2365700" y="355853"/>
                    <a:pt x="2365700" y="350904"/>
                  </a:cubicBezTo>
                  <a:cubicBezTo>
                    <a:pt x="2365700" y="345956"/>
                    <a:pt x="2369709" y="341944"/>
                    <a:pt x="2374663" y="341944"/>
                  </a:cubicBezTo>
                  <a:close/>
                  <a:moveTo>
                    <a:pt x="2205977" y="341944"/>
                  </a:moveTo>
                  <a:cubicBezTo>
                    <a:pt x="2210926" y="341944"/>
                    <a:pt x="2214931" y="345956"/>
                    <a:pt x="2214931" y="350905"/>
                  </a:cubicBezTo>
                  <a:cubicBezTo>
                    <a:pt x="2214931" y="355853"/>
                    <a:pt x="2210926" y="359865"/>
                    <a:pt x="2205977" y="359865"/>
                  </a:cubicBezTo>
                  <a:cubicBezTo>
                    <a:pt x="2200997" y="359865"/>
                    <a:pt x="2196978" y="355853"/>
                    <a:pt x="2196978" y="350905"/>
                  </a:cubicBezTo>
                  <a:cubicBezTo>
                    <a:pt x="2196978" y="345956"/>
                    <a:pt x="2200997" y="341944"/>
                    <a:pt x="2205977" y="341944"/>
                  </a:cubicBezTo>
                  <a:close/>
                  <a:moveTo>
                    <a:pt x="2543481" y="341944"/>
                  </a:moveTo>
                  <a:cubicBezTo>
                    <a:pt x="2548436" y="341944"/>
                    <a:pt x="2552446" y="345956"/>
                    <a:pt x="2552446" y="350904"/>
                  </a:cubicBezTo>
                  <a:cubicBezTo>
                    <a:pt x="2552446" y="355853"/>
                    <a:pt x="2548436" y="359865"/>
                    <a:pt x="2543481" y="359865"/>
                  </a:cubicBezTo>
                  <a:cubicBezTo>
                    <a:pt x="2538526" y="359865"/>
                    <a:pt x="2534505" y="355853"/>
                    <a:pt x="2534505" y="350904"/>
                  </a:cubicBezTo>
                  <a:cubicBezTo>
                    <a:pt x="2534505" y="345956"/>
                    <a:pt x="2538526" y="341944"/>
                    <a:pt x="2543481" y="341944"/>
                  </a:cubicBezTo>
                  <a:close/>
                  <a:moveTo>
                    <a:pt x="2712144" y="341944"/>
                  </a:moveTo>
                  <a:cubicBezTo>
                    <a:pt x="2717121" y="341944"/>
                    <a:pt x="2721129" y="345956"/>
                    <a:pt x="2721129" y="350904"/>
                  </a:cubicBezTo>
                  <a:cubicBezTo>
                    <a:pt x="2721129" y="355853"/>
                    <a:pt x="2717121" y="359864"/>
                    <a:pt x="2712144" y="359864"/>
                  </a:cubicBezTo>
                  <a:cubicBezTo>
                    <a:pt x="2707220" y="359864"/>
                    <a:pt x="2703196" y="355853"/>
                    <a:pt x="2703196" y="350904"/>
                  </a:cubicBezTo>
                  <a:cubicBezTo>
                    <a:pt x="2703196" y="345956"/>
                    <a:pt x="2707220" y="341944"/>
                    <a:pt x="2712144" y="341944"/>
                  </a:cubicBezTo>
                  <a:close/>
                  <a:moveTo>
                    <a:pt x="2880925" y="341944"/>
                  </a:moveTo>
                  <a:cubicBezTo>
                    <a:pt x="2885867" y="341944"/>
                    <a:pt x="2889879" y="345955"/>
                    <a:pt x="2889879" y="350904"/>
                  </a:cubicBezTo>
                  <a:cubicBezTo>
                    <a:pt x="2889879" y="355853"/>
                    <a:pt x="2885867" y="359864"/>
                    <a:pt x="2880925" y="359864"/>
                  </a:cubicBezTo>
                  <a:cubicBezTo>
                    <a:pt x="2875977" y="359864"/>
                    <a:pt x="2871968" y="355853"/>
                    <a:pt x="2871968" y="350904"/>
                  </a:cubicBezTo>
                  <a:cubicBezTo>
                    <a:pt x="2871968" y="345955"/>
                    <a:pt x="2875977" y="341944"/>
                    <a:pt x="2880925" y="341944"/>
                  </a:cubicBezTo>
                  <a:close/>
                  <a:moveTo>
                    <a:pt x="3049636" y="341944"/>
                  </a:moveTo>
                  <a:cubicBezTo>
                    <a:pt x="3054584" y="341944"/>
                    <a:pt x="3058593" y="345955"/>
                    <a:pt x="3058593" y="350904"/>
                  </a:cubicBezTo>
                  <a:cubicBezTo>
                    <a:pt x="3058593" y="355853"/>
                    <a:pt x="3054584" y="359864"/>
                    <a:pt x="3049636" y="359864"/>
                  </a:cubicBezTo>
                  <a:cubicBezTo>
                    <a:pt x="3044684" y="359864"/>
                    <a:pt x="3040666" y="355853"/>
                    <a:pt x="3040666" y="350904"/>
                  </a:cubicBezTo>
                  <a:cubicBezTo>
                    <a:pt x="3040666" y="345955"/>
                    <a:pt x="3044684" y="341944"/>
                    <a:pt x="3049636" y="341944"/>
                  </a:cubicBezTo>
                  <a:close/>
                  <a:moveTo>
                    <a:pt x="3218329" y="341944"/>
                  </a:moveTo>
                  <a:cubicBezTo>
                    <a:pt x="3223302" y="341944"/>
                    <a:pt x="3227305" y="345955"/>
                    <a:pt x="3227305" y="350904"/>
                  </a:cubicBezTo>
                  <a:cubicBezTo>
                    <a:pt x="3227305" y="355852"/>
                    <a:pt x="3223302" y="359864"/>
                    <a:pt x="3218329" y="359864"/>
                  </a:cubicBezTo>
                  <a:cubicBezTo>
                    <a:pt x="3213363" y="359864"/>
                    <a:pt x="3209359" y="355852"/>
                    <a:pt x="3209359" y="350904"/>
                  </a:cubicBezTo>
                  <a:cubicBezTo>
                    <a:pt x="3209359" y="345955"/>
                    <a:pt x="3213363" y="341944"/>
                    <a:pt x="3218329" y="341944"/>
                  </a:cubicBezTo>
                  <a:close/>
                  <a:moveTo>
                    <a:pt x="3387079" y="341943"/>
                  </a:moveTo>
                  <a:cubicBezTo>
                    <a:pt x="3392052" y="341943"/>
                    <a:pt x="3396064" y="345955"/>
                    <a:pt x="3396064" y="350904"/>
                  </a:cubicBezTo>
                  <a:cubicBezTo>
                    <a:pt x="3396064" y="355852"/>
                    <a:pt x="3392052" y="359864"/>
                    <a:pt x="3387079" y="359864"/>
                  </a:cubicBezTo>
                  <a:cubicBezTo>
                    <a:pt x="3382089" y="359864"/>
                    <a:pt x="3378065" y="355852"/>
                    <a:pt x="3378065" y="350904"/>
                  </a:cubicBezTo>
                  <a:cubicBezTo>
                    <a:pt x="3378065" y="345955"/>
                    <a:pt x="3382089" y="341943"/>
                    <a:pt x="3387079" y="341943"/>
                  </a:cubicBezTo>
                  <a:close/>
                  <a:moveTo>
                    <a:pt x="3555688" y="341943"/>
                  </a:moveTo>
                  <a:cubicBezTo>
                    <a:pt x="3560637" y="341943"/>
                    <a:pt x="3564649" y="345955"/>
                    <a:pt x="3564649" y="350904"/>
                  </a:cubicBezTo>
                  <a:cubicBezTo>
                    <a:pt x="3564649" y="355852"/>
                    <a:pt x="3560637" y="359864"/>
                    <a:pt x="3555688" y="359864"/>
                  </a:cubicBezTo>
                  <a:cubicBezTo>
                    <a:pt x="3550740" y="359864"/>
                    <a:pt x="3546728" y="355852"/>
                    <a:pt x="3546728" y="350904"/>
                  </a:cubicBezTo>
                  <a:cubicBezTo>
                    <a:pt x="3546728" y="345955"/>
                    <a:pt x="3550740" y="341943"/>
                    <a:pt x="3555688" y="341943"/>
                  </a:cubicBezTo>
                  <a:close/>
                  <a:moveTo>
                    <a:pt x="3724429" y="341943"/>
                  </a:moveTo>
                  <a:cubicBezTo>
                    <a:pt x="3729378" y="341943"/>
                    <a:pt x="3733390" y="345955"/>
                    <a:pt x="3733390" y="350903"/>
                  </a:cubicBezTo>
                  <a:cubicBezTo>
                    <a:pt x="3733390" y="355852"/>
                    <a:pt x="3729378" y="359864"/>
                    <a:pt x="3724429" y="359864"/>
                  </a:cubicBezTo>
                  <a:cubicBezTo>
                    <a:pt x="3719481" y="359864"/>
                    <a:pt x="3715469" y="355852"/>
                    <a:pt x="3715469" y="350903"/>
                  </a:cubicBezTo>
                  <a:cubicBezTo>
                    <a:pt x="3715469" y="345955"/>
                    <a:pt x="3719481" y="341943"/>
                    <a:pt x="3724429" y="341943"/>
                  </a:cubicBezTo>
                  <a:close/>
                  <a:moveTo>
                    <a:pt x="3893170" y="341943"/>
                  </a:moveTo>
                  <a:cubicBezTo>
                    <a:pt x="3898119" y="341943"/>
                    <a:pt x="3902131" y="345955"/>
                    <a:pt x="3902131" y="350903"/>
                  </a:cubicBezTo>
                  <a:cubicBezTo>
                    <a:pt x="3902131" y="355852"/>
                    <a:pt x="3898119" y="359864"/>
                    <a:pt x="3893170" y="359864"/>
                  </a:cubicBezTo>
                  <a:cubicBezTo>
                    <a:pt x="3888221" y="359864"/>
                    <a:pt x="3884210" y="355852"/>
                    <a:pt x="3884210" y="350903"/>
                  </a:cubicBezTo>
                  <a:cubicBezTo>
                    <a:pt x="3884210" y="345955"/>
                    <a:pt x="3888221" y="341943"/>
                    <a:pt x="3893170" y="341943"/>
                  </a:cubicBezTo>
                  <a:close/>
                  <a:moveTo>
                    <a:pt x="4061912" y="341943"/>
                  </a:moveTo>
                  <a:cubicBezTo>
                    <a:pt x="4066861" y="341943"/>
                    <a:pt x="4070873" y="345955"/>
                    <a:pt x="4070873" y="350903"/>
                  </a:cubicBezTo>
                  <a:cubicBezTo>
                    <a:pt x="4070873" y="355852"/>
                    <a:pt x="4066861" y="359863"/>
                    <a:pt x="4061912" y="359863"/>
                  </a:cubicBezTo>
                  <a:cubicBezTo>
                    <a:pt x="4056963" y="359863"/>
                    <a:pt x="4052952" y="355852"/>
                    <a:pt x="4052952" y="350903"/>
                  </a:cubicBezTo>
                  <a:cubicBezTo>
                    <a:pt x="4052952" y="345955"/>
                    <a:pt x="4056963" y="341943"/>
                    <a:pt x="4061912" y="341943"/>
                  </a:cubicBezTo>
                  <a:close/>
                  <a:moveTo>
                    <a:pt x="4230654" y="341943"/>
                  </a:moveTo>
                  <a:cubicBezTo>
                    <a:pt x="4235603" y="341943"/>
                    <a:pt x="4239615" y="345954"/>
                    <a:pt x="4239615" y="350903"/>
                  </a:cubicBezTo>
                  <a:cubicBezTo>
                    <a:pt x="4239615" y="355852"/>
                    <a:pt x="4235603" y="359863"/>
                    <a:pt x="4230654" y="359863"/>
                  </a:cubicBezTo>
                  <a:cubicBezTo>
                    <a:pt x="4225705" y="359863"/>
                    <a:pt x="4221694" y="355852"/>
                    <a:pt x="4221694" y="350903"/>
                  </a:cubicBezTo>
                  <a:cubicBezTo>
                    <a:pt x="4221694" y="345954"/>
                    <a:pt x="4225705" y="341943"/>
                    <a:pt x="4230654" y="341943"/>
                  </a:cubicBezTo>
                  <a:close/>
                  <a:moveTo>
                    <a:pt x="4568137" y="341943"/>
                  </a:moveTo>
                  <a:cubicBezTo>
                    <a:pt x="4573086" y="341943"/>
                    <a:pt x="4577098" y="345954"/>
                    <a:pt x="4577098" y="350903"/>
                  </a:cubicBezTo>
                  <a:cubicBezTo>
                    <a:pt x="4577098" y="355851"/>
                    <a:pt x="4573086" y="359863"/>
                    <a:pt x="4568137" y="359863"/>
                  </a:cubicBezTo>
                  <a:cubicBezTo>
                    <a:pt x="4563188" y="359863"/>
                    <a:pt x="4559177" y="355851"/>
                    <a:pt x="4559177" y="350903"/>
                  </a:cubicBezTo>
                  <a:cubicBezTo>
                    <a:pt x="4559177" y="345954"/>
                    <a:pt x="4563188" y="341943"/>
                    <a:pt x="4568137" y="341943"/>
                  </a:cubicBezTo>
                  <a:close/>
                  <a:moveTo>
                    <a:pt x="4399396" y="341943"/>
                  </a:moveTo>
                  <a:cubicBezTo>
                    <a:pt x="4404345" y="341943"/>
                    <a:pt x="4408357" y="345954"/>
                    <a:pt x="4408357" y="350903"/>
                  </a:cubicBezTo>
                  <a:cubicBezTo>
                    <a:pt x="4408357" y="355851"/>
                    <a:pt x="4404345" y="359863"/>
                    <a:pt x="4399396" y="359863"/>
                  </a:cubicBezTo>
                  <a:cubicBezTo>
                    <a:pt x="4394447" y="359863"/>
                    <a:pt x="4390436" y="355851"/>
                    <a:pt x="4390436" y="350903"/>
                  </a:cubicBezTo>
                  <a:cubicBezTo>
                    <a:pt x="4390436" y="345954"/>
                    <a:pt x="4394447" y="341943"/>
                    <a:pt x="4399396" y="341943"/>
                  </a:cubicBezTo>
                  <a:close/>
                  <a:moveTo>
                    <a:pt x="4736878" y="341942"/>
                  </a:moveTo>
                  <a:cubicBezTo>
                    <a:pt x="4741827" y="341942"/>
                    <a:pt x="4745839" y="345954"/>
                    <a:pt x="4745839" y="350903"/>
                  </a:cubicBezTo>
                  <a:cubicBezTo>
                    <a:pt x="4745839" y="355851"/>
                    <a:pt x="4741827" y="359863"/>
                    <a:pt x="4736878" y="359863"/>
                  </a:cubicBezTo>
                  <a:cubicBezTo>
                    <a:pt x="4731929" y="359863"/>
                    <a:pt x="4727918" y="355851"/>
                    <a:pt x="4727918" y="350903"/>
                  </a:cubicBezTo>
                  <a:cubicBezTo>
                    <a:pt x="4727918" y="345954"/>
                    <a:pt x="4731929" y="341942"/>
                    <a:pt x="4736878" y="341942"/>
                  </a:cubicBezTo>
                  <a:close/>
                  <a:moveTo>
                    <a:pt x="4905620" y="341942"/>
                  </a:moveTo>
                  <a:cubicBezTo>
                    <a:pt x="4910569" y="341942"/>
                    <a:pt x="4914581" y="345954"/>
                    <a:pt x="4914581" y="350903"/>
                  </a:cubicBezTo>
                  <a:cubicBezTo>
                    <a:pt x="4914581" y="355851"/>
                    <a:pt x="4910569" y="359863"/>
                    <a:pt x="4905620" y="359863"/>
                  </a:cubicBezTo>
                  <a:cubicBezTo>
                    <a:pt x="4900671" y="359863"/>
                    <a:pt x="4896660" y="355851"/>
                    <a:pt x="4896660" y="350903"/>
                  </a:cubicBezTo>
                  <a:cubicBezTo>
                    <a:pt x="4896660" y="345954"/>
                    <a:pt x="4900671" y="341942"/>
                    <a:pt x="4905620" y="341942"/>
                  </a:cubicBezTo>
                  <a:close/>
                  <a:moveTo>
                    <a:pt x="5074362" y="341942"/>
                  </a:moveTo>
                  <a:cubicBezTo>
                    <a:pt x="5079311" y="341942"/>
                    <a:pt x="5083323" y="345954"/>
                    <a:pt x="5083323" y="350902"/>
                  </a:cubicBezTo>
                  <a:cubicBezTo>
                    <a:pt x="5083323" y="355851"/>
                    <a:pt x="5079311" y="359863"/>
                    <a:pt x="5074362" y="359863"/>
                  </a:cubicBezTo>
                  <a:cubicBezTo>
                    <a:pt x="5069413" y="359863"/>
                    <a:pt x="5065402" y="355851"/>
                    <a:pt x="5065402" y="350902"/>
                  </a:cubicBezTo>
                  <a:cubicBezTo>
                    <a:pt x="5065402" y="345954"/>
                    <a:pt x="5069413" y="341942"/>
                    <a:pt x="5074362" y="341942"/>
                  </a:cubicBezTo>
                  <a:close/>
                  <a:moveTo>
                    <a:pt x="5243103" y="341942"/>
                  </a:moveTo>
                  <a:cubicBezTo>
                    <a:pt x="5248052" y="341942"/>
                    <a:pt x="5252064" y="345954"/>
                    <a:pt x="5252064" y="350902"/>
                  </a:cubicBezTo>
                  <a:cubicBezTo>
                    <a:pt x="5252064" y="355851"/>
                    <a:pt x="5248052" y="359862"/>
                    <a:pt x="5243103" y="359862"/>
                  </a:cubicBezTo>
                  <a:cubicBezTo>
                    <a:pt x="5238154" y="359862"/>
                    <a:pt x="5234143" y="355851"/>
                    <a:pt x="5234143" y="350902"/>
                  </a:cubicBezTo>
                  <a:cubicBezTo>
                    <a:pt x="5234143" y="345954"/>
                    <a:pt x="5238154" y="341942"/>
                    <a:pt x="5243103" y="341942"/>
                  </a:cubicBezTo>
                  <a:close/>
                  <a:moveTo>
                    <a:pt x="5411845" y="341942"/>
                  </a:moveTo>
                  <a:cubicBezTo>
                    <a:pt x="5416794" y="341942"/>
                    <a:pt x="5420806" y="345953"/>
                    <a:pt x="5420806" y="350902"/>
                  </a:cubicBezTo>
                  <a:cubicBezTo>
                    <a:pt x="5420806" y="355851"/>
                    <a:pt x="5416794" y="359862"/>
                    <a:pt x="5411845" y="359862"/>
                  </a:cubicBezTo>
                  <a:cubicBezTo>
                    <a:pt x="5406896" y="359862"/>
                    <a:pt x="5402885" y="355851"/>
                    <a:pt x="5402885" y="350902"/>
                  </a:cubicBezTo>
                  <a:cubicBezTo>
                    <a:pt x="5402885" y="345953"/>
                    <a:pt x="5406896" y="341942"/>
                    <a:pt x="5411845" y="341942"/>
                  </a:cubicBezTo>
                  <a:close/>
                  <a:moveTo>
                    <a:pt x="5580586" y="341942"/>
                  </a:moveTo>
                  <a:cubicBezTo>
                    <a:pt x="5585535" y="341942"/>
                    <a:pt x="5589547" y="345953"/>
                    <a:pt x="5589547" y="350902"/>
                  </a:cubicBezTo>
                  <a:cubicBezTo>
                    <a:pt x="5589547" y="355851"/>
                    <a:pt x="5585535" y="359862"/>
                    <a:pt x="5580586" y="359862"/>
                  </a:cubicBezTo>
                  <a:cubicBezTo>
                    <a:pt x="5575637" y="359862"/>
                    <a:pt x="5571626" y="355851"/>
                    <a:pt x="5571626" y="350902"/>
                  </a:cubicBezTo>
                  <a:cubicBezTo>
                    <a:pt x="5571626" y="345953"/>
                    <a:pt x="5575637" y="341942"/>
                    <a:pt x="5580586" y="341942"/>
                  </a:cubicBezTo>
                  <a:close/>
                  <a:moveTo>
                    <a:pt x="5749328" y="341942"/>
                  </a:moveTo>
                  <a:cubicBezTo>
                    <a:pt x="5754277" y="341942"/>
                    <a:pt x="5758289" y="345953"/>
                    <a:pt x="5758289" y="350902"/>
                  </a:cubicBezTo>
                  <a:cubicBezTo>
                    <a:pt x="5758289" y="355850"/>
                    <a:pt x="5754277" y="359862"/>
                    <a:pt x="5749328" y="359862"/>
                  </a:cubicBezTo>
                  <a:cubicBezTo>
                    <a:pt x="5744379" y="359862"/>
                    <a:pt x="5740368" y="355850"/>
                    <a:pt x="5740368" y="350902"/>
                  </a:cubicBezTo>
                  <a:cubicBezTo>
                    <a:pt x="5740368" y="345953"/>
                    <a:pt x="5744379" y="341942"/>
                    <a:pt x="5749328" y="341942"/>
                  </a:cubicBezTo>
                  <a:close/>
                  <a:moveTo>
                    <a:pt x="5918069" y="341942"/>
                  </a:moveTo>
                  <a:cubicBezTo>
                    <a:pt x="5923018" y="341942"/>
                    <a:pt x="5927030" y="345953"/>
                    <a:pt x="5927030" y="350902"/>
                  </a:cubicBezTo>
                  <a:cubicBezTo>
                    <a:pt x="5927030" y="355850"/>
                    <a:pt x="5923018" y="359862"/>
                    <a:pt x="5918069" y="359862"/>
                  </a:cubicBezTo>
                  <a:cubicBezTo>
                    <a:pt x="5913120" y="359862"/>
                    <a:pt x="5909109" y="355850"/>
                    <a:pt x="5909109" y="350902"/>
                  </a:cubicBezTo>
                  <a:cubicBezTo>
                    <a:pt x="5909109" y="345953"/>
                    <a:pt x="5913120" y="341942"/>
                    <a:pt x="5918069" y="341942"/>
                  </a:cubicBezTo>
                  <a:close/>
                  <a:moveTo>
                    <a:pt x="6086811" y="341941"/>
                  </a:moveTo>
                  <a:cubicBezTo>
                    <a:pt x="6091760" y="341941"/>
                    <a:pt x="6095772" y="345953"/>
                    <a:pt x="6095772" y="350902"/>
                  </a:cubicBezTo>
                  <a:cubicBezTo>
                    <a:pt x="6095772" y="355850"/>
                    <a:pt x="6091760" y="359862"/>
                    <a:pt x="6086811" y="359862"/>
                  </a:cubicBezTo>
                  <a:cubicBezTo>
                    <a:pt x="6081862" y="359862"/>
                    <a:pt x="6077851" y="355850"/>
                    <a:pt x="6077851" y="350902"/>
                  </a:cubicBezTo>
                  <a:cubicBezTo>
                    <a:pt x="6077851" y="345953"/>
                    <a:pt x="6081862" y="341941"/>
                    <a:pt x="6086811" y="341941"/>
                  </a:cubicBezTo>
                  <a:close/>
                  <a:moveTo>
                    <a:pt x="6255553" y="341941"/>
                  </a:moveTo>
                  <a:cubicBezTo>
                    <a:pt x="6260502" y="341941"/>
                    <a:pt x="6264514" y="345953"/>
                    <a:pt x="6264514" y="350902"/>
                  </a:cubicBezTo>
                  <a:cubicBezTo>
                    <a:pt x="6264514" y="355850"/>
                    <a:pt x="6260502" y="359862"/>
                    <a:pt x="6255553" y="359862"/>
                  </a:cubicBezTo>
                  <a:cubicBezTo>
                    <a:pt x="6250604" y="359862"/>
                    <a:pt x="6246593" y="355850"/>
                    <a:pt x="6246593" y="350902"/>
                  </a:cubicBezTo>
                  <a:cubicBezTo>
                    <a:pt x="6246593" y="345953"/>
                    <a:pt x="6250604" y="341941"/>
                    <a:pt x="6255553" y="341941"/>
                  </a:cubicBezTo>
                  <a:close/>
                  <a:moveTo>
                    <a:pt x="6424294" y="341941"/>
                  </a:moveTo>
                  <a:cubicBezTo>
                    <a:pt x="6429243" y="341941"/>
                    <a:pt x="6433255" y="345953"/>
                    <a:pt x="6433255" y="350901"/>
                  </a:cubicBezTo>
                  <a:cubicBezTo>
                    <a:pt x="6433255" y="355850"/>
                    <a:pt x="6429243" y="359862"/>
                    <a:pt x="6424294" y="359862"/>
                  </a:cubicBezTo>
                  <a:cubicBezTo>
                    <a:pt x="6419345" y="359862"/>
                    <a:pt x="6415334" y="355850"/>
                    <a:pt x="6415334" y="350901"/>
                  </a:cubicBezTo>
                  <a:cubicBezTo>
                    <a:pt x="6415334" y="345953"/>
                    <a:pt x="6419345" y="341941"/>
                    <a:pt x="6424294" y="341941"/>
                  </a:cubicBezTo>
                  <a:close/>
                  <a:moveTo>
                    <a:pt x="6763357" y="341941"/>
                  </a:moveTo>
                  <a:cubicBezTo>
                    <a:pt x="6768306" y="341941"/>
                    <a:pt x="6772318" y="345953"/>
                    <a:pt x="6772318" y="350901"/>
                  </a:cubicBezTo>
                  <a:cubicBezTo>
                    <a:pt x="6772318" y="355850"/>
                    <a:pt x="6768306" y="359861"/>
                    <a:pt x="6763357" y="359861"/>
                  </a:cubicBezTo>
                  <a:cubicBezTo>
                    <a:pt x="6758408" y="359861"/>
                    <a:pt x="6754397" y="355850"/>
                    <a:pt x="6754397" y="350901"/>
                  </a:cubicBezTo>
                  <a:cubicBezTo>
                    <a:pt x="6754397" y="345953"/>
                    <a:pt x="6758408" y="341941"/>
                    <a:pt x="6763357" y="341941"/>
                  </a:cubicBezTo>
                  <a:close/>
                  <a:moveTo>
                    <a:pt x="6593035" y="341941"/>
                  </a:moveTo>
                  <a:cubicBezTo>
                    <a:pt x="6597984" y="341941"/>
                    <a:pt x="6601996" y="345953"/>
                    <a:pt x="6601996" y="350901"/>
                  </a:cubicBezTo>
                  <a:cubicBezTo>
                    <a:pt x="6601996" y="355850"/>
                    <a:pt x="6597984" y="359861"/>
                    <a:pt x="6593035" y="359861"/>
                  </a:cubicBezTo>
                  <a:cubicBezTo>
                    <a:pt x="6588086" y="359861"/>
                    <a:pt x="6584075" y="355850"/>
                    <a:pt x="6584075" y="350901"/>
                  </a:cubicBezTo>
                  <a:cubicBezTo>
                    <a:pt x="6584075" y="345953"/>
                    <a:pt x="6588086" y="341941"/>
                    <a:pt x="6593035" y="341941"/>
                  </a:cubicBezTo>
                  <a:close/>
                  <a:moveTo>
                    <a:pt x="6933679" y="341941"/>
                  </a:moveTo>
                  <a:cubicBezTo>
                    <a:pt x="6938628" y="341941"/>
                    <a:pt x="6942639" y="345952"/>
                    <a:pt x="6942639" y="350901"/>
                  </a:cubicBezTo>
                  <a:cubicBezTo>
                    <a:pt x="6942639" y="355850"/>
                    <a:pt x="6938628" y="359861"/>
                    <a:pt x="6933679" y="359861"/>
                  </a:cubicBezTo>
                  <a:cubicBezTo>
                    <a:pt x="6928730" y="359861"/>
                    <a:pt x="6924718" y="355850"/>
                    <a:pt x="6924718" y="350901"/>
                  </a:cubicBezTo>
                  <a:cubicBezTo>
                    <a:pt x="6924718" y="345952"/>
                    <a:pt x="6928730" y="341941"/>
                    <a:pt x="6933679" y="341941"/>
                  </a:cubicBezTo>
                  <a:close/>
                  <a:moveTo>
                    <a:pt x="349809" y="170975"/>
                  </a:moveTo>
                  <a:cubicBezTo>
                    <a:pt x="354758" y="170975"/>
                    <a:pt x="358770" y="174986"/>
                    <a:pt x="358770" y="179935"/>
                  </a:cubicBezTo>
                  <a:cubicBezTo>
                    <a:pt x="358770" y="184884"/>
                    <a:pt x="354758" y="188895"/>
                    <a:pt x="349809" y="188895"/>
                  </a:cubicBezTo>
                  <a:cubicBezTo>
                    <a:pt x="344862" y="188895"/>
                    <a:pt x="340850" y="184884"/>
                    <a:pt x="340850" y="179935"/>
                  </a:cubicBezTo>
                  <a:cubicBezTo>
                    <a:pt x="340850" y="174986"/>
                    <a:pt x="344862" y="170975"/>
                    <a:pt x="349809" y="170975"/>
                  </a:cubicBezTo>
                  <a:close/>
                  <a:moveTo>
                    <a:pt x="179493" y="170975"/>
                  </a:moveTo>
                  <a:cubicBezTo>
                    <a:pt x="184442" y="170975"/>
                    <a:pt x="188454" y="174986"/>
                    <a:pt x="188454" y="179935"/>
                  </a:cubicBezTo>
                  <a:cubicBezTo>
                    <a:pt x="188454" y="184884"/>
                    <a:pt x="184442" y="188895"/>
                    <a:pt x="179493" y="188895"/>
                  </a:cubicBezTo>
                  <a:cubicBezTo>
                    <a:pt x="174545" y="188895"/>
                    <a:pt x="170533" y="184884"/>
                    <a:pt x="170533" y="179935"/>
                  </a:cubicBezTo>
                  <a:cubicBezTo>
                    <a:pt x="170533" y="174986"/>
                    <a:pt x="174545" y="170975"/>
                    <a:pt x="179493" y="170975"/>
                  </a:cubicBezTo>
                  <a:close/>
                  <a:moveTo>
                    <a:pt x="9179" y="170975"/>
                  </a:moveTo>
                  <a:cubicBezTo>
                    <a:pt x="14127" y="170975"/>
                    <a:pt x="18138" y="174986"/>
                    <a:pt x="18138" y="179935"/>
                  </a:cubicBezTo>
                  <a:cubicBezTo>
                    <a:pt x="18138" y="184883"/>
                    <a:pt x="14127" y="188895"/>
                    <a:pt x="9179" y="188895"/>
                  </a:cubicBezTo>
                  <a:cubicBezTo>
                    <a:pt x="4231" y="188895"/>
                    <a:pt x="219" y="184883"/>
                    <a:pt x="219" y="179935"/>
                  </a:cubicBezTo>
                  <a:cubicBezTo>
                    <a:pt x="219" y="174986"/>
                    <a:pt x="4231" y="170975"/>
                    <a:pt x="9179" y="170975"/>
                  </a:cubicBezTo>
                  <a:close/>
                  <a:moveTo>
                    <a:pt x="518546" y="170974"/>
                  </a:moveTo>
                  <a:cubicBezTo>
                    <a:pt x="523494" y="170974"/>
                    <a:pt x="527506" y="174986"/>
                    <a:pt x="527506" y="179935"/>
                  </a:cubicBezTo>
                  <a:cubicBezTo>
                    <a:pt x="527506" y="184883"/>
                    <a:pt x="523494" y="188895"/>
                    <a:pt x="518546" y="188895"/>
                  </a:cubicBezTo>
                  <a:cubicBezTo>
                    <a:pt x="513597" y="188895"/>
                    <a:pt x="509585" y="184883"/>
                    <a:pt x="509585" y="179935"/>
                  </a:cubicBezTo>
                  <a:cubicBezTo>
                    <a:pt x="509585" y="174986"/>
                    <a:pt x="513597" y="170974"/>
                    <a:pt x="518546" y="170974"/>
                  </a:cubicBezTo>
                  <a:close/>
                  <a:moveTo>
                    <a:pt x="687330" y="170974"/>
                  </a:moveTo>
                  <a:cubicBezTo>
                    <a:pt x="692279" y="170974"/>
                    <a:pt x="696290" y="174986"/>
                    <a:pt x="696290" y="179935"/>
                  </a:cubicBezTo>
                  <a:cubicBezTo>
                    <a:pt x="696290" y="184883"/>
                    <a:pt x="692279" y="188895"/>
                    <a:pt x="687330" y="188895"/>
                  </a:cubicBezTo>
                  <a:cubicBezTo>
                    <a:pt x="682382" y="188895"/>
                    <a:pt x="678372" y="184883"/>
                    <a:pt x="678372" y="179935"/>
                  </a:cubicBezTo>
                  <a:cubicBezTo>
                    <a:pt x="678372" y="174986"/>
                    <a:pt x="682382" y="170974"/>
                    <a:pt x="687330" y="170974"/>
                  </a:cubicBezTo>
                  <a:close/>
                  <a:moveTo>
                    <a:pt x="856068" y="170974"/>
                  </a:moveTo>
                  <a:cubicBezTo>
                    <a:pt x="861016" y="170974"/>
                    <a:pt x="865028" y="174986"/>
                    <a:pt x="865028" y="179934"/>
                  </a:cubicBezTo>
                  <a:cubicBezTo>
                    <a:pt x="865028" y="184883"/>
                    <a:pt x="861016" y="188895"/>
                    <a:pt x="856068" y="188895"/>
                  </a:cubicBezTo>
                  <a:cubicBezTo>
                    <a:pt x="851116" y="188895"/>
                    <a:pt x="847109" y="184883"/>
                    <a:pt x="847109" y="179934"/>
                  </a:cubicBezTo>
                  <a:cubicBezTo>
                    <a:pt x="847109" y="174986"/>
                    <a:pt x="851116" y="170974"/>
                    <a:pt x="856068" y="170974"/>
                  </a:cubicBezTo>
                  <a:close/>
                  <a:moveTo>
                    <a:pt x="1024788" y="170974"/>
                  </a:moveTo>
                  <a:cubicBezTo>
                    <a:pt x="1029739" y="170974"/>
                    <a:pt x="1033757" y="174986"/>
                    <a:pt x="1033757" y="179934"/>
                  </a:cubicBezTo>
                  <a:cubicBezTo>
                    <a:pt x="1033757" y="184883"/>
                    <a:pt x="1029739" y="188895"/>
                    <a:pt x="1024788" y="188895"/>
                  </a:cubicBezTo>
                  <a:cubicBezTo>
                    <a:pt x="1019838" y="188895"/>
                    <a:pt x="1015826" y="184883"/>
                    <a:pt x="1015826" y="179934"/>
                  </a:cubicBezTo>
                  <a:cubicBezTo>
                    <a:pt x="1015826" y="174986"/>
                    <a:pt x="1019838" y="170974"/>
                    <a:pt x="1024788" y="170974"/>
                  </a:cubicBezTo>
                  <a:close/>
                  <a:moveTo>
                    <a:pt x="1193547" y="170974"/>
                  </a:moveTo>
                  <a:cubicBezTo>
                    <a:pt x="1198495" y="170974"/>
                    <a:pt x="1202507" y="174986"/>
                    <a:pt x="1202507" y="179934"/>
                  </a:cubicBezTo>
                  <a:cubicBezTo>
                    <a:pt x="1202507" y="184883"/>
                    <a:pt x="1198495" y="188894"/>
                    <a:pt x="1193547" y="188894"/>
                  </a:cubicBezTo>
                  <a:cubicBezTo>
                    <a:pt x="1188600" y="188894"/>
                    <a:pt x="1184590" y="184883"/>
                    <a:pt x="1184590" y="179934"/>
                  </a:cubicBezTo>
                  <a:cubicBezTo>
                    <a:pt x="1184590" y="174986"/>
                    <a:pt x="1188600" y="170974"/>
                    <a:pt x="1193547" y="170974"/>
                  </a:cubicBezTo>
                  <a:close/>
                  <a:moveTo>
                    <a:pt x="1531046" y="170974"/>
                  </a:moveTo>
                  <a:cubicBezTo>
                    <a:pt x="1535996" y="170974"/>
                    <a:pt x="1540008" y="174985"/>
                    <a:pt x="1540008" y="179934"/>
                  </a:cubicBezTo>
                  <a:cubicBezTo>
                    <a:pt x="1540008" y="184882"/>
                    <a:pt x="1535996" y="188894"/>
                    <a:pt x="1531046" y="188894"/>
                  </a:cubicBezTo>
                  <a:cubicBezTo>
                    <a:pt x="1526095" y="188894"/>
                    <a:pt x="1522083" y="184882"/>
                    <a:pt x="1522083" y="179934"/>
                  </a:cubicBezTo>
                  <a:cubicBezTo>
                    <a:pt x="1522083" y="174985"/>
                    <a:pt x="1526095" y="170974"/>
                    <a:pt x="1531046" y="170974"/>
                  </a:cubicBezTo>
                  <a:close/>
                  <a:moveTo>
                    <a:pt x="1362289" y="170974"/>
                  </a:moveTo>
                  <a:cubicBezTo>
                    <a:pt x="1367245" y="170974"/>
                    <a:pt x="1371253" y="174985"/>
                    <a:pt x="1371253" y="179934"/>
                  </a:cubicBezTo>
                  <a:cubicBezTo>
                    <a:pt x="1371253" y="184883"/>
                    <a:pt x="1367245" y="188894"/>
                    <a:pt x="1362289" y="188894"/>
                  </a:cubicBezTo>
                  <a:cubicBezTo>
                    <a:pt x="1357340" y="188894"/>
                    <a:pt x="1353328" y="184883"/>
                    <a:pt x="1353328" y="179934"/>
                  </a:cubicBezTo>
                  <a:cubicBezTo>
                    <a:pt x="1353328" y="174985"/>
                    <a:pt x="1357340" y="170974"/>
                    <a:pt x="1362289" y="170974"/>
                  </a:cubicBezTo>
                  <a:close/>
                  <a:moveTo>
                    <a:pt x="1699786" y="170974"/>
                  </a:moveTo>
                  <a:cubicBezTo>
                    <a:pt x="1704743" y="170974"/>
                    <a:pt x="1708759" y="174985"/>
                    <a:pt x="1708759" y="179934"/>
                  </a:cubicBezTo>
                  <a:cubicBezTo>
                    <a:pt x="1708759" y="184882"/>
                    <a:pt x="1704743" y="188894"/>
                    <a:pt x="1699786" y="188894"/>
                  </a:cubicBezTo>
                  <a:cubicBezTo>
                    <a:pt x="1694832" y="188894"/>
                    <a:pt x="1690815" y="184882"/>
                    <a:pt x="1690815" y="179934"/>
                  </a:cubicBezTo>
                  <a:cubicBezTo>
                    <a:pt x="1690815" y="174985"/>
                    <a:pt x="1694832" y="170974"/>
                    <a:pt x="1699786" y="170974"/>
                  </a:cubicBezTo>
                  <a:close/>
                  <a:moveTo>
                    <a:pt x="1868544" y="170973"/>
                  </a:moveTo>
                  <a:cubicBezTo>
                    <a:pt x="1873477" y="170973"/>
                    <a:pt x="1877486" y="174985"/>
                    <a:pt x="1877486" y="179934"/>
                  </a:cubicBezTo>
                  <a:cubicBezTo>
                    <a:pt x="1877486" y="184882"/>
                    <a:pt x="1873477" y="188894"/>
                    <a:pt x="1868544" y="188894"/>
                  </a:cubicBezTo>
                  <a:cubicBezTo>
                    <a:pt x="1863581" y="188894"/>
                    <a:pt x="1859562" y="184882"/>
                    <a:pt x="1859562" y="179934"/>
                  </a:cubicBezTo>
                  <a:cubicBezTo>
                    <a:pt x="1859562" y="174985"/>
                    <a:pt x="1863581" y="170973"/>
                    <a:pt x="1868544" y="170973"/>
                  </a:cubicBezTo>
                  <a:close/>
                  <a:moveTo>
                    <a:pt x="2037240" y="170973"/>
                  </a:moveTo>
                  <a:cubicBezTo>
                    <a:pt x="2042198" y="170973"/>
                    <a:pt x="2046170" y="174985"/>
                    <a:pt x="2046170" y="179934"/>
                  </a:cubicBezTo>
                  <a:cubicBezTo>
                    <a:pt x="2046170" y="184882"/>
                    <a:pt x="2042198" y="188894"/>
                    <a:pt x="2037240" y="188894"/>
                  </a:cubicBezTo>
                  <a:cubicBezTo>
                    <a:pt x="2032298" y="188894"/>
                    <a:pt x="2028309" y="184882"/>
                    <a:pt x="2028309" y="179934"/>
                  </a:cubicBezTo>
                  <a:cubicBezTo>
                    <a:pt x="2028309" y="174985"/>
                    <a:pt x="2032298" y="170973"/>
                    <a:pt x="2037240" y="170973"/>
                  </a:cubicBezTo>
                  <a:close/>
                  <a:moveTo>
                    <a:pt x="2205981" y="170973"/>
                  </a:moveTo>
                  <a:cubicBezTo>
                    <a:pt x="2210930" y="170973"/>
                    <a:pt x="2214935" y="174985"/>
                    <a:pt x="2214935" y="179933"/>
                  </a:cubicBezTo>
                  <a:cubicBezTo>
                    <a:pt x="2214935" y="184882"/>
                    <a:pt x="2210930" y="188894"/>
                    <a:pt x="2205981" y="188894"/>
                  </a:cubicBezTo>
                  <a:cubicBezTo>
                    <a:pt x="2201001" y="188894"/>
                    <a:pt x="2196982" y="184882"/>
                    <a:pt x="2196982" y="179933"/>
                  </a:cubicBezTo>
                  <a:cubicBezTo>
                    <a:pt x="2196982" y="174985"/>
                    <a:pt x="2201001" y="170973"/>
                    <a:pt x="2205981" y="170973"/>
                  </a:cubicBezTo>
                  <a:close/>
                  <a:moveTo>
                    <a:pt x="2374666" y="170973"/>
                  </a:moveTo>
                  <a:cubicBezTo>
                    <a:pt x="2379635" y="170973"/>
                    <a:pt x="2383694" y="174985"/>
                    <a:pt x="2383694" y="179933"/>
                  </a:cubicBezTo>
                  <a:cubicBezTo>
                    <a:pt x="2383694" y="184882"/>
                    <a:pt x="2379635" y="188893"/>
                    <a:pt x="2374666" y="188893"/>
                  </a:cubicBezTo>
                  <a:cubicBezTo>
                    <a:pt x="2369712" y="188893"/>
                    <a:pt x="2365703" y="184882"/>
                    <a:pt x="2365703" y="179933"/>
                  </a:cubicBezTo>
                  <a:cubicBezTo>
                    <a:pt x="2365703" y="174985"/>
                    <a:pt x="2369712" y="170973"/>
                    <a:pt x="2374666" y="170973"/>
                  </a:cubicBezTo>
                  <a:close/>
                  <a:moveTo>
                    <a:pt x="2543486" y="170973"/>
                  </a:moveTo>
                  <a:cubicBezTo>
                    <a:pt x="2548441" y="170973"/>
                    <a:pt x="2552450" y="174985"/>
                    <a:pt x="2552450" y="179933"/>
                  </a:cubicBezTo>
                  <a:cubicBezTo>
                    <a:pt x="2552450" y="184882"/>
                    <a:pt x="2548441" y="188893"/>
                    <a:pt x="2543486" y="188893"/>
                  </a:cubicBezTo>
                  <a:cubicBezTo>
                    <a:pt x="2538531" y="188893"/>
                    <a:pt x="2534510" y="184882"/>
                    <a:pt x="2534510" y="179933"/>
                  </a:cubicBezTo>
                  <a:cubicBezTo>
                    <a:pt x="2534510" y="174985"/>
                    <a:pt x="2538531" y="170973"/>
                    <a:pt x="2543486" y="170973"/>
                  </a:cubicBezTo>
                  <a:close/>
                  <a:moveTo>
                    <a:pt x="2712147" y="170973"/>
                  </a:moveTo>
                  <a:cubicBezTo>
                    <a:pt x="2717125" y="170973"/>
                    <a:pt x="2721134" y="174984"/>
                    <a:pt x="2721134" y="179933"/>
                  </a:cubicBezTo>
                  <a:cubicBezTo>
                    <a:pt x="2721134" y="184882"/>
                    <a:pt x="2717125" y="188893"/>
                    <a:pt x="2712147" y="188893"/>
                  </a:cubicBezTo>
                  <a:cubicBezTo>
                    <a:pt x="2707225" y="188893"/>
                    <a:pt x="2703200" y="184882"/>
                    <a:pt x="2703200" y="179933"/>
                  </a:cubicBezTo>
                  <a:cubicBezTo>
                    <a:pt x="2703200" y="174984"/>
                    <a:pt x="2707225" y="170973"/>
                    <a:pt x="2712147" y="170973"/>
                  </a:cubicBezTo>
                  <a:close/>
                  <a:moveTo>
                    <a:pt x="2880929" y="170973"/>
                  </a:moveTo>
                  <a:cubicBezTo>
                    <a:pt x="2885871" y="170973"/>
                    <a:pt x="2889883" y="174984"/>
                    <a:pt x="2889883" y="179933"/>
                  </a:cubicBezTo>
                  <a:cubicBezTo>
                    <a:pt x="2889883" y="184881"/>
                    <a:pt x="2885871" y="188893"/>
                    <a:pt x="2880929" y="188893"/>
                  </a:cubicBezTo>
                  <a:cubicBezTo>
                    <a:pt x="2875980" y="188893"/>
                    <a:pt x="2871972" y="184881"/>
                    <a:pt x="2871972" y="179933"/>
                  </a:cubicBezTo>
                  <a:cubicBezTo>
                    <a:pt x="2871972" y="174984"/>
                    <a:pt x="2875980" y="170973"/>
                    <a:pt x="2880929" y="170973"/>
                  </a:cubicBezTo>
                  <a:close/>
                  <a:moveTo>
                    <a:pt x="3049639" y="170973"/>
                  </a:moveTo>
                  <a:cubicBezTo>
                    <a:pt x="3054587" y="170973"/>
                    <a:pt x="3058596" y="174984"/>
                    <a:pt x="3058596" y="179933"/>
                  </a:cubicBezTo>
                  <a:cubicBezTo>
                    <a:pt x="3058596" y="184881"/>
                    <a:pt x="3054587" y="188893"/>
                    <a:pt x="3049639" y="188893"/>
                  </a:cubicBezTo>
                  <a:cubicBezTo>
                    <a:pt x="3044687" y="188893"/>
                    <a:pt x="3040669" y="184881"/>
                    <a:pt x="3040669" y="179933"/>
                  </a:cubicBezTo>
                  <a:cubicBezTo>
                    <a:pt x="3040669" y="174984"/>
                    <a:pt x="3044687" y="170973"/>
                    <a:pt x="3049639" y="170973"/>
                  </a:cubicBezTo>
                  <a:close/>
                  <a:moveTo>
                    <a:pt x="3218332" y="170972"/>
                  </a:moveTo>
                  <a:cubicBezTo>
                    <a:pt x="3223304" y="170972"/>
                    <a:pt x="3227308" y="174984"/>
                    <a:pt x="3227308" y="179933"/>
                  </a:cubicBezTo>
                  <a:cubicBezTo>
                    <a:pt x="3227308" y="184881"/>
                    <a:pt x="3223304" y="188893"/>
                    <a:pt x="3218332" y="188893"/>
                  </a:cubicBezTo>
                  <a:cubicBezTo>
                    <a:pt x="3213365" y="188893"/>
                    <a:pt x="3209362" y="184881"/>
                    <a:pt x="3209362" y="179933"/>
                  </a:cubicBezTo>
                  <a:cubicBezTo>
                    <a:pt x="3209362" y="174984"/>
                    <a:pt x="3213365" y="170972"/>
                    <a:pt x="3218332" y="170972"/>
                  </a:cubicBezTo>
                  <a:close/>
                  <a:moveTo>
                    <a:pt x="3387082" y="170972"/>
                  </a:moveTo>
                  <a:cubicBezTo>
                    <a:pt x="3392055" y="170972"/>
                    <a:pt x="3396067" y="174984"/>
                    <a:pt x="3396067" y="179932"/>
                  </a:cubicBezTo>
                  <a:cubicBezTo>
                    <a:pt x="3396067" y="184881"/>
                    <a:pt x="3392055" y="188893"/>
                    <a:pt x="3387082" y="188893"/>
                  </a:cubicBezTo>
                  <a:cubicBezTo>
                    <a:pt x="3382092" y="188893"/>
                    <a:pt x="3378066" y="184881"/>
                    <a:pt x="3378066" y="179932"/>
                  </a:cubicBezTo>
                  <a:cubicBezTo>
                    <a:pt x="3378066" y="174984"/>
                    <a:pt x="3382092" y="170972"/>
                    <a:pt x="3387082" y="170972"/>
                  </a:cubicBezTo>
                  <a:close/>
                  <a:moveTo>
                    <a:pt x="3555688" y="170972"/>
                  </a:moveTo>
                  <a:cubicBezTo>
                    <a:pt x="3560637" y="170972"/>
                    <a:pt x="3564649" y="174984"/>
                    <a:pt x="3564649" y="179932"/>
                  </a:cubicBezTo>
                  <a:cubicBezTo>
                    <a:pt x="3564649" y="184881"/>
                    <a:pt x="3560637" y="188893"/>
                    <a:pt x="3555688" y="188893"/>
                  </a:cubicBezTo>
                  <a:cubicBezTo>
                    <a:pt x="3550740" y="188893"/>
                    <a:pt x="3546728" y="184881"/>
                    <a:pt x="3546728" y="179932"/>
                  </a:cubicBezTo>
                  <a:cubicBezTo>
                    <a:pt x="3546728" y="174984"/>
                    <a:pt x="3550740" y="170972"/>
                    <a:pt x="3555688" y="170972"/>
                  </a:cubicBezTo>
                  <a:close/>
                  <a:moveTo>
                    <a:pt x="3724429" y="170972"/>
                  </a:moveTo>
                  <a:cubicBezTo>
                    <a:pt x="3729378" y="170972"/>
                    <a:pt x="3733390" y="174984"/>
                    <a:pt x="3733390" y="179932"/>
                  </a:cubicBezTo>
                  <a:cubicBezTo>
                    <a:pt x="3733390" y="184881"/>
                    <a:pt x="3729378" y="188893"/>
                    <a:pt x="3724429" y="188893"/>
                  </a:cubicBezTo>
                  <a:cubicBezTo>
                    <a:pt x="3719481" y="188893"/>
                    <a:pt x="3715469" y="184881"/>
                    <a:pt x="3715469" y="179932"/>
                  </a:cubicBezTo>
                  <a:cubicBezTo>
                    <a:pt x="3715469" y="174984"/>
                    <a:pt x="3719481" y="170972"/>
                    <a:pt x="3724429" y="170972"/>
                  </a:cubicBezTo>
                  <a:close/>
                  <a:moveTo>
                    <a:pt x="3893170" y="170972"/>
                  </a:moveTo>
                  <a:cubicBezTo>
                    <a:pt x="3898119" y="170972"/>
                    <a:pt x="3902131" y="174984"/>
                    <a:pt x="3902131" y="179932"/>
                  </a:cubicBezTo>
                  <a:cubicBezTo>
                    <a:pt x="3902131" y="184881"/>
                    <a:pt x="3898119" y="188892"/>
                    <a:pt x="3893170" y="188892"/>
                  </a:cubicBezTo>
                  <a:cubicBezTo>
                    <a:pt x="3888221" y="188892"/>
                    <a:pt x="3884210" y="184881"/>
                    <a:pt x="3884210" y="179932"/>
                  </a:cubicBezTo>
                  <a:cubicBezTo>
                    <a:pt x="3884210" y="174984"/>
                    <a:pt x="3888221" y="170972"/>
                    <a:pt x="3893170" y="170972"/>
                  </a:cubicBezTo>
                  <a:close/>
                  <a:moveTo>
                    <a:pt x="4061912" y="170972"/>
                  </a:moveTo>
                  <a:cubicBezTo>
                    <a:pt x="4066861" y="170972"/>
                    <a:pt x="4070873" y="174983"/>
                    <a:pt x="4070873" y="179932"/>
                  </a:cubicBezTo>
                  <a:cubicBezTo>
                    <a:pt x="4070873" y="184881"/>
                    <a:pt x="4066861" y="188892"/>
                    <a:pt x="4061912" y="188892"/>
                  </a:cubicBezTo>
                  <a:cubicBezTo>
                    <a:pt x="4056963" y="188892"/>
                    <a:pt x="4052952" y="184881"/>
                    <a:pt x="4052952" y="179932"/>
                  </a:cubicBezTo>
                  <a:cubicBezTo>
                    <a:pt x="4052952" y="174983"/>
                    <a:pt x="4056963" y="170972"/>
                    <a:pt x="4061912" y="170972"/>
                  </a:cubicBezTo>
                  <a:close/>
                  <a:moveTo>
                    <a:pt x="4399396" y="170972"/>
                  </a:moveTo>
                  <a:cubicBezTo>
                    <a:pt x="4404345" y="170972"/>
                    <a:pt x="4408357" y="174983"/>
                    <a:pt x="4408357" y="179932"/>
                  </a:cubicBezTo>
                  <a:cubicBezTo>
                    <a:pt x="4408357" y="184880"/>
                    <a:pt x="4404345" y="188892"/>
                    <a:pt x="4399396" y="188892"/>
                  </a:cubicBezTo>
                  <a:cubicBezTo>
                    <a:pt x="4394447" y="188892"/>
                    <a:pt x="4390436" y="184880"/>
                    <a:pt x="4390436" y="179932"/>
                  </a:cubicBezTo>
                  <a:cubicBezTo>
                    <a:pt x="4390436" y="174983"/>
                    <a:pt x="4394447" y="170972"/>
                    <a:pt x="4399396" y="170972"/>
                  </a:cubicBezTo>
                  <a:close/>
                  <a:moveTo>
                    <a:pt x="4230654" y="170972"/>
                  </a:moveTo>
                  <a:cubicBezTo>
                    <a:pt x="4235603" y="170972"/>
                    <a:pt x="4239615" y="174983"/>
                    <a:pt x="4239615" y="179932"/>
                  </a:cubicBezTo>
                  <a:cubicBezTo>
                    <a:pt x="4239615" y="184880"/>
                    <a:pt x="4235603" y="188892"/>
                    <a:pt x="4230654" y="188892"/>
                  </a:cubicBezTo>
                  <a:cubicBezTo>
                    <a:pt x="4225705" y="188892"/>
                    <a:pt x="4221694" y="184880"/>
                    <a:pt x="4221694" y="179932"/>
                  </a:cubicBezTo>
                  <a:cubicBezTo>
                    <a:pt x="4221694" y="174983"/>
                    <a:pt x="4225705" y="170972"/>
                    <a:pt x="4230654" y="170972"/>
                  </a:cubicBezTo>
                  <a:close/>
                  <a:moveTo>
                    <a:pt x="4568137" y="170971"/>
                  </a:moveTo>
                  <a:cubicBezTo>
                    <a:pt x="4573086" y="170971"/>
                    <a:pt x="4577098" y="174983"/>
                    <a:pt x="4577098" y="179932"/>
                  </a:cubicBezTo>
                  <a:cubicBezTo>
                    <a:pt x="4577098" y="184880"/>
                    <a:pt x="4573086" y="188892"/>
                    <a:pt x="4568137" y="188892"/>
                  </a:cubicBezTo>
                  <a:cubicBezTo>
                    <a:pt x="4563188" y="188892"/>
                    <a:pt x="4559177" y="184880"/>
                    <a:pt x="4559177" y="179932"/>
                  </a:cubicBezTo>
                  <a:cubicBezTo>
                    <a:pt x="4559177" y="174983"/>
                    <a:pt x="4563188" y="170971"/>
                    <a:pt x="4568137" y="170971"/>
                  </a:cubicBezTo>
                  <a:close/>
                  <a:moveTo>
                    <a:pt x="4736878" y="170971"/>
                  </a:moveTo>
                  <a:cubicBezTo>
                    <a:pt x="4741827" y="170971"/>
                    <a:pt x="4745839" y="174983"/>
                    <a:pt x="4745839" y="179931"/>
                  </a:cubicBezTo>
                  <a:cubicBezTo>
                    <a:pt x="4745839" y="184880"/>
                    <a:pt x="4741827" y="188892"/>
                    <a:pt x="4736878" y="188892"/>
                  </a:cubicBezTo>
                  <a:cubicBezTo>
                    <a:pt x="4731929" y="188892"/>
                    <a:pt x="4727918" y="184880"/>
                    <a:pt x="4727918" y="179931"/>
                  </a:cubicBezTo>
                  <a:cubicBezTo>
                    <a:pt x="4727918" y="174983"/>
                    <a:pt x="4731929" y="170971"/>
                    <a:pt x="4736878" y="170971"/>
                  </a:cubicBezTo>
                  <a:close/>
                  <a:moveTo>
                    <a:pt x="4905620" y="170971"/>
                  </a:moveTo>
                  <a:cubicBezTo>
                    <a:pt x="4910569" y="170971"/>
                    <a:pt x="4914581" y="174983"/>
                    <a:pt x="4914581" y="179931"/>
                  </a:cubicBezTo>
                  <a:cubicBezTo>
                    <a:pt x="4914581" y="184880"/>
                    <a:pt x="4910569" y="188892"/>
                    <a:pt x="4905620" y="188892"/>
                  </a:cubicBezTo>
                  <a:cubicBezTo>
                    <a:pt x="4900671" y="188892"/>
                    <a:pt x="4896660" y="184880"/>
                    <a:pt x="4896660" y="179931"/>
                  </a:cubicBezTo>
                  <a:cubicBezTo>
                    <a:pt x="4896660" y="174983"/>
                    <a:pt x="4900671" y="170971"/>
                    <a:pt x="4905620" y="170971"/>
                  </a:cubicBezTo>
                  <a:close/>
                  <a:moveTo>
                    <a:pt x="5074362" y="170971"/>
                  </a:moveTo>
                  <a:cubicBezTo>
                    <a:pt x="5079311" y="170971"/>
                    <a:pt x="5083323" y="174983"/>
                    <a:pt x="5083323" y="179931"/>
                  </a:cubicBezTo>
                  <a:cubicBezTo>
                    <a:pt x="5083323" y="184880"/>
                    <a:pt x="5079311" y="188891"/>
                    <a:pt x="5074362" y="188891"/>
                  </a:cubicBezTo>
                  <a:cubicBezTo>
                    <a:pt x="5069413" y="188891"/>
                    <a:pt x="5065402" y="184880"/>
                    <a:pt x="5065402" y="179931"/>
                  </a:cubicBezTo>
                  <a:cubicBezTo>
                    <a:pt x="5065402" y="174983"/>
                    <a:pt x="5069413" y="170971"/>
                    <a:pt x="5074362" y="170971"/>
                  </a:cubicBezTo>
                  <a:close/>
                  <a:moveTo>
                    <a:pt x="5243103" y="170971"/>
                  </a:moveTo>
                  <a:cubicBezTo>
                    <a:pt x="5248052" y="170971"/>
                    <a:pt x="5252064" y="174982"/>
                    <a:pt x="5252064" y="179931"/>
                  </a:cubicBezTo>
                  <a:cubicBezTo>
                    <a:pt x="5252064" y="184880"/>
                    <a:pt x="5248052" y="188891"/>
                    <a:pt x="5243103" y="188891"/>
                  </a:cubicBezTo>
                  <a:cubicBezTo>
                    <a:pt x="5238154" y="188891"/>
                    <a:pt x="5234143" y="184880"/>
                    <a:pt x="5234143" y="179931"/>
                  </a:cubicBezTo>
                  <a:cubicBezTo>
                    <a:pt x="5234143" y="174982"/>
                    <a:pt x="5238154" y="170971"/>
                    <a:pt x="5243103" y="170971"/>
                  </a:cubicBezTo>
                  <a:close/>
                  <a:moveTo>
                    <a:pt x="5411845" y="170971"/>
                  </a:moveTo>
                  <a:cubicBezTo>
                    <a:pt x="5416794" y="170971"/>
                    <a:pt x="5420806" y="174982"/>
                    <a:pt x="5420806" y="179931"/>
                  </a:cubicBezTo>
                  <a:cubicBezTo>
                    <a:pt x="5420806" y="184880"/>
                    <a:pt x="5416794" y="188891"/>
                    <a:pt x="5411845" y="188891"/>
                  </a:cubicBezTo>
                  <a:cubicBezTo>
                    <a:pt x="5406896" y="188891"/>
                    <a:pt x="5402885" y="184880"/>
                    <a:pt x="5402885" y="179931"/>
                  </a:cubicBezTo>
                  <a:cubicBezTo>
                    <a:pt x="5402885" y="174982"/>
                    <a:pt x="5406896" y="170971"/>
                    <a:pt x="5411845" y="170971"/>
                  </a:cubicBezTo>
                  <a:close/>
                  <a:moveTo>
                    <a:pt x="5580586" y="170971"/>
                  </a:moveTo>
                  <a:cubicBezTo>
                    <a:pt x="5585535" y="170971"/>
                    <a:pt x="5589547" y="174982"/>
                    <a:pt x="5589547" y="179931"/>
                  </a:cubicBezTo>
                  <a:cubicBezTo>
                    <a:pt x="5589547" y="184879"/>
                    <a:pt x="5585535" y="188891"/>
                    <a:pt x="5580586" y="188891"/>
                  </a:cubicBezTo>
                  <a:cubicBezTo>
                    <a:pt x="5575637" y="188891"/>
                    <a:pt x="5571626" y="184879"/>
                    <a:pt x="5571626" y="179931"/>
                  </a:cubicBezTo>
                  <a:cubicBezTo>
                    <a:pt x="5571626" y="174982"/>
                    <a:pt x="5575637" y="170971"/>
                    <a:pt x="5580586" y="170971"/>
                  </a:cubicBezTo>
                  <a:close/>
                  <a:moveTo>
                    <a:pt x="5749328" y="170970"/>
                  </a:moveTo>
                  <a:cubicBezTo>
                    <a:pt x="5754277" y="170970"/>
                    <a:pt x="5758289" y="174982"/>
                    <a:pt x="5758289" y="179931"/>
                  </a:cubicBezTo>
                  <a:cubicBezTo>
                    <a:pt x="5758289" y="184879"/>
                    <a:pt x="5754277" y="188891"/>
                    <a:pt x="5749328" y="188891"/>
                  </a:cubicBezTo>
                  <a:cubicBezTo>
                    <a:pt x="5744379" y="188891"/>
                    <a:pt x="5740368" y="184879"/>
                    <a:pt x="5740368" y="179931"/>
                  </a:cubicBezTo>
                  <a:cubicBezTo>
                    <a:pt x="5740368" y="174982"/>
                    <a:pt x="5744379" y="170970"/>
                    <a:pt x="5749328" y="170970"/>
                  </a:cubicBezTo>
                  <a:close/>
                  <a:moveTo>
                    <a:pt x="5918069" y="170970"/>
                  </a:moveTo>
                  <a:cubicBezTo>
                    <a:pt x="5923018" y="170970"/>
                    <a:pt x="5927030" y="174982"/>
                    <a:pt x="5927030" y="179931"/>
                  </a:cubicBezTo>
                  <a:cubicBezTo>
                    <a:pt x="5927030" y="184879"/>
                    <a:pt x="5923018" y="188891"/>
                    <a:pt x="5918069" y="188891"/>
                  </a:cubicBezTo>
                  <a:cubicBezTo>
                    <a:pt x="5913120" y="188891"/>
                    <a:pt x="5909109" y="184879"/>
                    <a:pt x="5909109" y="179931"/>
                  </a:cubicBezTo>
                  <a:cubicBezTo>
                    <a:pt x="5909109" y="174982"/>
                    <a:pt x="5913120" y="170970"/>
                    <a:pt x="5918069" y="170970"/>
                  </a:cubicBezTo>
                  <a:close/>
                  <a:moveTo>
                    <a:pt x="6086811" y="170970"/>
                  </a:moveTo>
                  <a:cubicBezTo>
                    <a:pt x="6091760" y="170970"/>
                    <a:pt x="6095772" y="174982"/>
                    <a:pt x="6095772" y="179930"/>
                  </a:cubicBezTo>
                  <a:cubicBezTo>
                    <a:pt x="6095772" y="184879"/>
                    <a:pt x="6091760" y="188891"/>
                    <a:pt x="6086811" y="188891"/>
                  </a:cubicBezTo>
                  <a:cubicBezTo>
                    <a:pt x="6081862" y="188891"/>
                    <a:pt x="6077851" y="184879"/>
                    <a:pt x="6077851" y="179930"/>
                  </a:cubicBezTo>
                  <a:cubicBezTo>
                    <a:pt x="6077851" y="174982"/>
                    <a:pt x="6081862" y="170970"/>
                    <a:pt x="6086811" y="170970"/>
                  </a:cubicBezTo>
                  <a:close/>
                  <a:moveTo>
                    <a:pt x="6255553" y="170970"/>
                  </a:moveTo>
                  <a:cubicBezTo>
                    <a:pt x="6260502" y="170970"/>
                    <a:pt x="6264514" y="174982"/>
                    <a:pt x="6264514" y="179930"/>
                  </a:cubicBezTo>
                  <a:cubicBezTo>
                    <a:pt x="6264514" y="184879"/>
                    <a:pt x="6260502" y="188890"/>
                    <a:pt x="6255553" y="188890"/>
                  </a:cubicBezTo>
                  <a:cubicBezTo>
                    <a:pt x="6250604" y="188890"/>
                    <a:pt x="6246593" y="184879"/>
                    <a:pt x="6246593" y="179930"/>
                  </a:cubicBezTo>
                  <a:cubicBezTo>
                    <a:pt x="6246593" y="174982"/>
                    <a:pt x="6250604" y="170970"/>
                    <a:pt x="6255553" y="170970"/>
                  </a:cubicBezTo>
                  <a:close/>
                  <a:moveTo>
                    <a:pt x="6424294" y="170970"/>
                  </a:moveTo>
                  <a:cubicBezTo>
                    <a:pt x="6429243" y="170970"/>
                    <a:pt x="6433255" y="174982"/>
                    <a:pt x="6433255" y="179930"/>
                  </a:cubicBezTo>
                  <a:cubicBezTo>
                    <a:pt x="6433255" y="184879"/>
                    <a:pt x="6429243" y="188890"/>
                    <a:pt x="6424294" y="188890"/>
                  </a:cubicBezTo>
                  <a:cubicBezTo>
                    <a:pt x="6419345" y="188890"/>
                    <a:pt x="6415334" y="184879"/>
                    <a:pt x="6415334" y="179930"/>
                  </a:cubicBezTo>
                  <a:cubicBezTo>
                    <a:pt x="6415334" y="174982"/>
                    <a:pt x="6419345" y="170970"/>
                    <a:pt x="6424294" y="170970"/>
                  </a:cubicBezTo>
                  <a:close/>
                  <a:moveTo>
                    <a:pt x="6593035" y="170970"/>
                  </a:moveTo>
                  <a:cubicBezTo>
                    <a:pt x="6597984" y="170970"/>
                    <a:pt x="6601996" y="174981"/>
                    <a:pt x="6601996" y="179930"/>
                  </a:cubicBezTo>
                  <a:cubicBezTo>
                    <a:pt x="6601996" y="184879"/>
                    <a:pt x="6597984" y="188890"/>
                    <a:pt x="6593035" y="188890"/>
                  </a:cubicBezTo>
                  <a:cubicBezTo>
                    <a:pt x="6588086" y="188890"/>
                    <a:pt x="6584075" y="184879"/>
                    <a:pt x="6584075" y="179930"/>
                  </a:cubicBezTo>
                  <a:cubicBezTo>
                    <a:pt x="6584075" y="174981"/>
                    <a:pt x="6588086" y="170970"/>
                    <a:pt x="6593035" y="170970"/>
                  </a:cubicBezTo>
                  <a:close/>
                  <a:moveTo>
                    <a:pt x="6763357" y="170970"/>
                  </a:moveTo>
                  <a:cubicBezTo>
                    <a:pt x="6768306" y="170970"/>
                    <a:pt x="6772318" y="174981"/>
                    <a:pt x="6772318" y="179930"/>
                  </a:cubicBezTo>
                  <a:cubicBezTo>
                    <a:pt x="6772318" y="184878"/>
                    <a:pt x="6768306" y="188890"/>
                    <a:pt x="6763357" y="188890"/>
                  </a:cubicBezTo>
                  <a:cubicBezTo>
                    <a:pt x="6758408" y="188890"/>
                    <a:pt x="6754397" y="184878"/>
                    <a:pt x="6754397" y="179930"/>
                  </a:cubicBezTo>
                  <a:cubicBezTo>
                    <a:pt x="6754397" y="174981"/>
                    <a:pt x="6758408" y="170970"/>
                    <a:pt x="6763357" y="170970"/>
                  </a:cubicBezTo>
                  <a:close/>
                  <a:moveTo>
                    <a:pt x="6933679" y="170969"/>
                  </a:moveTo>
                  <a:cubicBezTo>
                    <a:pt x="6938628" y="170969"/>
                    <a:pt x="6942639" y="174981"/>
                    <a:pt x="6942639" y="179930"/>
                  </a:cubicBezTo>
                  <a:cubicBezTo>
                    <a:pt x="6942639" y="184878"/>
                    <a:pt x="6938628" y="188890"/>
                    <a:pt x="6933679" y="188890"/>
                  </a:cubicBezTo>
                  <a:cubicBezTo>
                    <a:pt x="6928730" y="188890"/>
                    <a:pt x="6924718" y="184878"/>
                    <a:pt x="6924718" y="179930"/>
                  </a:cubicBezTo>
                  <a:cubicBezTo>
                    <a:pt x="6924718" y="174981"/>
                    <a:pt x="6928730" y="170969"/>
                    <a:pt x="6933679" y="170969"/>
                  </a:cubicBezTo>
                  <a:close/>
                  <a:moveTo>
                    <a:pt x="349813" y="5"/>
                  </a:moveTo>
                  <a:cubicBezTo>
                    <a:pt x="354762" y="5"/>
                    <a:pt x="358774" y="4017"/>
                    <a:pt x="358774" y="8965"/>
                  </a:cubicBezTo>
                  <a:cubicBezTo>
                    <a:pt x="358774" y="13914"/>
                    <a:pt x="354762" y="17926"/>
                    <a:pt x="349813" y="17926"/>
                  </a:cubicBezTo>
                  <a:cubicBezTo>
                    <a:pt x="344866" y="17926"/>
                    <a:pt x="340854" y="13914"/>
                    <a:pt x="340854" y="8965"/>
                  </a:cubicBezTo>
                  <a:cubicBezTo>
                    <a:pt x="340854" y="4017"/>
                    <a:pt x="344866" y="5"/>
                    <a:pt x="349813" y="5"/>
                  </a:cubicBezTo>
                  <a:close/>
                  <a:moveTo>
                    <a:pt x="179497" y="5"/>
                  </a:moveTo>
                  <a:cubicBezTo>
                    <a:pt x="184446" y="5"/>
                    <a:pt x="188458" y="4017"/>
                    <a:pt x="188458" y="8965"/>
                  </a:cubicBezTo>
                  <a:cubicBezTo>
                    <a:pt x="188458" y="13914"/>
                    <a:pt x="184446" y="17925"/>
                    <a:pt x="179497" y="17925"/>
                  </a:cubicBezTo>
                  <a:cubicBezTo>
                    <a:pt x="174549" y="17925"/>
                    <a:pt x="170537" y="13914"/>
                    <a:pt x="170537" y="8965"/>
                  </a:cubicBezTo>
                  <a:cubicBezTo>
                    <a:pt x="170537" y="4017"/>
                    <a:pt x="174549" y="5"/>
                    <a:pt x="179497" y="5"/>
                  </a:cubicBezTo>
                  <a:close/>
                  <a:moveTo>
                    <a:pt x="9183" y="5"/>
                  </a:moveTo>
                  <a:cubicBezTo>
                    <a:pt x="14131" y="5"/>
                    <a:pt x="18142" y="4016"/>
                    <a:pt x="18142" y="8965"/>
                  </a:cubicBezTo>
                  <a:cubicBezTo>
                    <a:pt x="18142" y="13914"/>
                    <a:pt x="14131" y="17925"/>
                    <a:pt x="9183" y="17925"/>
                  </a:cubicBezTo>
                  <a:cubicBezTo>
                    <a:pt x="4235" y="17925"/>
                    <a:pt x="223" y="13914"/>
                    <a:pt x="223" y="8965"/>
                  </a:cubicBezTo>
                  <a:cubicBezTo>
                    <a:pt x="223" y="4016"/>
                    <a:pt x="4235" y="5"/>
                    <a:pt x="9183" y="5"/>
                  </a:cubicBezTo>
                  <a:close/>
                  <a:moveTo>
                    <a:pt x="518550" y="5"/>
                  </a:moveTo>
                  <a:cubicBezTo>
                    <a:pt x="523498" y="5"/>
                    <a:pt x="527510" y="4016"/>
                    <a:pt x="527510" y="8965"/>
                  </a:cubicBezTo>
                  <a:cubicBezTo>
                    <a:pt x="527510" y="13914"/>
                    <a:pt x="523498" y="17925"/>
                    <a:pt x="518550" y="17925"/>
                  </a:cubicBezTo>
                  <a:cubicBezTo>
                    <a:pt x="513601" y="17925"/>
                    <a:pt x="509589" y="13914"/>
                    <a:pt x="509589" y="8965"/>
                  </a:cubicBezTo>
                  <a:cubicBezTo>
                    <a:pt x="509589" y="4016"/>
                    <a:pt x="513601" y="5"/>
                    <a:pt x="518550" y="5"/>
                  </a:cubicBezTo>
                  <a:close/>
                  <a:moveTo>
                    <a:pt x="687335" y="5"/>
                  </a:moveTo>
                  <a:cubicBezTo>
                    <a:pt x="692284" y="5"/>
                    <a:pt x="696295" y="4016"/>
                    <a:pt x="696295" y="8965"/>
                  </a:cubicBezTo>
                  <a:cubicBezTo>
                    <a:pt x="696295" y="13913"/>
                    <a:pt x="692284" y="17925"/>
                    <a:pt x="687335" y="17925"/>
                  </a:cubicBezTo>
                  <a:cubicBezTo>
                    <a:pt x="682387" y="17925"/>
                    <a:pt x="678377" y="13913"/>
                    <a:pt x="678377" y="8965"/>
                  </a:cubicBezTo>
                  <a:cubicBezTo>
                    <a:pt x="678377" y="4016"/>
                    <a:pt x="682387" y="5"/>
                    <a:pt x="687335" y="5"/>
                  </a:cubicBezTo>
                  <a:close/>
                  <a:moveTo>
                    <a:pt x="856072" y="5"/>
                  </a:moveTo>
                  <a:cubicBezTo>
                    <a:pt x="861020" y="5"/>
                    <a:pt x="865032" y="4016"/>
                    <a:pt x="865032" y="8965"/>
                  </a:cubicBezTo>
                  <a:cubicBezTo>
                    <a:pt x="865032" y="13913"/>
                    <a:pt x="861020" y="17925"/>
                    <a:pt x="856072" y="17925"/>
                  </a:cubicBezTo>
                  <a:cubicBezTo>
                    <a:pt x="851121" y="17925"/>
                    <a:pt x="847113" y="13913"/>
                    <a:pt x="847113" y="8965"/>
                  </a:cubicBezTo>
                  <a:cubicBezTo>
                    <a:pt x="847113" y="4016"/>
                    <a:pt x="851121" y="5"/>
                    <a:pt x="856072" y="5"/>
                  </a:cubicBezTo>
                  <a:close/>
                  <a:moveTo>
                    <a:pt x="1024792" y="4"/>
                  </a:moveTo>
                  <a:cubicBezTo>
                    <a:pt x="1029743" y="4"/>
                    <a:pt x="1033761" y="4016"/>
                    <a:pt x="1033761" y="8965"/>
                  </a:cubicBezTo>
                  <a:cubicBezTo>
                    <a:pt x="1033761" y="13913"/>
                    <a:pt x="1029743" y="17925"/>
                    <a:pt x="1024792" y="17925"/>
                  </a:cubicBezTo>
                  <a:cubicBezTo>
                    <a:pt x="1019842" y="17925"/>
                    <a:pt x="1015831" y="13913"/>
                    <a:pt x="1015831" y="8965"/>
                  </a:cubicBezTo>
                  <a:cubicBezTo>
                    <a:pt x="1015831" y="4016"/>
                    <a:pt x="1019842" y="4"/>
                    <a:pt x="1024792" y="4"/>
                  </a:cubicBezTo>
                  <a:close/>
                  <a:moveTo>
                    <a:pt x="1193552" y="4"/>
                  </a:moveTo>
                  <a:cubicBezTo>
                    <a:pt x="1198499" y="4"/>
                    <a:pt x="1202512" y="4016"/>
                    <a:pt x="1202512" y="8964"/>
                  </a:cubicBezTo>
                  <a:cubicBezTo>
                    <a:pt x="1202512" y="13913"/>
                    <a:pt x="1198499" y="17925"/>
                    <a:pt x="1193552" y="17925"/>
                  </a:cubicBezTo>
                  <a:cubicBezTo>
                    <a:pt x="1188604" y="17925"/>
                    <a:pt x="1184595" y="13913"/>
                    <a:pt x="1184595" y="8964"/>
                  </a:cubicBezTo>
                  <a:cubicBezTo>
                    <a:pt x="1184595" y="4016"/>
                    <a:pt x="1188604" y="4"/>
                    <a:pt x="1193552" y="4"/>
                  </a:cubicBezTo>
                  <a:close/>
                  <a:moveTo>
                    <a:pt x="1362294" y="4"/>
                  </a:moveTo>
                  <a:cubicBezTo>
                    <a:pt x="1367249" y="4"/>
                    <a:pt x="1371257" y="4016"/>
                    <a:pt x="1371257" y="8964"/>
                  </a:cubicBezTo>
                  <a:cubicBezTo>
                    <a:pt x="1371257" y="13913"/>
                    <a:pt x="1367249" y="17924"/>
                    <a:pt x="1362294" y="17924"/>
                  </a:cubicBezTo>
                  <a:cubicBezTo>
                    <a:pt x="1357344" y="17924"/>
                    <a:pt x="1353333" y="13913"/>
                    <a:pt x="1353333" y="8964"/>
                  </a:cubicBezTo>
                  <a:cubicBezTo>
                    <a:pt x="1353333" y="4016"/>
                    <a:pt x="1357344" y="4"/>
                    <a:pt x="1362294" y="4"/>
                  </a:cubicBezTo>
                  <a:close/>
                  <a:moveTo>
                    <a:pt x="1531050" y="4"/>
                  </a:moveTo>
                  <a:cubicBezTo>
                    <a:pt x="1536001" y="4"/>
                    <a:pt x="1540013" y="4016"/>
                    <a:pt x="1540013" y="8964"/>
                  </a:cubicBezTo>
                  <a:cubicBezTo>
                    <a:pt x="1540013" y="13913"/>
                    <a:pt x="1536001" y="17924"/>
                    <a:pt x="1531050" y="17924"/>
                  </a:cubicBezTo>
                  <a:cubicBezTo>
                    <a:pt x="1526100" y="17924"/>
                    <a:pt x="1522087" y="13913"/>
                    <a:pt x="1522087" y="8964"/>
                  </a:cubicBezTo>
                  <a:cubicBezTo>
                    <a:pt x="1522087" y="4016"/>
                    <a:pt x="1526100" y="4"/>
                    <a:pt x="1531050" y="4"/>
                  </a:cubicBezTo>
                  <a:close/>
                  <a:moveTo>
                    <a:pt x="1699790" y="4"/>
                  </a:moveTo>
                  <a:cubicBezTo>
                    <a:pt x="1704748" y="4"/>
                    <a:pt x="1708765" y="4015"/>
                    <a:pt x="1708765" y="8964"/>
                  </a:cubicBezTo>
                  <a:cubicBezTo>
                    <a:pt x="1708765" y="13913"/>
                    <a:pt x="1704748" y="17924"/>
                    <a:pt x="1699790" y="17924"/>
                  </a:cubicBezTo>
                  <a:cubicBezTo>
                    <a:pt x="1694837" y="17924"/>
                    <a:pt x="1690820" y="13913"/>
                    <a:pt x="1690820" y="8964"/>
                  </a:cubicBezTo>
                  <a:cubicBezTo>
                    <a:pt x="1690820" y="4015"/>
                    <a:pt x="1694837" y="4"/>
                    <a:pt x="1699790" y="4"/>
                  </a:cubicBezTo>
                  <a:close/>
                  <a:moveTo>
                    <a:pt x="1868550" y="4"/>
                  </a:moveTo>
                  <a:cubicBezTo>
                    <a:pt x="1873481" y="4"/>
                    <a:pt x="1877491" y="4015"/>
                    <a:pt x="1877491" y="8964"/>
                  </a:cubicBezTo>
                  <a:cubicBezTo>
                    <a:pt x="1877491" y="13913"/>
                    <a:pt x="1873481" y="17924"/>
                    <a:pt x="1868550" y="17924"/>
                  </a:cubicBezTo>
                  <a:cubicBezTo>
                    <a:pt x="1863586" y="17924"/>
                    <a:pt x="1859567" y="13913"/>
                    <a:pt x="1859567" y="8964"/>
                  </a:cubicBezTo>
                  <a:cubicBezTo>
                    <a:pt x="1859567" y="4015"/>
                    <a:pt x="1863586" y="4"/>
                    <a:pt x="1868550" y="4"/>
                  </a:cubicBezTo>
                  <a:close/>
                  <a:moveTo>
                    <a:pt x="2037243" y="4"/>
                  </a:moveTo>
                  <a:cubicBezTo>
                    <a:pt x="2042202" y="4"/>
                    <a:pt x="2046174" y="4015"/>
                    <a:pt x="2046174" y="8964"/>
                  </a:cubicBezTo>
                  <a:cubicBezTo>
                    <a:pt x="2046174" y="13912"/>
                    <a:pt x="2042202" y="17924"/>
                    <a:pt x="2037243" y="17924"/>
                  </a:cubicBezTo>
                  <a:cubicBezTo>
                    <a:pt x="2032302" y="17924"/>
                    <a:pt x="2028314" y="13912"/>
                    <a:pt x="2028314" y="8964"/>
                  </a:cubicBezTo>
                  <a:cubicBezTo>
                    <a:pt x="2028314" y="4015"/>
                    <a:pt x="2032302" y="4"/>
                    <a:pt x="2037243" y="4"/>
                  </a:cubicBezTo>
                  <a:close/>
                  <a:moveTo>
                    <a:pt x="2205985" y="3"/>
                  </a:moveTo>
                  <a:cubicBezTo>
                    <a:pt x="2210934" y="3"/>
                    <a:pt x="2214939" y="4015"/>
                    <a:pt x="2214939" y="8964"/>
                  </a:cubicBezTo>
                  <a:cubicBezTo>
                    <a:pt x="2214939" y="13912"/>
                    <a:pt x="2210934" y="17924"/>
                    <a:pt x="2205985" y="17924"/>
                  </a:cubicBezTo>
                  <a:cubicBezTo>
                    <a:pt x="2201006" y="17924"/>
                    <a:pt x="2196987" y="13912"/>
                    <a:pt x="2196987" y="8964"/>
                  </a:cubicBezTo>
                  <a:cubicBezTo>
                    <a:pt x="2196987" y="4015"/>
                    <a:pt x="2201006" y="3"/>
                    <a:pt x="2205985" y="3"/>
                  </a:cubicBezTo>
                  <a:close/>
                  <a:moveTo>
                    <a:pt x="2374669" y="3"/>
                  </a:moveTo>
                  <a:cubicBezTo>
                    <a:pt x="2379638" y="3"/>
                    <a:pt x="2383698" y="4015"/>
                    <a:pt x="2383698" y="8963"/>
                  </a:cubicBezTo>
                  <a:cubicBezTo>
                    <a:pt x="2383698" y="13912"/>
                    <a:pt x="2379638" y="17924"/>
                    <a:pt x="2374669" y="17924"/>
                  </a:cubicBezTo>
                  <a:cubicBezTo>
                    <a:pt x="2369715" y="17924"/>
                    <a:pt x="2365706" y="13912"/>
                    <a:pt x="2365706" y="8963"/>
                  </a:cubicBezTo>
                  <a:cubicBezTo>
                    <a:pt x="2365706" y="4015"/>
                    <a:pt x="2369715" y="3"/>
                    <a:pt x="2374669" y="3"/>
                  </a:cubicBezTo>
                  <a:close/>
                  <a:moveTo>
                    <a:pt x="2543490" y="3"/>
                  </a:moveTo>
                  <a:cubicBezTo>
                    <a:pt x="2548445" y="3"/>
                    <a:pt x="2552455" y="4015"/>
                    <a:pt x="2552455" y="8963"/>
                  </a:cubicBezTo>
                  <a:cubicBezTo>
                    <a:pt x="2552455" y="13912"/>
                    <a:pt x="2548445" y="17924"/>
                    <a:pt x="2543490" y="17924"/>
                  </a:cubicBezTo>
                  <a:cubicBezTo>
                    <a:pt x="2538535" y="17924"/>
                    <a:pt x="2534513" y="13912"/>
                    <a:pt x="2534513" y="8963"/>
                  </a:cubicBezTo>
                  <a:cubicBezTo>
                    <a:pt x="2534513" y="4015"/>
                    <a:pt x="2538535" y="3"/>
                    <a:pt x="2543490" y="3"/>
                  </a:cubicBezTo>
                  <a:close/>
                  <a:moveTo>
                    <a:pt x="2712150" y="3"/>
                  </a:moveTo>
                  <a:cubicBezTo>
                    <a:pt x="2717129" y="3"/>
                    <a:pt x="2721138" y="4015"/>
                    <a:pt x="2721138" y="8963"/>
                  </a:cubicBezTo>
                  <a:cubicBezTo>
                    <a:pt x="2721138" y="13912"/>
                    <a:pt x="2717129" y="17923"/>
                    <a:pt x="2712150" y="17923"/>
                  </a:cubicBezTo>
                  <a:cubicBezTo>
                    <a:pt x="2707229" y="17923"/>
                    <a:pt x="2703204" y="13912"/>
                    <a:pt x="2703204" y="8963"/>
                  </a:cubicBezTo>
                  <a:cubicBezTo>
                    <a:pt x="2703204" y="4015"/>
                    <a:pt x="2707229" y="3"/>
                    <a:pt x="2712150" y="3"/>
                  </a:cubicBezTo>
                  <a:close/>
                  <a:moveTo>
                    <a:pt x="2880933" y="3"/>
                  </a:moveTo>
                  <a:cubicBezTo>
                    <a:pt x="2885875" y="3"/>
                    <a:pt x="2889887" y="4014"/>
                    <a:pt x="2889887" y="8963"/>
                  </a:cubicBezTo>
                  <a:cubicBezTo>
                    <a:pt x="2889887" y="13912"/>
                    <a:pt x="2885875" y="17923"/>
                    <a:pt x="2880933" y="17923"/>
                  </a:cubicBezTo>
                  <a:cubicBezTo>
                    <a:pt x="2875984" y="17923"/>
                    <a:pt x="2871975" y="13912"/>
                    <a:pt x="2871975" y="8963"/>
                  </a:cubicBezTo>
                  <a:cubicBezTo>
                    <a:pt x="2871975" y="4014"/>
                    <a:pt x="2875984" y="3"/>
                    <a:pt x="2880933" y="3"/>
                  </a:cubicBezTo>
                  <a:close/>
                  <a:moveTo>
                    <a:pt x="3049642" y="3"/>
                  </a:moveTo>
                  <a:cubicBezTo>
                    <a:pt x="3054590" y="3"/>
                    <a:pt x="3058599" y="4014"/>
                    <a:pt x="3058599" y="8963"/>
                  </a:cubicBezTo>
                  <a:cubicBezTo>
                    <a:pt x="3058599" y="13912"/>
                    <a:pt x="3054590" y="17923"/>
                    <a:pt x="3049642" y="17923"/>
                  </a:cubicBezTo>
                  <a:cubicBezTo>
                    <a:pt x="3044690" y="17923"/>
                    <a:pt x="3040672" y="13912"/>
                    <a:pt x="3040672" y="8963"/>
                  </a:cubicBezTo>
                  <a:cubicBezTo>
                    <a:pt x="3040672" y="4014"/>
                    <a:pt x="3044690" y="3"/>
                    <a:pt x="3049642" y="3"/>
                  </a:cubicBezTo>
                  <a:close/>
                  <a:moveTo>
                    <a:pt x="3218335" y="3"/>
                  </a:moveTo>
                  <a:cubicBezTo>
                    <a:pt x="3223307" y="3"/>
                    <a:pt x="3227311" y="4014"/>
                    <a:pt x="3227311" y="8963"/>
                  </a:cubicBezTo>
                  <a:cubicBezTo>
                    <a:pt x="3227311" y="13911"/>
                    <a:pt x="3223307" y="17923"/>
                    <a:pt x="3218335" y="17923"/>
                  </a:cubicBezTo>
                  <a:cubicBezTo>
                    <a:pt x="3213367" y="17923"/>
                    <a:pt x="3209365" y="13911"/>
                    <a:pt x="3209365" y="8963"/>
                  </a:cubicBezTo>
                  <a:cubicBezTo>
                    <a:pt x="3209365" y="4014"/>
                    <a:pt x="3213367" y="3"/>
                    <a:pt x="3218335" y="3"/>
                  </a:cubicBezTo>
                  <a:close/>
                  <a:moveTo>
                    <a:pt x="3387085" y="2"/>
                  </a:moveTo>
                  <a:cubicBezTo>
                    <a:pt x="3392058" y="2"/>
                    <a:pt x="3396070" y="4014"/>
                    <a:pt x="3396070" y="8963"/>
                  </a:cubicBezTo>
                  <a:cubicBezTo>
                    <a:pt x="3396070" y="13911"/>
                    <a:pt x="3392058" y="17923"/>
                    <a:pt x="3387085" y="17923"/>
                  </a:cubicBezTo>
                  <a:cubicBezTo>
                    <a:pt x="3382095" y="17923"/>
                    <a:pt x="3378068" y="13911"/>
                    <a:pt x="3378068" y="8963"/>
                  </a:cubicBezTo>
                  <a:cubicBezTo>
                    <a:pt x="3378068" y="4014"/>
                    <a:pt x="3382095" y="2"/>
                    <a:pt x="3387085" y="2"/>
                  </a:cubicBezTo>
                  <a:close/>
                  <a:moveTo>
                    <a:pt x="3555688" y="2"/>
                  </a:moveTo>
                  <a:cubicBezTo>
                    <a:pt x="3560637" y="2"/>
                    <a:pt x="3564649" y="4014"/>
                    <a:pt x="3564649" y="8963"/>
                  </a:cubicBezTo>
                  <a:cubicBezTo>
                    <a:pt x="3564649" y="13911"/>
                    <a:pt x="3560637" y="17923"/>
                    <a:pt x="3555688" y="17923"/>
                  </a:cubicBezTo>
                  <a:cubicBezTo>
                    <a:pt x="3550740" y="17923"/>
                    <a:pt x="3546728" y="13911"/>
                    <a:pt x="3546728" y="8963"/>
                  </a:cubicBezTo>
                  <a:cubicBezTo>
                    <a:pt x="3546728" y="4014"/>
                    <a:pt x="3550740" y="2"/>
                    <a:pt x="3555688" y="2"/>
                  </a:cubicBezTo>
                  <a:close/>
                  <a:moveTo>
                    <a:pt x="3724429" y="2"/>
                  </a:moveTo>
                  <a:cubicBezTo>
                    <a:pt x="3729378" y="2"/>
                    <a:pt x="3733390" y="4014"/>
                    <a:pt x="3733390" y="8962"/>
                  </a:cubicBezTo>
                  <a:cubicBezTo>
                    <a:pt x="3733390" y="13911"/>
                    <a:pt x="3729378" y="17923"/>
                    <a:pt x="3724429" y="17923"/>
                  </a:cubicBezTo>
                  <a:cubicBezTo>
                    <a:pt x="3719481" y="17923"/>
                    <a:pt x="3715469" y="13911"/>
                    <a:pt x="3715469" y="8962"/>
                  </a:cubicBezTo>
                  <a:cubicBezTo>
                    <a:pt x="3715469" y="4014"/>
                    <a:pt x="3719481" y="2"/>
                    <a:pt x="3724429" y="2"/>
                  </a:cubicBezTo>
                  <a:close/>
                  <a:moveTo>
                    <a:pt x="3893170" y="2"/>
                  </a:moveTo>
                  <a:cubicBezTo>
                    <a:pt x="3898119" y="2"/>
                    <a:pt x="3902131" y="4014"/>
                    <a:pt x="3902131" y="8962"/>
                  </a:cubicBezTo>
                  <a:cubicBezTo>
                    <a:pt x="3902131" y="13911"/>
                    <a:pt x="3898119" y="17922"/>
                    <a:pt x="3893170" y="17922"/>
                  </a:cubicBezTo>
                  <a:cubicBezTo>
                    <a:pt x="3888221" y="17922"/>
                    <a:pt x="3884210" y="13911"/>
                    <a:pt x="3884210" y="8962"/>
                  </a:cubicBezTo>
                  <a:cubicBezTo>
                    <a:pt x="3884210" y="4014"/>
                    <a:pt x="3888221" y="2"/>
                    <a:pt x="3893170" y="2"/>
                  </a:cubicBezTo>
                  <a:close/>
                  <a:moveTo>
                    <a:pt x="4061912" y="2"/>
                  </a:moveTo>
                  <a:cubicBezTo>
                    <a:pt x="4066861" y="2"/>
                    <a:pt x="4070873" y="4013"/>
                    <a:pt x="4070873" y="8962"/>
                  </a:cubicBezTo>
                  <a:cubicBezTo>
                    <a:pt x="4070873" y="13911"/>
                    <a:pt x="4066861" y="17922"/>
                    <a:pt x="4061912" y="17922"/>
                  </a:cubicBezTo>
                  <a:cubicBezTo>
                    <a:pt x="4056963" y="17922"/>
                    <a:pt x="4052952" y="13911"/>
                    <a:pt x="4052952" y="8962"/>
                  </a:cubicBezTo>
                  <a:cubicBezTo>
                    <a:pt x="4052952" y="4013"/>
                    <a:pt x="4056963" y="2"/>
                    <a:pt x="4061912" y="2"/>
                  </a:cubicBezTo>
                  <a:close/>
                  <a:moveTo>
                    <a:pt x="4230654" y="2"/>
                  </a:moveTo>
                  <a:cubicBezTo>
                    <a:pt x="4235603" y="2"/>
                    <a:pt x="4239615" y="4013"/>
                    <a:pt x="4239615" y="8962"/>
                  </a:cubicBezTo>
                  <a:cubicBezTo>
                    <a:pt x="4239615" y="13911"/>
                    <a:pt x="4235603" y="17922"/>
                    <a:pt x="4230654" y="17922"/>
                  </a:cubicBezTo>
                  <a:cubicBezTo>
                    <a:pt x="4225705" y="17922"/>
                    <a:pt x="4221694" y="13911"/>
                    <a:pt x="4221694" y="8962"/>
                  </a:cubicBezTo>
                  <a:cubicBezTo>
                    <a:pt x="4221694" y="4013"/>
                    <a:pt x="4225705" y="2"/>
                    <a:pt x="4230654" y="2"/>
                  </a:cubicBezTo>
                  <a:close/>
                  <a:moveTo>
                    <a:pt x="4399396" y="2"/>
                  </a:moveTo>
                  <a:cubicBezTo>
                    <a:pt x="4404345" y="2"/>
                    <a:pt x="4408357" y="4013"/>
                    <a:pt x="4408357" y="8962"/>
                  </a:cubicBezTo>
                  <a:cubicBezTo>
                    <a:pt x="4408357" y="13910"/>
                    <a:pt x="4404345" y="17922"/>
                    <a:pt x="4399396" y="17922"/>
                  </a:cubicBezTo>
                  <a:cubicBezTo>
                    <a:pt x="4394447" y="17922"/>
                    <a:pt x="4390436" y="13910"/>
                    <a:pt x="4390436" y="8962"/>
                  </a:cubicBezTo>
                  <a:cubicBezTo>
                    <a:pt x="4390436" y="4013"/>
                    <a:pt x="4394447" y="2"/>
                    <a:pt x="4399396" y="2"/>
                  </a:cubicBezTo>
                  <a:close/>
                  <a:moveTo>
                    <a:pt x="4568137" y="1"/>
                  </a:moveTo>
                  <a:cubicBezTo>
                    <a:pt x="4573086" y="1"/>
                    <a:pt x="4577098" y="4013"/>
                    <a:pt x="4577098" y="8962"/>
                  </a:cubicBezTo>
                  <a:cubicBezTo>
                    <a:pt x="4577098" y="13910"/>
                    <a:pt x="4573086" y="17922"/>
                    <a:pt x="4568137" y="17922"/>
                  </a:cubicBezTo>
                  <a:cubicBezTo>
                    <a:pt x="4563188" y="17922"/>
                    <a:pt x="4559177" y="13910"/>
                    <a:pt x="4559177" y="8962"/>
                  </a:cubicBezTo>
                  <a:cubicBezTo>
                    <a:pt x="4559177" y="4013"/>
                    <a:pt x="4563188" y="1"/>
                    <a:pt x="4568137" y="1"/>
                  </a:cubicBezTo>
                  <a:close/>
                  <a:moveTo>
                    <a:pt x="4736878" y="1"/>
                  </a:moveTo>
                  <a:cubicBezTo>
                    <a:pt x="4741827" y="1"/>
                    <a:pt x="4745839" y="4013"/>
                    <a:pt x="4745839" y="8962"/>
                  </a:cubicBezTo>
                  <a:cubicBezTo>
                    <a:pt x="4745839" y="13910"/>
                    <a:pt x="4741827" y="17922"/>
                    <a:pt x="4736878" y="17922"/>
                  </a:cubicBezTo>
                  <a:cubicBezTo>
                    <a:pt x="4731929" y="17922"/>
                    <a:pt x="4727918" y="13910"/>
                    <a:pt x="4727918" y="8962"/>
                  </a:cubicBezTo>
                  <a:cubicBezTo>
                    <a:pt x="4727918" y="4013"/>
                    <a:pt x="4731929" y="1"/>
                    <a:pt x="4736878" y="1"/>
                  </a:cubicBezTo>
                  <a:close/>
                  <a:moveTo>
                    <a:pt x="4905620" y="1"/>
                  </a:moveTo>
                  <a:cubicBezTo>
                    <a:pt x="4910569" y="1"/>
                    <a:pt x="4914581" y="4013"/>
                    <a:pt x="4914581" y="8961"/>
                  </a:cubicBezTo>
                  <a:cubicBezTo>
                    <a:pt x="4914581" y="13910"/>
                    <a:pt x="4910569" y="17922"/>
                    <a:pt x="4905620" y="17922"/>
                  </a:cubicBezTo>
                  <a:cubicBezTo>
                    <a:pt x="4900671" y="17922"/>
                    <a:pt x="4896660" y="13910"/>
                    <a:pt x="4896660" y="8961"/>
                  </a:cubicBezTo>
                  <a:cubicBezTo>
                    <a:pt x="4896660" y="4013"/>
                    <a:pt x="4900671" y="1"/>
                    <a:pt x="4905620" y="1"/>
                  </a:cubicBezTo>
                  <a:close/>
                  <a:moveTo>
                    <a:pt x="5074362" y="1"/>
                  </a:moveTo>
                  <a:cubicBezTo>
                    <a:pt x="5079311" y="1"/>
                    <a:pt x="5083323" y="4013"/>
                    <a:pt x="5083323" y="8961"/>
                  </a:cubicBezTo>
                  <a:cubicBezTo>
                    <a:pt x="5083323" y="13910"/>
                    <a:pt x="5079311" y="17921"/>
                    <a:pt x="5074362" y="17921"/>
                  </a:cubicBezTo>
                  <a:cubicBezTo>
                    <a:pt x="5069413" y="17921"/>
                    <a:pt x="5065402" y="13910"/>
                    <a:pt x="5065402" y="8961"/>
                  </a:cubicBezTo>
                  <a:cubicBezTo>
                    <a:pt x="5065402" y="4013"/>
                    <a:pt x="5069413" y="1"/>
                    <a:pt x="5074362" y="1"/>
                  </a:cubicBezTo>
                  <a:close/>
                  <a:moveTo>
                    <a:pt x="5243103" y="1"/>
                  </a:moveTo>
                  <a:cubicBezTo>
                    <a:pt x="5248052" y="1"/>
                    <a:pt x="5252064" y="4012"/>
                    <a:pt x="5252064" y="8961"/>
                  </a:cubicBezTo>
                  <a:cubicBezTo>
                    <a:pt x="5252064" y="13910"/>
                    <a:pt x="5248052" y="17921"/>
                    <a:pt x="5243103" y="17921"/>
                  </a:cubicBezTo>
                  <a:cubicBezTo>
                    <a:pt x="5238154" y="17921"/>
                    <a:pt x="5234143" y="13910"/>
                    <a:pt x="5234143" y="8961"/>
                  </a:cubicBezTo>
                  <a:cubicBezTo>
                    <a:pt x="5234143" y="4012"/>
                    <a:pt x="5238154" y="1"/>
                    <a:pt x="5243103" y="1"/>
                  </a:cubicBezTo>
                  <a:close/>
                  <a:moveTo>
                    <a:pt x="5411845" y="1"/>
                  </a:moveTo>
                  <a:cubicBezTo>
                    <a:pt x="5416794" y="1"/>
                    <a:pt x="5420806" y="4012"/>
                    <a:pt x="5420806" y="8961"/>
                  </a:cubicBezTo>
                  <a:cubicBezTo>
                    <a:pt x="5420806" y="13910"/>
                    <a:pt x="5416794" y="17921"/>
                    <a:pt x="5411845" y="17921"/>
                  </a:cubicBezTo>
                  <a:cubicBezTo>
                    <a:pt x="5406896" y="17921"/>
                    <a:pt x="5402885" y="13910"/>
                    <a:pt x="5402885" y="8961"/>
                  </a:cubicBezTo>
                  <a:cubicBezTo>
                    <a:pt x="5402885" y="4012"/>
                    <a:pt x="5406896" y="1"/>
                    <a:pt x="5411845" y="1"/>
                  </a:cubicBezTo>
                  <a:close/>
                  <a:moveTo>
                    <a:pt x="5580586" y="1"/>
                  </a:moveTo>
                  <a:cubicBezTo>
                    <a:pt x="5585535" y="1"/>
                    <a:pt x="5589547" y="4012"/>
                    <a:pt x="5589547" y="8961"/>
                  </a:cubicBezTo>
                  <a:cubicBezTo>
                    <a:pt x="5589547" y="13909"/>
                    <a:pt x="5585535" y="17921"/>
                    <a:pt x="5580586" y="17921"/>
                  </a:cubicBezTo>
                  <a:cubicBezTo>
                    <a:pt x="5575637" y="17921"/>
                    <a:pt x="5571626" y="13909"/>
                    <a:pt x="5571626" y="8961"/>
                  </a:cubicBezTo>
                  <a:cubicBezTo>
                    <a:pt x="5571626" y="4012"/>
                    <a:pt x="5575637" y="1"/>
                    <a:pt x="5580586" y="1"/>
                  </a:cubicBezTo>
                  <a:close/>
                  <a:moveTo>
                    <a:pt x="5749328" y="1"/>
                  </a:moveTo>
                  <a:cubicBezTo>
                    <a:pt x="5754277" y="1"/>
                    <a:pt x="5758289" y="4012"/>
                    <a:pt x="5758289" y="8961"/>
                  </a:cubicBezTo>
                  <a:cubicBezTo>
                    <a:pt x="5758289" y="13909"/>
                    <a:pt x="5754277" y="17921"/>
                    <a:pt x="5749328" y="17921"/>
                  </a:cubicBezTo>
                  <a:cubicBezTo>
                    <a:pt x="5744379" y="17921"/>
                    <a:pt x="5740368" y="13909"/>
                    <a:pt x="5740368" y="8961"/>
                  </a:cubicBezTo>
                  <a:cubicBezTo>
                    <a:pt x="5740368" y="4012"/>
                    <a:pt x="5744379" y="1"/>
                    <a:pt x="5749328" y="1"/>
                  </a:cubicBezTo>
                  <a:close/>
                  <a:moveTo>
                    <a:pt x="5918069" y="0"/>
                  </a:moveTo>
                  <a:cubicBezTo>
                    <a:pt x="5923018" y="0"/>
                    <a:pt x="5927030" y="4012"/>
                    <a:pt x="5927030" y="8961"/>
                  </a:cubicBezTo>
                  <a:cubicBezTo>
                    <a:pt x="5927030" y="13909"/>
                    <a:pt x="5923018" y="17921"/>
                    <a:pt x="5918069" y="17921"/>
                  </a:cubicBezTo>
                  <a:cubicBezTo>
                    <a:pt x="5913120" y="17921"/>
                    <a:pt x="5909109" y="13909"/>
                    <a:pt x="5909109" y="8961"/>
                  </a:cubicBezTo>
                  <a:cubicBezTo>
                    <a:pt x="5909109" y="4012"/>
                    <a:pt x="5913120" y="0"/>
                    <a:pt x="5918069" y="0"/>
                  </a:cubicBezTo>
                  <a:close/>
                  <a:moveTo>
                    <a:pt x="6086811" y="0"/>
                  </a:moveTo>
                  <a:cubicBezTo>
                    <a:pt x="6091760" y="0"/>
                    <a:pt x="6095772" y="4012"/>
                    <a:pt x="6095772" y="8960"/>
                  </a:cubicBezTo>
                  <a:cubicBezTo>
                    <a:pt x="6095772" y="13909"/>
                    <a:pt x="6091760" y="17921"/>
                    <a:pt x="6086811" y="17921"/>
                  </a:cubicBezTo>
                  <a:cubicBezTo>
                    <a:pt x="6081862" y="17921"/>
                    <a:pt x="6077851" y="13909"/>
                    <a:pt x="6077851" y="8960"/>
                  </a:cubicBezTo>
                  <a:cubicBezTo>
                    <a:pt x="6077851" y="4012"/>
                    <a:pt x="6081862" y="0"/>
                    <a:pt x="6086811" y="0"/>
                  </a:cubicBezTo>
                  <a:close/>
                  <a:moveTo>
                    <a:pt x="6255553" y="0"/>
                  </a:moveTo>
                  <a:cubicBezTo>
                    <a:pt x="6260502" y="0"/>
                    <a:pt x="6264514" y="4012"/>
                    <a:pt x="6264514" y="8960"/>
                  </a:cubicBezTo>
                  <a:cubicBezTo>
                    <a:pt x="6264514" y="13909"/>
                    <a:pt x="6260502" y="17920"/>
                    <a:pt x="6255553" y="17920"/>
                  </a:cubicBezTo>
                  <a:cubicBezTo>
                    <a:pt x="6250604" y="17920"/>
                    <a:pt x="6246593" y="13909"/>
                    <a:pt x="6246593" y="8960"/>
                  </a:cubicBezTo>
                  <a:cubicBezTo>
                    <a:pt x="6246593" y="4012"/>
                    <a:pt x="6250604" y="0"/>
                    <a:pt x="6255553" y="0"/>
                  </a:cubicBezTo>
                  <a:close/>
                  <a:moveTo>
                    <a:pt x="6424294" y="0"/>
                  </a:moveTo>
                  <a:cubicBezTo>
                    <a:pt x="6429243" y="0"/>
                    <a:pt x="6433255" y="4012"/>
                    <a:pt x="6433255" y="8960"/>
                  </a:cubicBezTo>
                  <a:cubicBezTo>
                    <a:pt x="6433255" y="13909"/>
                    <a:pt x="6429243" y="17920"/>
                    <a:pt x="6424294" y="17920"/>
                  </a:cubicBezTo>
                  <a:cubicBezTo>
                    <a:pt x="6419345" y="17920"/>
                    <a:pt x="6415334" y="13909"/>
                    <a:pt x="6415334" y="8960"/>
                  </a:cubicBezTo>
                  <a:cubicBezTo>
                    <a:pt x="6415334" y="4012"/>
                    <a:pt x="6419345" y="0"/>
                    <a:pt x="6424294" y="0"/>
                  </a:cubicBezTo>
                  <a:close/>
                  <a:moveTo>
                    <a:pt x="6593035" y="0"/>
                  </a:moveTo>
                  <a:cubicBezTo>
                    <a:pt x="6597984" y="0"/>
                    <a:pt x="6601996" y="4011"/>
                    <a:pt x="6601996" y="8960"/>
                  </a:cubicBezTo>
                  <a:cubicBezTo>
                    <a:pt x="6601996" y="13909"/>
                    <a:pt x="6597984" y="17920"/>
                    <a:pt x="6593035" y="17920"/>
                  </a:cubicBezTo>
                  <a:cubicBezTo>
                    <a:pt x="6588086" y="17920"/>
                    <a:pt x="6584075" y="13909"/>
                    <a:pt x="6584075" y="8960"/>
                  </a:cubicBezTo>
                  <a:cubicBezTo>
                    <a:pt x="6584075" y="4011"/>
                    <a:pt x="6588086" y="0"/>
                    <a:pt x="6593035" y="0"/>
                  </a:cubicBezTo>
                  <a:close/>
                  <a:moveTo>
                    <a:pt x="6763357" y="0"/>
                  </a:moveTo>
                  <a:cubicBezTo>
                    <a:pt x="6768306" y="0"/>
                    <a:pt x="6772318" y="4011"/>
                    <a:pt x="6772318" y="8960"/>
                  </a:cubicBezTo>
                  <a:cubicBezTo>
                    <a:pt x="6772318" y="13909"/>
                    <a:pt x="6768306" y="17920"/>
                    <a:pt x="6763357" y="17920"/>
                  </a:cubicBezTo>
                  <a:cubicBezTo>
                    <a:pt x="6758408" y="17920"/>
                    <a:pt x="6754397" y="13909"/>
                    <a:pt x="6754397" y="8960"/>
                  </a:cubicBezTo>
                  <a:cubicBezTo>
                    <a:pt x="6754397" y="4011"/>
                    <a:pt x="6758408" y="0"/>
                    <a:pt x="6763357" y="0"/>
                  </a:cubicBezTo>
                  <a:close/>
                  <a:moveTo>
                    <a:pt x="6933679" y="0"/>
                  </a:moveTo>
                  <a:cubicBezTo>
                    <a:pt x="6938628" y="0"/>
                    <a:pt x="6942639" y="4011"/>
                    <a:pt x="6942639" y="8960"/>
                  </a:cubicBezTo>
                  <a:cubicBezTo>
                    <a:pt x="6942639" y="13908"/>
                    <a:pt x="6938628" y="17920"/>
                    <a:pt x="6933679" y="17920"/>
                  </a:cubicBezTo>
                  <a:cubicBezTo>
                    <a:pt x="6928730" y="17920"/>
                    <a:pt x="6924718" y="13908"/>
                    <a:pt x="6924718" y="8960"/>
                  </a:cubicBezTo>
                  <a:cubicBezTo>
                    <a:pt x="6924718" y="4011"/>
                    <a:pt x="6928730" y="0"/>
                    <a:pt x="6933679" y="0"/>
                  </a:cubicBezTo>
                  <a:close/>
                </a:path>
              </a:pathLst>
            </a:custGeom>
            <a:solidFill>
              <a:srgbClr val="C2BDBD"/>
            </a:solidFill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" name="TemplateLAB"/>
            <p:cNvSpPr/>
            <p:nvPr/>
          </p:nvSpPr>
          <p:spPr>
            <a:xfrm>
              <a:off x="409411" y="9728291"/>
              <a:ext cx="562000" cy="92730"/>
            </a:xfrm>
            <a:custGeom>
              <a:avLst/>
              <a:gdLst/>
              <a:ahLst/>
              <a:cxnLst/>
              <a:rect l="l" t="t" r="r" b="b"/>
              <a:pathLst>
                <a:path w="562000" h="92730">
                  <a:moveTo>
                    <a:pt x="0" y="0"/>
                  </a:moveTo>
                  <a:lnTo>
                    <a:pt x="562000" y="0"/>
                  </a:lnTo>
                  <a:lnTo>
                    <a:pt x="562000" y="92730"/>
                  </a:lnTo>
                  <a:lnTo>
                    <a:pt x="0" y="927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7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" name="TextBox 3"/>
            <p:cNvSpPr txBox="1"/>
            <p:nvPr/>
          </p:nvSpPr>
          <p:spPr>
            <a:xfrm>
              <a:off x="6709708" y="9721866"/>
              <a:ext cx="653282" cy="9026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ts val="731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C2BDBD"/>
                  </a:solidFill>
                  <a:effectLst/>
                  <a:uLnTx/>
                  <a:uFillTx/>
                  <a:latin typeface="Plus Jakarta Sans"/>
                  <a:ea typeface="+mn-ea"/>
                  <a:cs typeface="+mn-cs"/>
                </a:rPr>
                <a:t>5x5mm dot paper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176688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3</Words>
  <Application>Microsoft Office PowerPoint</Application>
  <PresentationFormat>Custom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Plus Jakarta Sans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aph Paper - Letter (Portrait)</dc:title>
  <cp:lastModifiedBy>Hoang Anh</cp:lastModifiedBy>
  <cp:revision>5</cp:revision>
  <dcterms:created xsi:type="dcterms:W3CDTF">2006-08-16T00:00:00Z</dcterms:created>
  <dcterms:modified xsi:type="dcterms:W3CDTF">2024-05-03T14:01:51Z</dcterms:modified>
  <dc:identifier>DAGDw_nvcDU</dc:identifier>
</cp:coreProperties>
</file>